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1.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2.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3.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5.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0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3.xml" ContentType="application/vnd.openxmlformats-officedocument.presentationml.notesSlide+xml"/>
  <Override PartName="/ppt/charts/chart4.xml" ContentType="application/vnd.openxmlformats-officedocument.drawingml.chart+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 id="2147483777" r:id="rId5"/>
    <p:sldMasterId id="2147483753" r:id="rId6"/>
    <p:sldMasterId id="2147483737" r:id="rId7"/>
    <p:sldMasterId id="2147483786" r:id="rId8"/>
    <p:sldMasterId id="2147483791" r:id="rId9"/>
    <p:sldMasterId id="2147483796" r:id="rId10"/>
    <p:sldMasterId id="2147483801" r:id="rId11"/>
    <p:sldMasterId id="2147483806" r:id="rId12"/>
    <p:sldMasterId id="2147483703" r:id="rId13"/>
    <p:sldMasterId id="2147483709" r:id="rId14"/>
    <p:sldMasterId id="2147483715" r:id="rId15"/>
    <p:sldMasterId id="2147483721" r:id="rId16"/>
    <p:sldMasterId id="2147483650" r:id="rId17"/>
    <p:sldMasterId id="2147483807" r:id="rId18"/>
  </p:sldMasterIdLst>
  <p:notesMasterIdLst>
    <p:notesMasterId r:id="rId49"/>
  </p:notesMasterIdLst>
  <p:sldIdLst>
    <p:sldId id="259" r:id="rId19"/>
    <p:sldId id="260" r:id="rId20"/>
    <p:sldId id="264" r:id="rId21"/>
    <p:sldId id="265" r:id="rId22"/>
    <p:sldId id="266" r:id="rId23"/>
    <p:sldId id="269" r:id="rId24"/>
    <p:sldId id="268" r:id="rId25"/>
    <p:sldId id="267" r:id="rId26"/>
    <p:sldId id="263" r:id="rId27"/>
    <p:sldId id="270" r:id="rId28"/>
    <p:sldId id="271" r:id="rId29"/>
    <p:sldId id="273" r:id="rId30"/>
    <p:sldId id="272" r:id="rId31"/>
    <p:sldId id="274" r:id="rId32"/>
    <p:sldId id="286" r:id="rId33"/>
    <p:sldId id="296" r:id="rId34"/>
    <p:sldId id="291" r:id="rId35"/>
    <p:sldId id="298" r:id="rId36"/>
    <p:sldId id="2147473622" r:id="rId37"/>
    <p:sldId id="302" r:id="rId38"/>
    <p:sldId id="301" r:id="rId39"/>
    <p:sldId id="303" r:id="rId40"/>
    <p:sldId id="304" r:id="rId41"/>
    <p:sldId id="2147472142" r:id="rId42"/>
    <p:sldId id="2147473612" r:id="rId43"/>
    <p:sldId id="2147472067" r:id="rId44"/>
    <p:sldId id="2147473616" r:id="rId45"/>
    <p:sldId id="2147473621" r:id="rId46"/>
    <p:sldId id="2147473620" r:id="rId47"/>
    <p:sldId id="371" r:id="rId48"/>
  </p:sldIdLst>
  <p:sldSz cx="12192000" cy="6858000"/>
  <p:notesSz cx="6858000" cy="9144000"/>
  <p:embeddedFontLst>
    <p:embeddedFont>
      <p:font typeface="Haffer" panose="020B0604020202020204" charset="0"/>
      <p:regular r:id="rId50"/>
    </p:embeddedFont>
    <p:embeddedFont>
      <p:font typeface="Haffer Light" panose="020B0604020202020204" charset="0"/>
      <p:regular r:id="rId51"/>
    </p:embeddedFont>
    <p:embeddedFont>
      <p:font typeface="Segoe UI" panose="020B0502040204020203" pitchFamily="34" charset="0"/>
      <p:regular r:id="rId52"/>
      <p:bold r:id="rId53"/>
      <p:italic r:id="rId54"/>
      <p:boldItalic r:id="rId55"/>
    </p:embeddedFont>
  </p:embeddedFont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inndeling" id="{49E320D8-B2C8-4B2F-A786-14B39582A323}">
          <p14:sldIdLst>
            <p14:sldId id="259"/>
            <p14:sldId id="260"/>
          </p14:sldIdLst>
        </p14:section>
        <p14:section name="Intro" id="{4BF62AE2-52DF-46FE-B45E-E34FD499E0B6}">
          <p14:sldIdLst/>
        </p14:section>
        <p14:section name="CSR regulation" id="{9383591D-1367-4965-84B8-7488325CCE3B}">
          <p14:sldIdLst>
            <p14:sldId id="264"/>
            <p14:sldId id="265"/>
            <p14:sldId id="266"/>
            <p14:sldId id="269"/>
            <p14:sldId id="268"/>
            <p14:sldId id="267"/>
          </p14:sldIdLst>
        </p14:section>
        <p14:section name="PPA" id="{EF6D222C-F5DD-4097-B2CF-DE5CA595FC0C}">
          <p14:sldIdLst>
            <p14:sldId id="263"/>
            <p14:sldId id="270"/>
            <p14:sldId id="271"/>
            <p14:sldId id="273"/>
            <p14:sldId id="272"/>
          </p14:sldIdLst>
        </p14:section>
        <p14:section name="GO" id="{3211C44F-F862-4141-A459-702116F5CC2C}">
          <p14:sldIdLst>
            <p14:sldId id="274"/>
            <p14:sldId id="286"/>
            <p14:sldId id="296"/>
            <p14:sldId id="291"/>
            <p14:sldId id="298"/>
            <p14:sldId id="2147473622"/>
            <p14:sldId id="302"/>
            <p14:sldId id="301"/>
            <p14:sldId id="303"/>
            <p14:sldId id="304"/>
          </p14:sldIdLst>
        </p14:section>
        <p14:section name="Case studie" id="{8BA2FBE5-C73B-4AD1-A725-5688C4D6C985}">
          <p14:sldIdLst>
            <p14:sldId id="2147472142"/>
            <p14:sldId id="2147473612"/>
            <p14:sldId id="2147472067"/>
            <p14:sldId id="2147473616"/>
            <p14:sldId id="2147473621"/>
            <p14:sldId id="2147473620"/>
            <p14:sldId id="37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22E33"/>
    <a:srgbClr val="01796F"/>
    <a:srgbClr val="6B30FF"/>
    <a:srgbClr val="C2BDFF"/>
    <a:srgbClr val="FFE5BE"/>
    <a:srgbClr val="FFA826"/>
    <a:srgbClr val="E6EAEB"/>
    <a:srgbClr val="015B52"/>
    <a:srgbClr val="01AB9B"/>
    <a:srgbClr val="A581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B27BA4-D48B-D165-0210-41D6B12CEDB5}" v="8" dt="2024-10-31T10:33:59.416"/>
    <p1510:client id="{30345A27-0DD7-78BF-A988-54EFD326CB06}" v="9" dt="2024-10-31T10:30:56.600"/>
    <p1510:client id="{780DD5EF-965E-1CE8-437C-2A91B51BCDE1}" v="46" dt="2024-10-31T10:28:07.873"/>
    <p1510:client id="{C95102F2-176B-4CDF-9AC1-714EFE61E812}" v="14" dt="2024-10-31T13:26:17.9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font" Target="fonts/font1.fntdata"/><Relationship Id="rId55" Type="http://schemas.openxmlformats.org/officeDocument/2006/relationships/font" Target="fonts/font6.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1.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font" Target="fonts/font4.fntdata"/><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1.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font" Target="fonts/font2.fntdata"/><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tableStyles" Target="tableStyle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notesMaster" Target="notesMasters/notesMaster1.xml"/><Relationship Id="rId57"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font" Target="fonts/font3.fntdata"/><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sephine Steppat" userId="S::josephine.steppat@montelgroup.com::ad9ceb25-8da7-411f-bf87-5981331f6d79" providerId="AD" clId="Web-{30345A27-0DD7-78BF-A988-54EFD326CB06}"/>
    <pc:docChg chg="addSld delSld addMainMaster modMainMaster modSection">
      <pc:chgData name="Josephine Steppat" userId="S::josephine.steppat@montelgroup.com::ad9ceb25-8da7-411f-bf87-5981331f6d79" providerId="AD" clId="Web-{30345A27-0DD7-78BF-A988-54EFD326CB06}" dt="2024-10-31T10:30:56.600" v="10"/>
      <pc:docMkLst>
        <pc:docMk/>
      </pc:docMkLst>
      <pc:sldChg chg="add">
        <pc:chgData name="Josephine Steppat" userId="S::josephine.steppat@montelgroup.com::ad9ceb25-8da7-411f-bf87-5981331f6d79" providerId="AD" clId="Web-{30345A27-0DD7-78BF-A988-54EFD326CB06}" dt="2024-10-31T10:30:56.600" v="10"/>
        <pc:sldMkLst>
          <pc:docMk/>
          <pc:sldMk cId="2740097830" sldId="371"/>
        </pc:sldMkLst>
      </pc:sldChg>
      <pc:sldChg chg="add">
        <pc:chgData name="Josephine Steppat" userId="S::josephine.steppat@montelgroup.com::ad9ceb25-8da7-411f-bf87-5981331f6d79" providerId="AD" clId="Web-{30345A27-0DD7-78BF-A988-54EFD326CB06}" dt="2024-10-31T10:30:56.397" v="6"/>
        <pc:sldMkLst>
          <pc:docMk/>
          <pc:sldMk cId="379983478" sldId="2147472067"/>
        </pc:sldMkLst>
      </pc:sldChg>
      <pc:sldChg chg="add del">
        <pc:chgData name="Josephine Steppat" userId="S::josephine.steppat@montelgroup.com::ad9ceb25-8da7-411f-bf87-5981331f6d79" providerId="AD" clId="Web-{30345A27-0DD7-78BF-A988-54EFD326CB06}" dt="2024-10-31T10:30:47.709" v="5"/>
        <pc:sldMkLst>
          <pc:docMk/>
          <pc:sldMk cId="3199227915" sldId="2147472142"/>
        </pc:sldMkLst>
      </pc:sldChg>
      <pc:sldChg chg="add del">
        <pc:chgData name="Josephine Steppat" userId="S::josephine.steppat@montelgroup.com::ad9ceb25-8da7-411f-bf87-5981331f6d79" providerId="AD" clId="Web-{30345A27-0DD7-78BF-A988-54EFD326CB06}" dt="2024-10-31T10:30:21.691" v="2"/>
        <pc:sldMkLst>
          <pc:docMk/>
          <pc:sldMk cId="1253391683" sldId="2147473612"/>
        </pc:sldMkLst>
      </pc:sldChg>
      <pc:sldChg chg="add">
        <pc:chgData name="Josephine Steppat" userId="S::josephine.steppat@montelgroup.com::ad9ceb25-8da7-411f-bf87-5981331f6d79" providerId="AD" clId="Web-{30345A27-0DD7-78BF-A988-54EFD326CB06}" dt="2024-10-31T10:30:56.459" v="7"/>
        <pc:sldMkLst>
          <pc:docMk/>
          <pc:sldMk cId="2284409520" sldId="2147473616"/>
        </pc:sldMkLst>
      </pc:sldChg>
      <pc:sldChg chg="add">
        <pc:chgData name="Josephine Steppat" userId="S::josephine.steppat@montelgroup.com::ad9ceb25-8da7-411f-bf87-5981331f6d79" providerId="AD" clId="Web-{30345A27-0DD7-78BF-A988-54EFD326CB06}" dt="2024-10-31T10:30:56.553" v="9"/>
        <pc:sldMkLst>
          <pc:docMk/>
          <pc:sldMk cId="3703610656" sldId="2147473620"/>
        </pc:sldMkLst>
      </pc:sldChg>
      <pc:sldChg chg="add">
        <pc:chgData name="Josephine Steppat" userId="S::josephine.steppat@montelgroup.com::ad9ceb25-8da7-411f-bf87-5981331f6d79" providerId="AD" clId="Web-{30345A27-0DD7-78BF-A988-54EFD326CB06}" dt="2024-10-31T10:30:56.506" v="8"/>
        <pc:sldMkLst>
          <pc:docMk/>
          <pc:sldMk cId="2805282787" sldId="2147473621"/>
        </pc:sldMkLst>
      </pc:sldChg>
      <pc:sldMasterChg chg="modSldLayout">
        <pc:chgData name="Josephine Steppat" userId="S::josephine.steppat@montelgroup.com::ad9ceb25-8da7-411f-bf87-5981331f6d79" providerId="AD" clId="Web-{30345A27-0DD7-78BF-A988-54EFD326CB06}" dt="2024-10-31T10:30:21.691" v="2"/>
        <pc:sldMasterMkLst>
          <pc:docMk/>
          <pc:sldMasterMk cId="267563118" sldId="2147483648"/>
        </pc:sldMasterMkLst>
        <pc:sldLayoutChg chg="replId">
          <pc:chgData name="Josephine Steppat" userId="S::josephine.steppat@montelgroup.com::ad9ceb25-8da7-411f-bf87-5981331f6d79" providerId="AD" clId="Web-{30345A27-0DD7-78BF-A988-54EFD326CB06}" dt="2024-10-31T10:30:21.691" v="2"/>
          <pc:sldLayoutMkLst>
            <pc:docMk/>
            <pc:sldMasterMk cId="267563118" sldId="2147483648"/>
            <pc:sldLayoutMk cId="1410592297" sldId="2147483776"/>
          </pc:sldLayoutMkLst>
        </pc:sldLayoutChg>
        <pc:sldLayoutChg chg="replId">
          <pc:chgData name="Josephine Steppat" userId="S::josephine.steppat@montelgroup.com::ad9ceb25-8da7-411f-bf87-5981331f6d79" providerId="AD" clId="Web-{30345A27-0DD7-78BF-A988-54EFD326CB06}" dt="2024-10-31T10:30:21.691" v="2"/>
          <pc:sldLayoutMkLst>
            <pc:docMk/>
            <pc:sldMasterMk cId="267563118" sldId="2147483648"/>
            <pc:sldLayoutMk cId="863563286" sldId="2147483780"/>
          </pc:sldLayoutMkLst>
        </pc:sldLayoutChg>
        <pc:sldLayoutChg chg="replId">
          <pc:chgData name="Josephine Steppat" userId="S::josephine.steppat@montelgroup.com::ad9ceb25-8da7-411f-bf87-5981331f6d79" providerId="AD" clId="Web-{30345A27-0DD7-78BF-A988-54EFD326CB06}" dt="2024-10-31T10:30:21.691" v="2"/>
          <pc:sldLayoutMkLst>
            <pc:docMk/>
            <pc:sldMasterMk cId="267563118" sldId="2147483648"/>
            <pc:sldLayoutMk cId="3903011958" sldId="2147483781"/>
          </pc:sldLayoutMkLst>
        </pc:sldLayoutChg>
        <pc:sldLayoutChg chg="replId">
          <pc:chgData name="Josephine Steppat" userId="S::josephine.steppat@montelgroup.com::ad9ceb25-8da7-411f-bf87-5981331f6d79" providerId="AD" clId="Web-{30345A27-0DD7-78BF-A988-54EFD326CB06}" dt="2024-10-31T10:30:21.691" v="2"/>
          <pc:sldLayoutMkLst>
            <pc:docMk/>
            <pc:sldMasterMk cId="267563118" sldId="2147483648"/>
            <pc:sldLayoutMk cId="2429128041" sldId="2147483782"/>
          </pc:sldLayoutMkLst>
        </pc:sldLayoutChg>
      </pc:sldMasterChg>
      <pc:sldMasterChg chg="add addSldLayout">
        <pc:chgData name="Josephine Steppat" userId="S::josephine.steppat@montelgroup.com::ad9ceb25-8da7-411f-bf87-5981331f6d79" providerId="AD" clId="Web-{30345A27-0DD7-78BF-A988-54EFD326CB06}" dt="2024-10-31T10:30:21.691" v="2"/>
        <pc:sldMasterMkLst>
          <pc:docMk/>
          <pc:sldMasterMk cId="3213930011" sldId="2147483650"/>
        </pc:sldMasterMkLst>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542051276" sldId="2147483651"/>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730897246" sldId="2147483652"/>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338096100" sldId="2147483653"/>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653491878" sldId="2147483654"/>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181035937" sldId="2147483655"/>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4173447711" sldId="2147483656"/>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2570239091" sldId="2147483657"/>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2707567230" sldId="2147483658"/>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713265149" sldId="2147483659"/>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00084512" sldId="2147483660"/>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201490487" sldId="2147483661"/>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104357898" sldId="2147483662"/>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392797976" sldId="2147483663"/>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2101755254" sldId="2147483664"/>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932258072" sldId="2147483665"/>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2581852085" sldId="2147483666"/>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463277265" sldId="2147483667"/>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458161915" sldId="2147483668"/>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483381164" sldId="2147483669"/>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516637451" sldId="2147483670"/>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146581828" sldId="2147483671"/>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881060032" sldId="2147483672"/>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724275353" sldId="2147483673"/>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004739625" sldId="2147483674"/>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310918000" sldId="2147483675"/>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633168882" sldId="2147483676"/>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2429478026" sldId="2147483677"/>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909165776" sldId="2147483678"/>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2374795136" sldId="2147483679"/>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4010036163" sldId="2147483680"/>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115270347" sldId="2147483681"/>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717312591" sldId="2147483682"/>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2627455027" sldId="2147483683"/>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2918495822" sldId="2147483684"/>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250626153" sldId="2147483685"/>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519134550" sldId="2147483686"/>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706187721" sldId="2147483687"/>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216739520" sldId="2147483688"/>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071327105" sldId="2147483689"/>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2480103002" sldId="2147483690"/>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794309967" sldId="2147483691"/>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4045778829" sldId="2147483692"/>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998939055" sldId="2147483693"/>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436170738" sldId="2147483694"/>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1268258287" sldId="2147483695"/>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4196629148" sldId="2147483696"/>
          </pc:sldLayoutMkLst>
        </pc:sldLayoutChg>
        <pc:sldLayoutChg chg="add">
          <pc:chgData name="Josephine Steppat" userId="S::josephine.steppat@montelgroup.com::ad9ceb25-8da7-411f-bf87-5981331f6d79" providerId="AD" clId="Web-{30345A27-0DD7-78BF-A988-54EFD326CB06}" dt="2024-10-31T10:30:21.691" v="2"/>
          <pc:sldLayoutMkLst>
            <pc:docMk/>
            <pc:sldMasterMk cId="3213930011" sldId="2147483650"/>
            <pc:sldLayoutMk cId="3171870049" sldId="2147483697"/>
          </pc:sldLayoutMkLst>
        </pc:sldLayoutChg>
      </pc:sldMasterChg>
      <pc:sldMasterChg chg="modSldLayout">
        <pc:chgData name="Josephine Steppat" userId="S::josephine.steppat@montelgroup.com::ad9ceb25-8da7-411f-bf87-5981331f6d79" providerId="AD" clId="Web-{30345A27-0DD7-78BF-A988-54EFD326CB06}" dt="2024-10-31T10:30:21.691" v="2"/>
        <pc:sldMasterMkLst>
          <pc:docMk/>
          <pc:sldMasterMk cId="4048398249" sldId="2147483737"/>
        </pc:sldMasterMkLst>
        <pc:sldLayoutChg chg="replId">
          <pc:chgData name="Josephine Steppat" userId="S::josephine.steppat@montelgroup.com::ad9ceb25-8da7-411f-bf87-5981331f6d79" providerId="AD" clId="Web-{30345A27-0DD7-78BF-A988-54EFD326CB06}" dt="2024-10-31T10:30:21.691" v="2"/>
          <pc:sldLayoutMkLst>
            <pc:docMk/>
            <pc:sldMasterMk cId="4048398249" sldId="2147483737"/>
            <pc:sldLayoutMk cId="3492553673" sldId="2147483785"/>
          </pc:sldLayoutMkLst>
        </pc:sldLayoutChg>
      </pc:sldMasterChg>
      <pc:sldMasterChg chg="replId modSldLayout">
        <pc:chgData name="Josephine Steppat" userId="S::josephine.steppat@montelgroup.com::ad9ceb25-8da7-411f-bf87-5981331f6d79" providerId="AD" clId="Web-{30345A27-0DD7-78BF-A988-54EFD326CB06}" dt="2024-10-31T10:30:21.691" v="2"/>
        <pc:sldMasterMkLst>
          <pc:docMk/>
          <pc:sldMasterMk cId="2133899516" sldId="2147483777"/>
        </pc:sldMasterMkLst>
        <pc:sldLayoutChg chg="replId">
          <pc:chgData name="Josephine Steppat" userId="S::josephine.steppat@montelgroup.com::ad9ceb25-8da7-411f-bf87-5981331f6d79" providerId="AD" clId="Web-{30345A27-0DD7-78BF-A988-54EFD326CB06}" dt="2024-10-31T10:30:21.691" v="2"/>
          <pc:sldLayoutMkLst>
            <pc:docMk/>
            <pc:sldMasterMk cId="2133899516" sldId="2147483777"/>
            <pc:sldLayoutMk cId="1615407740" sldId="2147483778"/>
          </pc:sldLayoutMkLst>
        </pc:sldLayoutChg>
        <pc:sldLayoutChg chg="replId">
          <pc:chgData name="Josephine Steppat" userId="S::josephine.steppat@montelgroup.com::ad9ceb25-8da7-411f-bf87-5981331f6d79" providerId="AD" clId="Web-{30345A27-0DD7-78BF-A988-54EFD326CB06}" dt="2024-10-31T10:30:21.691" v="2"/>
          <pc:sldLayoutMkLst>
            <pc:docMk/>
            <pc:sldMasterMk cId="2133899516" sldId="2147483777"/>
            <pc:sldLayoutMk cId="2838958419" sldId="2147483779"/>
          </pc:sldLayoutMkLst>
        </pc:sldLayoutChg>
        <pc:sldLayoutChg chg="replId">
          <pc:chgData name="Josephine Steppat" userId="S::josephine.steppat@montelgroup.com::ad9ceb25-8da7-411f-bf87-5981331f6d79" providerId="AD" clId="Web-{30345A27-0DD7-78BF-A988-54EFD326CB06}" dt="2024-10-31T10:30:21.691" v="2"/>
          <pc:sldLayoutMkLst>
            <pc:docMk/>
            <pc:sldMasterMk cId="2133899516" sldId="2147483777"/>
            <pc:sldLayoutMk cId="1196552642" sldId="2147483783"/>
          </pc:sldLayoutMkLst>
        </pc:sldLayoutChg>
        <pc:sldLayoutChg chg="replId">
          <pc:chgData name="Josephine Steppat" userId="S::josephine.steppat@montelgroup.com::ad9ceb25-8da7-411f-bf87-5981331f6d79" providerId="AD" clId="Web-{30345A27-0DD7-78BF-A988-54EFD326CB06}" dt="2024-10-31T10:30:21.691" v="2"/>
          <pc:sldLayoutMkLst>
            <pc:docMk/>
            <pc:sldMasterMk cId="2133899516" sldId="2147483777"/>
            <pc:sldLayoutMk cId="2555961386" sldId="2147483784"/>
          </pc:sldLayoutMkLst>
        </pc:sldLayoutChg>
      </pc:sldMasterChg>
      <pc:sldMasterChg chg="replId modSldLayout">
        <pc:chgData name="Josephine Steppat" userId="S::josephine.steppat@montelgroup.com::ad9ceb25-8da7-411f-bf87-5981331f6d79" providerId="AD" clId="Web-{30345A27-0DD7-78BF-A988-54EFD326CB06}" dt="2024-10-31T10:30:21.691" v="2"/>
        <pc:sldMasterMkLst>
          <pc:docMk/>
          <pc:sldMasterMk cId="1427009789" sldId="2147483786"/>
        </pc:sldMasterMkLst>
        <pc:sldLayoutChg chg="replId">
          <pc:chgData name="Josephine Steppat" userId="S::josephine.steppat@montelgroup.com::ad9ceb25-8da7-411f-bf87-5981331f6d79" providerId="AD" clId="Web-{30345A27-0DD7-78BF-A988-54EFD326CB06}" dt="2024-10-31T10:30:21.691" v="2"/>
          <pc:sldLayoutMkLst>
            <pc:docMk/>
            <pc:sldMasterMk cId="1427009789" sldId="2147483786"/>
            <pc:sldLayoutMk cId="2820953483" sldId="2147483789"/>
          </pc:sldLayoutMkLst>
        </pc:sldLayoutChg>
        <pc:sldLayoutChg chg="replId">
          <pc:chgData name="Josephine Steppat" userId="S::josephine.steppat@montelgroup.com::ad9ceb25-8da7-411f-bf87-5981331f6d79" providerId="AD" clId="Web-{30345A27-0DD7-78BF-A988-54EFD326CB06}" dt="2024-10-31T10:30:21.691" v="2"/>
          <pc:sldLayoutMkLst>
            <pc:docMk/>
            <pc:sldMasterMk cId="1427009789" sldId="2147483786"/>
            <pc:sldLayoutMk cId="743659069" sldId="2147483790"/>
          </pc:sldLayoutMkLst>
        </pc:sldLayoutChg>
        <pc:sldLayoutChg chg="replId">
          <pc:chgData name="Josephine Steppat" userId="S::josephine.steppat@montelgroup.com::ad9ceb25-8da7-411f-bf87-5981331f6d79" providerId="AD" clId="Web-{30345A27-0DD7-78BF-A988-54EFD326CB06}" dt="2024-10-31T10:30:21.691" v="2"/>
          <pc:sldLayoutMkLst>
            <pc:docMk/>
            <pc:sldMasterMk cId="1427009789" sldId="2147483786"/>
            <pc:sldLayoutMk cId="2168383355" sldId="2147483856"/>
          </pc:sldLayoutMkLst>
        </pc:sldLayoutChg>
        <pc:sldLayoutChg chg="replId">
          <pc:chgData name="Josephine Steppat" userId="S::josephine.steppat@montelgroup.com::ad9ceb25-8da7-411f-bf87-5981331f6d79" providerId="AD" clId="Web-{30345A27-0DD7-78BF-A988-54EFD326CB06}" dt="2024-10-31T10:30:21.691" v="2"/>
          <pc:sldLayoutMkLst>
            <pc:docMk/>
            <pc:sldMasterMk cId="1427009789" sldId="2147483786"/>
            <pc:sldLayoutMk cId="351921185" sldId="2147483857"/>
          </pc:sldLayoutMkLst>
        </pc:sldLayoutChg>
      </pc:sldMasterChg>
      <pc:sldMasterChg chg="replId modSldLayout">
        <pc:chgData name="Josephine Steppat" userId="S::josephine.steppat@montelgroup.com::ad9ceb25-8da7-411f-bf87-5981331f6d79" providerId="AD" clId="Web-{30345A27-0DD7-78BF-A988-54EFD326CB06}" dt="2024-10-31T10:30:21.691" v="2"/>
        <pc:sldMasterMkLst>
          <pc:docMk/>
          <pc:sldMasterMk cId="1633483813" sldId="2147483791"/>
        </pc:sldMasterMkLst>
        <pc:sldLayoutChg chg="replId">
          <pc:chgData name="Josephine Steppat" userId="S::josephine.steppat@montelgroup.com::ad9ceb25-8da7-411f-bf87-5981331f6d79" providerId="AD" clId="Web-{30345A27-0DD7-78BF-A988-54EFD326CB06}" dt="2024-10-31T10:30:21.691" v="2"/>
          <pc:sldLayoutMkLst>
            <pc:docMk/>
            <pc:sldMasterMk cId="1633483813" sldId="2147483791"/>
            <pc:sldLayoutMk cId="3699094201" sldId="2147483793"/>
          </pc:sldLayoutMkLst>
        </pc:sldLayoutChg>
        <pc:sldLayoutChg chg="replId">
          <pc:chgData name="Josephine Steppat" userId="S::josephine.steppat@montelgroup.com::ad9ceb25-8da7-411f-bf87-5981331f6d79" providerId="AD" clId="Web-{30345A27-0DD7-78BF-A988-54EFD326CB06}" dt="2024-10-31T10:30:21.691" v="2"/>
          <pc:sldLayoutMkLst>
            <pc:docMk/>
            <pc:sldMasterMk cId="1633483813" sldId="2147483791"/>
            <pc:sldLayoutMk cId="2768892540" sldId="2147483794"/>
          </pc:sldLayoutMkLst>
        </pc:sldLayoutChg>
        <pc:sldLayoutChg chg="replId">
          <pc:chgData name="Josephine Steppat" userId="S::josephine.steppat@montelgroup.com::ad9ceb25-8da7-411f-bf87-5981331f6d79" providerId="AD" clId="Web-{30345A27-0DD7-78BF-A988-54EFD326CB06}" dt="2024-10-31T10:30:21.691" v="2"/>
          <pc:sldLayoutMkLst>
            <pc:docMk/>
            <pc:sldMasterMk cId="1633483813" sldId="2147483791"/>
            <pc:sldLayoutMk cId="1864051137" sldId="2147483795"/>
          </pc:sldLayoutMkLst>
        </pc:sldLayoutChg>
        <pc:sldLayoutChg chg="replId">
          <pc:chgData name="Josephine Steppat" userId="S::josephine.steppat@montelgroup.com::ad9ceb25-8da7-411f-bf87-5981331f6d79" providerId="AD" clId="Web-{30345A27-0DD7-78BF-A988-54EFD326CB06}" dt="2024-10-31T10:30:21.691" v="2"/>
          <pc:sldLayoutMkLst>
            <pc:docMk/>
            <pc:sldMasterMk cId="1633483813" sldId="2147483791"/>
            <pc:sldLayoutMk cId="3449768420" sldId="2147483858"/>
          </pc:sldLayoutMkLst>
        </pc:sldLayoutChg>
      </pc:sldMasterChg>
      <pc:sldMasterChg chg="replId modSldLayout">
        <pc:chgData name="Josephine Steppat" userId="S::josephine.steppat@montelgroup.com::ad9ceb25-8da7-411f-bf87-5981331f6d79" providerId="AD" clId="Web-{30345A27-0DD7-78BF-A988-54EFD326CB06}" dt="2024-10-31T10:30:21.691" v="2"/>
        <pc:sldMasterMkLst>
          <pc:docMk/>
          <pc:sldMasterMk cId="594674976" sldId="2147483796"/>
        </pc:sldMasterMkLst>
        <pc:sldLayoutChg chg="replId">
          <pc:chgData name="Josephine Steppat" userId="S::josephine.steppat@montelgroup.com::ad9ceb25-8da7-411f-bf87-5981331f6d79" providerId="AD" clId="Web-{30345A27-0DD7-78BF-A988-54EFD326CB06}" dt="2024-10-31T10:30:21.691" v="2"/>
          <pc:sldLayoutMkLst>
            <pc:docMk/>
            <pc:sldMasterMk cId="594674976" sldId="2147483796"/>
            <pc:sldLayoutMk cId="793342200" sldId="2147483799"/>
          </pc:sldLayoutMkLst>
        </pc:sldLayoutChg>
        <pc:sldLayoutChg chg="replId">
          <pc:chgData name="Josephine Steppat" userId="S::josephine.steppat@montelgroup.com::ad9ceb25-8da7-411f-bf87-5981331f6d79" providerId="AD" clId="Web-{30345A27-0DD7-78BF-A988-54EFD326CB06}" dt="2024-10-31T10:30:21.691" v="2"/>
          <pc:sldLayoutMkLst>
            <pc:docMk/>
            <pc:sldMasterMk cId="594674976" sldId="2147483796"/>
            <pc:sldLayoutMk cId="2054433207" sldId="2147483800"/>
          </pc:sldLayoutMkLst>
        </pc:sldLayoutChg>
        <pc:sldLayoutChg chg="replId">
          <pc:chgData name="Josephine Steppat" userId="S::josephine.steppat@montelgroup.com::ad9ceb25-8da7-411f-bf87-5981331f6d79" providerId="AD" clId="Web-{30345A27-0DD7-78BF-A988-54EFD326CB06}" dt="2024-10-31T10:30:21.691" v="2"/>
          <pc:sldLayoutMkLst>
            <pc:docMk/>
            <pc:sldMasterMk cId="594674976" sldId="2147483796"/>
            <pc:sldLayoutMk cId="2260781591" sldId="2147483859"/>
          </pc:sldLayoutMkLst>
        </pc:sldLayoutChg>
        <pc:sldLayoutChg chg="replId">
          <pc:chgData name="Josephine Steppat" userId="S::josephine.steppat@montelgroup.com::ad9ceb25-8da7-411f-bf87-5981331f6d79" providerId="AD" clId="Web-{30345A27-0DD7-78BF-A988-54EFD326CB06}" dt="2024-10-31T10:30:21.691" v="2"/>
          <pc:sldLayoutMkLst>
            <pc:docMk/>
            <pc:sldMasterMk cId="594674976" sldId="2147483796"/>
            <pc:sldLayoutMk cId="2806108524" sldId="2147483860"/>
          </pc:sldLayoutMkLst>
        </pc:sldLayoutChg>
      </pc:sldMasterChg>
      <pc:sldMasterChg chg="replId modSldLayout">
        <pc:chgData name="Josephine Steppat" userId="S::josephine.steppat@montelgroup.com::ad9ceb25-8da7-411f-bf87-5981331f6d79" providerId="AD" clId="Web-{30345A27-0DD7-78BF-A988-54EFD326CB06}" dt="2024-10-31T10:30:21.691" v="2"/>
        <pc:sldMasterMkLst>
          <pc:docMk/>
          <pc:sldMasterMk cId="3786247408" sldId="2147483801"/>
        </pc:sldMasterMkLst>
        <pc:sldLayoutChg chg="replId">
          <pc:chgData name="Josephine Steppat" userId="S::josephine.steppat@montelgroup.com::ad9ceb25-8da7-411f-bf87-5981331f6d79" providerId="AD" clId="Web-{30345A27-0DD7-78BF-A988-54EFD326CB06}" dt="2024-10-31T10:30:21.691" v="2"/>
          <pc:sldLayoutMkLst>
            <pc:docMk/>
            <pc:sldMasterMk cId="3786247408" sldId="2147483801"/>
            <pc:sldLayoutMk cId="2398727476" sldId="2147483804"/>
          </pc:sldLayoutMkLst>
        </pc:sldLayoutChg>
        <pc:sldLayoutChg chg="replId">
          <pc:chgData name="Josephine Steppat" userId="S::josephine.steppat@montelgroup.com::ad9ceb25-8da7-411f-bf87-5981331f6d79" providerId="AD" clId="Web-{30345A27-0DD7-78BF-A988-54EFD326CB06}" dt="2024-10-31T10:30:21.691" v="2"/>
          <pc:sldLayoutMkLst>
            <pc:docMk/>
            <pc:sldMasterMk cId="3786247408" sldId="2147483801"/>
            <pc:sldLayoutMk cId="3444276823" sldId="2147483805"/>
          </pc:sldLayoutMkLst>
        </pc:sldLayoutChg>
        <pc:sldLayoutChg chg="replId">
          <pc:chgData name="Josephine Steppat" userId="S::josephine.steppat@montelgroup.com::ad9ceb25-8da7-411f-bf87-5981331f6d79" providerId="AD" clId="Web-{30345A27-0DD7-78BF-A988-54EFD326CB06}" dt="2024-10-31T10:30:21.691" v="2"/>
          <pc:sldLayoutMkLst>
            <pc:docMk/>
            <pc:sldMasterMk cId="3786247408" sldId="2147483801"/>
            <pc:sldLayoutMk cId="189260002" sldId="2147483861"/>
          </pc:sldLayoutMkLst>
        </pc:sldLayoutChg>
        <pc:sldLayoutChg chg="replId">
          <pc:chgData name="Josephine Steppat" userId="S::josephine.steppat@montelgroup.com::ad9ceb25-8da7-411f-bf87-5981331f6d79" providerId="AD" clId="Web-{30345A27-0DD7-78BF-A988-54EFD326CB06}" dt="2024-10-31T10:30:21.691" v="2"/>
          <pc:sldLayoutMkLst>
            <pc:docMk/>
            <pc:sldMasterMk cId="3786247408" sldId="2147483801"/>
            <pc:sldLayoutMk cId="823130031" sldId="2147483862"/>
          </pc:sldLayoutMkLst>
        </pc:sldLayoutChg>
      </pc:sldMasterChg>
      <pc:sldMasterChg chg="replId">
        <pc:chgData name="Josephine Steppat" userId="S::josephine.steppat@montelgroup.com::ad9ceb25-8da7-411f-bf87-5981331f6d79" providerId="AD" clId="Web-{30345A27-0DD7-78BF-A988-54EFD326CB06}" dt="2024-10-31T10:30:21.691" v="2"/>
        <pc:sldMasterMkLst>
          <pc:docMk/>
          <pc:sldMasterMk cId="3559332644" sldId="2147483806"/>
        </pc:sldMasterMkLst>
      </pc:sldMasterChg>
      <pc:sldMasterChg chg="add addSldLayout">
        <pc:chgData name="Josephine Steppat" userId="S::josephine.steppat@montelgroup.com::ad9ceb25-8da7-411f-bf87-5981331f6d79" providerId="AD" clId="Web-{30345A27-0DD7-78BF-A988-54EFD326CB06}" dt="2024-10-31T10:30:47.709" v="5"/>
        <pc:sldMasterMkLst>
          <pc:docMk/>
          <pc:sldMasterMk cId="3213930011" sldId="2147483807"/>
        </pc:sldMasterMkLst>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542051276" sldId="2147483808"/>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730897246" sldId="2147483809"/>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338096100" sldId="2147483810"/>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653491878" sldId="2147483811"/>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181035937" sldId="2147483812"/>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4173447711" sldId="2147483813"/>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2570239091" sldId="2147483814"/>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2707567230" sldId="2147483815"/>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713265149" sldId="2147483816"/>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00084512" sldId="2147483817"/>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201490487" sldId="2147483818"/>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104357898" sldId="2147483819"/>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392797976" sldId="2147483820"/>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2101755254" sldId="2147483821"/>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932258072" sldId="2147483822"/>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2581852085" sldId="2147483823"/>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463277265" sldId="2147483824"/>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458161915" sldId="2147483825"/>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483381164" sldId="2147483826"/>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516637451" sldId="2147483827"/>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146581828" sldId="2147483828"/>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881060032" sldId="2147483829"/>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724275353" sldId="2147483830"/>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004739625" sldId="2147483831"/>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310918000" sldId="2147483832"/>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633168882" sldId="2147483833"/>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2429478026" sldId="2147483834"/>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909165776" sldId="2147483835"/>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2374795136" sldId="2147483836"/>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4010036163" sldId="2147483837"/>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115270347" sldId="2147483838"/>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717312591" sldId="2147483839"/>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2627455027" sldId="2147483840"/>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2918495822" sldId="2147483841"/>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250626153" sldId="2147483842"/>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519134550" sldId="2147483843"/>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706187721" sldId="2147483844"/>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216739520" sldId="2147483845"/>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071327105" sldId="2147483846"/>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2480103002" sldId="2147483847"/>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794309967" sldId="2147483848"/>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4045778829" sldId="2147483849"/>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998939055" sldId="2147483850"/>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436170738" sldId="2147483851"/>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1268258287" sldId="2147483852"/>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4196629148" sldId="2147483853"/>
          </pc:sldLayoutMkLst>
        </pc:sldLayoutChg>
        <pc:sldLayoutChg chg="add">
          <pc:chgData name="Josephine Steppat" userId="S::josephine.steppat@montelgroup.com::ad9ceb25-8da7-411f-bf87-5981331f6d79" providerId="AD" clId="Web-{30345A27-0DD7-78BF-A988-54EFD326CB06}" dt="2024-10-31T10:30:47.709" v="5"/>
          <pc:sldLayoutMkLst>
            <pc:docMk/>
            <pc:sldMasterMk cId="3213930011" sldId="2147483807"/>
            <pc:sldLayoutMk cId="3171870049" sldId="2147483854"/>
          </pc:sldLayoutMkLst>
        </pc:sldLayoutChg>
      </pc:sldMasterChg>
    </pc:docChg>
  </pc:docChgLst>
  <pc:docChgLst>
    <pc:chgData name="Josephine Steppat" userId="S::josephine.steppat@montelgroup.com::ad9ceb25-8da7-411f-bf87-5981331f6d79" providerId="AD" clId="Web-{22B27BA4-D48B-D165-0210-41D6B12CEDB5}"/>
    <pc:docChg chg="modSld sldOrd modSection">
      <pc:chgData name="Josephine Steppat" userId="S::josephine.steppat@montelgroup.com::ad9ceb25-8da7-411f-bf87-5981331f6d79" providerId="AD" clId="Web-{22B27BA4-D48B-D165-0210-41D6B12CEDB5}" dt="2024-10-31T10:33:59.416" v="7" actId="1076"/>
      <pc:docMkLst>
        <pc:docMk/>
      </pc:docMkLst>
      <pc:sldChg chg="ord">
        <pc:chgData name="Josephine Steppat" userId="S::josephine.steppat@montelgroup.com::ad9ceb25-8da7-411f-bf87-5981331f6d79" providerId="AD" clId="Web-{22B27BA4-D48B-D165-0210-41D6B12CEDB5}" dt="2024-10-31T10:33:35.931" v="0"/>
        <pc:sldMkLst>
          <pc:docMk/>
          <pc:sldMk cId="2740097830" sldId="371"/>
        </pc:sldMkLst>
      </pc:sldChg>
      <pc:sldChg chg="ord">
        <pc:chgData name="Josephine Steppat" userId="S::josephine.steppat@montelgroup.com::ad9ceb25-8da7-411f-bf87-5981331f6d79" providerId="AD" clId="Web-{22B27BA4-D48B-D165-0210-41D6B12CEDB5}" dt="2024-10-31T10:33:35.931" v="4"/>
        <pc:sldMkLst>
          <pc:docMk/>
          <pc:sldMk cId="379983478" sldId="2147472067"/>
        </pc:sldMkLst>
      </pc:sldChg>
      <pc:sldChg chg="ord">
        <pc:chgData name="Josephine Steppat" userId="S::josephine.steppat@montelgroup.com::ad9ceb25-8da7-411f-bf87-5981331f6d79" providerId="AD" clId="Web-{22B27BA4-D48B-D165-0210-41D6B12CEDB5}" dt="2024-10-31T10:33:35.947" v="6"/>
        <pc:sldMkLst>
          <pc:docMk/>
          <pc:sldMk cId="3199227915" sldId="2147472142"/>
        </pc:sldMkLst>
      </pc:sldChg>
      <pc:sldChg chg="ord">
        <pc:chgData name="Josephine Steppat" userId="S::josephine.steppat@montelgroup.com::ad9ceb25-8da7-411f-bf87-5981331f6d79" providerId="AD" clId="Web-{22B27BA4-D48B-D165-0210-41D6B12CEDB5}" dt="2024-10-31T10:33:35.931" v="5"/>
        <pc:sldMkLst>
          <pc:docMk/>
          <pc:sldMk cId="1253391683" sldId="2147473612"/>
        </pc:sldMkLst>
      </pc:sldChg>
      <pc:sldChg chg="ord">
        <pc:chgData name="Josephine Steppat" userId="S::josephine.steppat@montelgroup.com::ad9ceb25-8da7-411f-bf87-5981331f6d79" providerId="AD" clId="Web-{22B27BA4-D48B-D165-0210-41D6B12CEDB5}" dt="2024-10-31T10:33:35.931" v="3"/>
        <pc:sldMkLst>
          <pc:docMk/>
          <pc:sldMk cId="2284409520" sldId="2147473616"/>
        </pc:sldMkLst>
      </pc:sldChg>
      <pc:sldChg chg="ord">
        <pc:chgData name="Josephine Steppat" userId="S::josephine.steppat@montelgroup.com::ad9ceb25-8da7-411f-bf87-5981331f6d79" providerId="AD" clId="Web-{22B27BA4-D48B-D165-0210-41D6B12CEDB5}" dt="2024-10-31T10:33:35.931" v="1"/>
        <pc:sldMkLst>
          <pc:docMk/>
          <pc:sldMk cId="3703610656" sldId="2147473620"/>
        </pc:sldMkLst>
      </pc:sldChg>
      <pc:sldChg chg="modSp ord">
        <pc:chgData name="Josephine Steppat" userId="S::josephine.steppat@montelgroup.com::ad9ceb25-8da7-411f-bf87-5981331f6d79" providerId="AD" clId="Web-{22B27BA4-D48B-D165-0210-41D6B12CEDB5}" dt="2024-10-31T10:33:59.416" v="7" actId="1076"/>
        <pc:sldMkLst>
          <pc:docMk/>
          <pc:sldMk cId="2805282787" sldId="2147473621"/>
        </pc:sldMkLst>
        <pc:spChg chg="mod">
          <ac:chgData name="Josephine Steppat" userId="S::josephine.steppat@montelgroup.com::ad9ceb25-8da7-411f-bf87-5981331f6d79" providerId="AD" clId="Web-{22B27BA4-D48B-D165-0210-41D6B12CEDB5}" dt="2024-10-31T10:33:59.416" v="7" actId="1076"/>
          <ac:spMkLst>
            <pc:docMk/>
            <pc:sldMk cId="2805282787" sldId="2147473621"/>
            <ac:spMk id="11" creationId="{3131BB14-BC25-D313-A64C-1A0C10B6573F}"/>
          </ac:spMkLst>
        </pc:spChg>
      </pc:sldChg>
    </pc:docChg>
  </pc:docChgLst>
  <pc:docChgLst>
    <pc:chgData name="Laura Malinen" userId="355caaf7-0f79-4aa9-a35e-b700947e186b" providerId="ADAL" clId="{C95102F2-176B-4CDF-9AC1-714EFE61E812}"/>
    <pc:docChg chg="undo custSel addSld modSld modSection">
      <pc:chgData name="Laura Malinen" userId="355caaf7-0f79-4aa9-a35e-b700947e186b" providerId="ADAL" clId="{C95102F2-176B-4CDF-9AC1-714EFE61E812}" dt="2024-10-31T13:26:17.981" v="14" actId="26606"/>
      <pc:docMkLst>
        <pc:docMk/>
      </pc:docMkLst>
      <pc:sldChg chg="add">
        <pc:chgData name="Laura Malinen" userId="355caaf7-0f79-4aa9-a35e-b700947e186b" providerId="ADAL" clId="{C95102F2-176B-4CDF-9AC1-714EFE61E812}" dt="2024-10-31T08:17:44.142" v="0"/>
        <pc:sldMkLst>
          <pc:docMk/>
          <pc:sldMk cId="375571534" sldId="274"/>
        </pc:sldMkLst>
      </pc:sldChg>
      <pc:sldChg chg="add">
        <pc:chgData name="Laura Malinen" userId="355caaf7-0f79-4aa9-a35e-b700947e186b" providerId="ADAL" clId="{C95102F2-176B-4CDF-9AC1-714EFE61E812}" dt="2024-10-31T08:17:44.142" v="0"/>
        <pc:sldMkLst>
          <pc:docMk/>
          <pc:sldMk cId="3325902731" sldId="286"/>
        </pc:sldMkLst>
      </pc:sldChg>
      <pc:sldChg chg="add">
        <pc:chgData name="Laura Malinen" userId="355caaf7-0f79-4aa9-a35e-b700947e186b" providerId="ADAL" clId="{C95102F2-176B-4CDF-9AC1-714EFE61E812}" dt="2024-10-31T08:17:44.142" v="0"/>
        <pc:sldMkLst>
          <pc:docMk/>
          <pc:sldMk cId="2488091833" sldId="291"/>
        </pc:sldMkLst>
      </pc:sldChg>
      <pc:sldChg chg="add">
        <pc:chgData name="Laura Malinen" userId="355caaf7-0f79-4aa9-a35e-b700947e186b" providerId="ADAL" clId="{C95102F2-176B-4CDF-9AC1-714EFE61E812}" dt="2024-10-31T08:17:44.142" v="0"/>
        <pc:sldMkLst>
          <pc:docMk/>
          <pc:sldMk cId="867425870" sldId="296"/>
        </pc:sldMkLst>
      </pc:sldChg>
      <pc:sldChg chg="add">
        <pc:chgData name="Laura Malinen" userId="355caaf7-0f79-4aa9-a35e-b700947e186b" providerId="ADAL" clId="{C95102F2-176B-4CDF-9AC1-714EFE61E812}" dt="2024-10-31T08:17:44.142" v="0"/>
        <pc:sldMkLst>
          <pc:docMk/>
          <pc:sldMk cId="386688788" sldId="298"/>
        </pc:sldMkLst>
      </pc:sldChg>
      <pc:sldChg chg="add">
        <pc:chgData name="Laura Malinen" userId="355caaf7-0f79-4aa9-a35e-b700947e186b" providerId="ADAL" clId="{C95102F2-176B-4CDF-9AC1-714EFE61E812}" dt="2024-10-31T08:17:44.142" v="0"/>
        <pc:sldMkLst>
          <pc:docMk/>
          <pc:sldMk cId="287604146" sldId="301"/>
        </pc:sldMkLst>
      </pc:sldChg>
      <pc:sldChg chg="add">
        <pc:chgData name="Laura Malinen" userId="355caaf7-0f79-4aa9-a35e-b700947e186b" providerId="ADAL" clId="{C95102F2-176B-4CDF-9AC1-714EFE61E812}" dt="2024-10-31T08:17:44.142" v="0"/>
        <pc:sldMkLst>
          <pc:docMk/>
          <pc:sldMk cId="3462811197" sldId="302"/>
        </pc:sldMkLst>
      </pc:sldChg>
      <pc:sldChg chg="add">
        <pc:chgData name="Laura Malinen" userId="355caaf7-0f79-4aa9-a35e-b700947e186b" providerId="ADAL" clId="{C95102F2-176B-4CDF-9AC1-714EFE61E812}" dt="2024-10-31T08:17:44.142" v="0"/>
        <pc:sldMkLst>
          <pc:docMk/>
          <pc:sldMk cId="3332173612" sldId="303"/>
        </pc:sldMkLst>
      </pc:sldChg>
      <pc:sldChg chg="add">
        <pc:chgData name="Laura Malinen" userId="355caaf7-0f79-4aa9-a35e-b700947e186b" providerId="ADAL" clId="{C95102F2-176B-4CDF-9AC1-714EFE61E812}" dt="2024-10-31T08:17:44.142" v="0"/>
        <pc:sldMkLst>
          <pc:docMk/>
          <pc:sldMk cId="130669910" sldId="304"/>
        </pc:sldMkLst>
      </pc:sldChg>
      <pc:sldChg chg="addSp delSp modSp new mod modClrScheme chgLayout">
        <pc:chgData name="Laura Malinen" userId="355caaf7-0f79-4aa9-a35e-b700947e186b" providerId="ADAL" clId="{C95102F2-176B-4CDF-9AC1-714EFE61E812}" dt="2024-10-31T13:26:17.981" v="14" actId="26606"/>
        <pc:sldMkLst>
          <pc:docMk/>
          <pc:sldMk cId="2987526370" sldId="2147473622"/>
        </pc:sldMkLst>
        <pc:spChg chg="del mod ord">
          <ac:chgData name="Laura Malinen" userId="355caaf7-0f79-4aa9-a35e-b700947e186b" providerId="ADAL" clId="{C95102F2-176B-4CDF-9AC1-714EFE61E812}" dt="2024-10-31T13:25:50.758" v="2" actId="700"/>
          <ac:spMkLst>
            <pc:docMk/>
            <pc:sldMk cId="2987526370" sldId="2147473622"/>
            <ac:spMk id="2" creationId="{47BD0762-621D-8441-8B0C-B3C2D1552939}"/>
          </ac:spMkLst>
        </pc:spChg>
        <pc:spChg chg="del">
          <ac:chgData name="Laura Malinen" userId="355caaf7-0f79-4aa9-a35e-b700947e186b" providerId="ADAL" clId="{C95102F2-176B-4CDF-9AC1-714EFE61E812}" dt="2024-10-31T13:25:50.758" v="2" actId="700"/>
          <ac:spMkLst>
            <pc:docMk/>
            <pc:sldMk cId="2987526370" sldId="2147473622"/>
            <ac:spMk id="3" creationId="{E82A5EC2-E751-B58C-9C54-5D8B787F1A7D}"/>
          </ac:spMkLst>
        </pc:spChg>
        <pc:spChg chg="del">
          <ac:chgData name="Laura Malinen" userId="355caaf7-0f79-4aa9-a35e-b700947e186b" providerId="ADAL" clId="{C95102F2-176B-4CDF-9AC1-714EFE61E812}" dt="2024-10-31T13:25:50.758" v="2" actId="700"/>
          <ac:spMkLst>
            <pc:docMk/>
            <pc:sldMk cId="2987526370" sldId="2147473622"/>
            <ac:spMk id="4" creationId="{A2DF09DB-7934-3CD2-201D-3B9C55553A94}"/>
          </ac:spMkLst>
        </pc:spChg>
        <pc:spChg chg="add del mod ord">
          <ac:chgData name="Laura Malinen" userId="355caaf7-0f79-4aa9-a35e-b700947e186b" providerId="ADAL" clId="{C95102F2-176B-4CDF-9AC1-714EFE61E812}" dt="2024-10-31T13:25:56.375" v="3"/>
          <ac:spMkLst>
            <pc:docMk/>
            <pc:sldMk cId="2987526370" sldId="2147473622"/>
            <ac:spMk id="5" creationId="{4D021301-60A1-5E8D-0BA6-A7139EFE44EF}"/>
          </ac:spMkLst>
        </pc:spChg>
        <pc:spChg chg="add mod">
          <ac:chgData name="Laura Malinen" userId="355caaf7-0f79-4aa9-a35e-b700947e186b" providerId="ADAL" clId="{C95102F2-176B-4CDF-9AC1-714EFE61E812}" dt="2024-10-31T13:26:17.981" v="14" actId="26606"/>
          <ac:spMkLst>
            <pc:docMk/>
            <pc:sldMk cId="2987526370" sldId="2147473622"/>
            <ac:spMk id="12" creationId="{69774851-1F00-CD1A-1BF5-54B84FED5811}"/>
          </ac:spMkLst>
        </pc:spChg>
        <pc:picChg chg="add mod">
          <ac:chgData name="Laura Malinen" userId="355caaf7-0f79-4aa9-a35e-b700947e186b" providerId="ADAL" clId="{C95102F2-176B-4CDF-9AC1-714EFE61E812}" dt="2024-10-31T13:26:17.981" v="14" actId="26606"/>
          <ac:picMkLst>
            <pc:docMk/>
            <pc:sldMk cId="2987526370" sldId="2147473622"/>
            <ac:picMk id="7" creationId="{030EE3E3-0551-2D83-3D76-A53F578251F9}"/>
          </ac:picMkLst>
        </pc:picChg>
      </pc:sldChg>
    </pc:docChg>
  </pc:docChgLst>
  <pc:docChgLst>
    <pc:chgData name="Josephine Steppat" userId="S::josephine.steppat@montelgroup.com::ad9ceb25-8da7-411f-bf87-5981331f6d79" providerId="AD" clId="Web-{780DD5EF-965E-1CE8-437C-2A91B51BCDE1}"/>
    <pc:docChg chg="addSld delSld addMainMaster delMainMaster modMainMaster modSection">
      <pc:chgData name="Josephine Steppat" userId="S::josephine.steppat@montelgroup.com::ad9ceb25-8da7-411f-bf87-5981331f6d79" providerId="AD" clId="Web-{780DD5EF-965E-1CE8-437C-2A91B51BCDE1}" dt="2024-10-31T10:28:07.873" v="45"/>
      <pc:docMkLst>
        <pc:docMk/>
      </pc:docMkLst>
      <pc:sldChg chg="add del">
        <pc:chgData name="Josephine Steppat" userId="S::josephine.steppat@montelgroup.com::ad9ceb25-8da7-411f-bf87-5981331f6d79" providerId="AD" clId="Web-{780DD5EF-965E-1CE8-437C-2A91B51BCDE1}" dt="2024-10-31T10:27:13.605" v="35"/>
        <pc:sldMkLst>
          <pc:docMk/>
          <pc:sldMk cId="2740097830" sldId="371"/>
        </pc:sldMkLst>
      </pc:sldChg>
      <pc:sldChg chg="add del">
        <pc:chgData name="Josephine Steppat" userId="S::josephine.steppat@montelgroup.com::ad9ceb25-8da7-411f-bf87-5981331f6d79" providerId="AD" clId="Web-{780DD5EF-965E-1CE8-437C-2A91B51BCDE1}" dt="2024-10-31T10:27:13.636" v="39"/>
        <pc:sldMkLst>
          <pc:docMk/>
          <pc:sldMk cId="379983478" sldId="2147472067"/>
        </pc:sldMkLst>
      </pc:sldChg>
      <pc:sldChg chg="add del">
        <pc:chgData name="Josephine Steppat" userId="S::josephine.steppat@montelgroup.com::ad9ceb25-8da7-411f-bf87-5981331f6d79" providerId="AD" clId="Web-{780DD5EF-965E-1CE8-437C-2A91B51BCDE1}" dt="2024-10-31T10:28:07.873" v="45"/>
        <pc:sldMkLst>
          <pc:docMk/>
          <pc:sldMk cId="3199227915" sldId="2147472142"/>
        </pc:sldMkLst>
      </pc:sldChg>
      <pc:sldChg chg="add del">
        <pc:chgData name="Josephine Steppat" userId="S::josephine.steppat@montelgroup.com::ad9ceb25-8da7-411f-bf87-5981331f6d79" providerId="AD" clId="Web-{780DD5EF-965E-1CE8-437C-2A91B51BCDE1}" dt="2024-10-31T10:28:06.716" v="44"/>
        <pc:sldMkLst>
          <pc:docMk/>
          <pc:sldMk cId="1253391683" sldId="2147473612"/>
        </pc:sldMkLst>
      </pc:sldChg>
      <pc:sldChg chg="add del">
        <pc:chgData name="Josephine Steppat" userId="S::josephine.steppat@montelgroup.com::ad9ceb25-8da7-411f-bf87-5981331f6d79" providerId="AD" clId="Web-{780DD5EF-965E-1CE8-437C-2A91B51BCDE1}" dt="2024-10-31T10:27:13.621" v="38"/>
        <pc:sldMkLst>
          <pc:docMk/>
          <pc:sldMk cId="2284409520" sldId="2147473616"/>
        </pc:sldMkLst>
      </pc:sldChg>
      <pc:sldChg chg="add del">
        <pc:chgData name="Josephine Steppat" userId="S::josephine.steppat@montelgroup.com::ad9ceb25-8da7-411f-bf87-5981331f6d79" providerId="AD" clId="Web-{780DD5EF-965E-1CE8-437C-2A91B51BCDE1}" dt="2024-10-31T10:27:13.605" v="36"/>
        <pc:sldMkLst>
          <pc:docMk/>
          <pc:sldMk cId="3703610656" sldId="2147473620"/>
        </pc:sldMkLst>
      </pc:sldChg>
      <pc:sldChg chg="add del">
        <pc:chgData name="Josephine Steppat" userId="S::josephine.steppat@montelgroup.com::ad9ceb25-8da7-411f-bf87-5981331f6d79" providerId="AD" clId="Web-{780DD5EF-965E-1CE8-437C-2A91B51BCDE1}" dt="2024-10-31T10:27:13.621" v="37"/>
        <pc:sldMkLst>
          <pc:docMk/>
          <pc:sldMk cId="2805282787" sldId="2147473621"/>
        </pc:sldMkLst>
      </pc:sldChg>
      <pc:sldChg chg="add del">
        <pc:chgData name="Josephine Steppat" userId="S::josephine.steppat@montelgroup.com::ad9ceb25-8da7-411f-bf87-5981331f6d79" providerId="AD" clId="Web-{780DD5EF-965E-1CE8-437C-2A91B51BCDE1}" dt="2024-10-31T10:27:09.824" v="34"/>
        <pc:sldMkLst>
          <pc:docMk/>
          <pc:sldMk cId="538091467" sldId="2147473622"/>
        </pc:sldMkLst>
      </pc:sldChg>
      <pc:sldChg chg="add del">
        <pc:chgData name="Josephine Steppat" userId="S::josephine.steppat@montelgroup.com::ad9ceb25-8da7-411f-bf87-5981331f6d79" providerId="AD" clId="Web-{780DD5EF-965E-1CE8-437C-2A91B51BCDE1}" dt="2024-10-31T10:27:07.480" v="33"/>
        <pc:sldMkLst>
          <pc:docMk/>
          <pc:sldMk cId="2804643547" sldId="2147473623"/>
        </pc:sldMkLst>
      </pc:sldChg>
      <pc:sldChg chg="add del">
        <pc:chgData name="Josephine Steppat" userId="S::josephine.steppat@montelgroup.com::ad9ceb25-8da7-411f-bf87-5981331f6d79" providerId="AD" clId="Web-{780DD5EF-965E-1CE8-437C-2A91B51BCDE1}" dt="2024-10-31T10:27:05.652" v="32"/>
        <pc:sldMkLst>
          <pc:docMk/>
          <pc:sldMk cId="2713181593" sldId="2147473624"/>
        </pc:sldMkLst>
      </pc:sldChg>
      <pc:sldChg chg="add del">
        <pc:chgData name="Josephine Steppat" userId="S::josephine.steppat@montelgroup.com::ad9ceb25-8da7-411f-bf87-5981331f6d79" providerId="AD" clId="Web-{780DD5EF-965E-1CE8-437C-2A91B51BCDE1}" dt="2024-10-31T10:27:03.777" v="31"/>
        <pc:sldMkLst>
          <pc:docMk/>
          <pc:sldMk cId="268039572" sldId="2147473625"/>
        </pc:sldMkLst>
      </pc:sldChg>
      <pc:sldChg chg="add del">
        <pc:chgData name="Josephine Steppat" userId="S::josephine.steppat@montelgroup.com::ad9ceb25-8da7-411f-bf87-5981331f6d79" providerId="AD" clId="Web-{780DD5EF-965E-1CE8-437C-2A91B51BCDE1}" dt="2024-10-31T10:27:01.526" v="30"/>
        <pc:sldMkLst>
          <pc:docMk/>
          <pc:sldMk cId="2632483103" sldId="2147473626"/>
        </pc:sldMkLst>
      </pc:sldChg>
      <pc:sldChg chg="add del">
        <pc:chgData name="Josephine Steppat" userId="S::josephine.steppat@montelgroup.com::ad9ceb25-8da7-411f-bf87-5981331f6d79" providerId="AD" clId="Web-{780DD5EF-965E-1CE8-437C-2A91B51BCDE1}" dt="2024-10-31T10:26:59.620" v="29"/>
        <pc:sldMkLst>
          <pc:docMk/>
          <pc:sldMk cId="2495390631" sldId="2147473627"/>
        </pc:sldMkLst>
      </pc:sldChg>
      <pc:sldChg chg="add del">
        <pc:chgData name="Josephine Steppat" userId="S::josephine.steppat@montelgroup.com::ad9ceb25-8da7-411f-bf87-5981331f6d79" providerId="AD" clId="Web-{780DD5EF-965E-1CE8-437C-2A91B51BCDE1}" dt="2024-10-31T10:26:57.745" v="28"/>
        <pc:sldMkLst>
          <pc:docMk/>
          <pc:sldMk cId="2455013996" sldId="2147473628"/>
        </pc:sldMkLst>
      </pc:sldChg>
      <pc:sldMasterChg chg="modSldLayout">
        <pc:chgData name="Josephine Steppat" userId="S::josephine.steppat@montelgroup.com::ad9ceb25-8da7-411f-bf87-5981331f6d79" providerId="AD" clId="Web-{780DD5EF-965E-1CE8-437C-2A91B51BCDE1}" dt="2024-10-31T10:27:09.824" v="34"/>
        <pc:sldMasterMkLst>
          <pc:docMk/>
          <pc:sldMasterMk cId="267563118" sldId="2147483648"/>
        </pc:sldMasterMkLst>
        <pc:sldLayoutChg chg="replId">
          <pc:chgData name="Josephine Steppat" userId="S::josephine.steppat@montelgroup.com::ad9ceb25-8da7-411f-bf87-5981331f6d79" providerId="AD" clId="Web-{780DD5EF-965E-1CE8-437C-2A91B51BCDE1}" dt="2024-10-31T10:27:09.824" v="34"/>
          <pc:sldLayoutMkLst>
            <pc:docMk/>
            <pc:sldMasterMk cId="267563118" sldId="2147483648"/>
            <pc:sldLayoutMk cId="1410592297" sldId="2147483776"/>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267563118" sldId="2147483648"/>
            <pc:sldLayoutMk cId="863563286" sldId="2147483780"/>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267563118" sldId="2147483648"/>
            <pc:sldLayoutMk cId="3903011958" sldId="2147483781"/>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267563118" sldId="2147483648"/>
            <pc:sldLayoutMk cId="2429128041" sldId="2147483782"/>
          </pc:sldLayoutMkLst>
        </pc:sldLayoutChg>
      </pc:sldMasterChg>
      <pc:sldMasterChg chg="add del addSldLayout delSldLayout">
        <pc:chgData name="Josephine Steppat" userId="S::josephine.steppat@montelgroup.com::ad9ceb25-8da7-411f-bf87-5981331f6d79" providerId="AD" clId="Web-{780DD5EF-965E-1CE8-437C-2A91B51BCDE1}" dt="2024-10-31T10:27:09.824" v="34"/>
        <pc:sldMasterMkLst>
          <pc:docMk/>
          <pc:sldMasterMk cId="3213930011" sldId="2147483650"/>
        </pc:sldMasterMkLst>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542051276" sldId="2147483651"/>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730897246" sldId="2147483652"/>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338096100" sldId="2147483653"/>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653491878" sldId="2147483654"/>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181035937" sldId="2147483655"/>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4173447711" sldId="2147483656"/>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2570239091" sldId="2147483657"/>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2707567230" sldId="2147483658"/>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713265149" sldId="2147483659"/>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00084512" sldId="2147483660"/>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201490487" sldId="2147483661"/>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104357898" sldId="2147483662"/>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392797976" sldId="2147483663"/>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2101755254" sldId="2147483664"/>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932258072" sldId="2147483665"/>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2581852085" sldId="2147483666"/>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463277265" sldId="2147483667"/>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458161915" sldId="2147483668"/>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483381164" sldId="2147483669"/>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516637451" sldId="2147483670"/>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146581828" sldId="2147483671"/>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881060032" sldId="2147483672"/>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724275353" sldId="2147483673"/>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004739625" sldId="2147483674"/>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310918000" sldId="2147483675"/>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633168882" sldId="2147483676"/>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2429478026" sldId="2147483677"/>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909165776" sldId="2147483678"/>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2374795136" sldId="2147483679"/>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4010036163" sldId="2147483680"/>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115270347" sldId="2147483681"/>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717312591" sldId="2147483682"/>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2627455027" sldId="2147483683"/>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2918495822" sldId="2147483684"/>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250626153" sldId="2147483685"/>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519134550" sldId="2147483686"/>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706187721" sldId="2147483687"/>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216739520" sldId="2147483688"/>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071327105" sldId="2147483689"/>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2480103002" sldId="2147483690"/>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794309967" sldId="2147483691"/>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4045778829" sldId="2147483692"/>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998939055" sldId="2147483693"/>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436170738" sldId="2147483694"/>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1268258287" sldId="2147483695"/>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4196629148" sldId="2147483696"/>
          </pc:sldLayoutMkLst>
        </pc:sldLayoutChg>
        <pc:sldLayoutChg chg="add del">
          <pc:chgData name="Josephine Steppat" userId="S::josephine.steppat@montelgroup.com::ad9ceb25-8da7-411f-bf87-5981331f6d79" providerId="AD" clId="Web-{780DD5EF-965E-1CE8-437C-2A91B51BCDE1}" dt="2024-10-31T10:27:09.824" v="34"/>
          <pc:sldLayoutMkLst>
            <pc:docMk/>
            <pc:sldMasterMk cId="3213930011" sldId="2147483650"/>
            <pc:sldLayoutMk cId="3171870049" sldId="2147483697"/>
          </pc:sldLayoutMkLst>
        </pc:sldLayoutChg>
      </pc:sldMasterChg>
      <pc:sldMasterChg chg="modSldLayout">
        <pc:chgData name="Josephine Steppat" userId="S::josephine.steppat@montelgroup.com::ad9ceb25-8da7-411f-bf87-5981331f6d79" providerId="AD" clId="Web-{780DD5EF-965E-1CE8-437C-2A91B51BCDE1}" dt="2024-10-31T10:27:09.824" v="34"/>
        <pc:sldMasterMkLst>
          <pc:docMk/>
          <pc:sldMasterMk cId="4048398249" sldId="2147483737"/>
        </pc:sldMasterMkLst>
        <pc:sldLayoutChg chg="replId">
          <pc:chgData name="Josephine Steppat" userId="S::josephine.steppat@montelgroup.com::ad9ceb25-8da7-411f-bf87-5981331f6d79" providerId="AD" clId="Web-{780DD5EF-965E-1CE8-437C-2A91B51BCDE1}" dt="2024-10-31T10:27:09.824" v="34"/>
          <pc:sldLayoutMkLst>
            <pc:docMk/>
            <pc:sldMasterMk cId="4048398249" sldId="2147483737"/>
            <pc:sldLayoutMk cId="3492553673" sldId="2147483785"/>
          </pc:sldLayoutMkLst>
        </pc:sldLayoutChg>
      </pc:sldMasterChg>
      <pc:sldMasterChg chg="replId addSldLayout modSldLayout">
        <pc:chgData name="Josephine Steppat" userId="S::josephine.steppat@montelgroup.com::ad9ceb25-8da7-411f-bf87-5981331f6d79" providerId="AD" clId="Web-{780DD5EF-965E-1CE8-437C-2A91B51BCDE1}" dt="2024-10-31T10:27:09.824" v="34"/>
        <pc:sldMasterMkLst>
          <pc:docMk/>
          <pc:sldMasterMk cId="2133899516" sldId="2147483777"/>
        </pc:sldMasterMkLst>
        <pc:sldLayoutChg chg="add">
          <pc:chgData name="Josephine Steppat" userId="S::josephine.steppat@montelgroup.com::ad9ceb25-8da7-411f-bf87-5981331f6d79" providerId="AD" clId="Web-{780DD5EF-965E-1CE8-437C-2A91B51BCDE1}" dt="2024-10-31T10:24:41.546" v="0"/>
          <pc:sldLayoutMkLst>
            <pc:docMk/>
            <pc:sldMasterMk cId="2133899516" sldId="2147483777"/>
            <pc:sldLayoutMk cId="1596018613" sldId="2147483770"/>
          </pc:sldLayoutMkLst>
        </pc:sldLayoutChg>
        <pc:sldLayoutChg chg="add">
          <pc:chgData name="Josephine Steppat" userId="S::josephine.steppat@montelgroup.com::ad9ceb25-8da7-411f-bf87-5981331f6d79" providerId="AD" clId="Web-{780DD5EF-965E-1CE8-437C-2A91B51BCDE1}" dt="2024-10-31T10:24:41.624" v="1"/>
          <pc:sldLayoutMkLst>
            <pc:docMk/>
            <pc:sldMasterMk cId="2133899516" sldId="2147483777"/>
            <pc:sldLayoutMk cId="226495633" sldId="2147483771"/>
          </pc:sldLayoutMkLst>
        </pc:sldLayoutChg>
        <pc:sldLayoutChg chg="add">
          <pc:chgData name="Josephine Steppat" userId="S::josephine.steppat@montelgroup.com::ad9ceb25-8da7-411f-bf87-5981331f6d79" providerId="AD" clId="Web-{780DD5EF-965E-1CE8-437C-2A91B51BCDE1}" dt="2024-10-31T10:24:41.686" v="2"/>
          <pc:sldLayoutMkLst>
            <pc:docMk/>
            <pc:sldMasterMk cId="2133899516" sldId="2147483777"/>
            <pc:sldLayoutMk cId="4015939153" sldId="2147483772"/>
          </pc:sldLayoutMkLst>
        </pc:sldLayoutChg>
        <pc:sldLayoutChg chg="add">
          <pc:chgData name="Josephine Steppat" userId="S::josephine.steppat@montelgroup.com::ad9ceb25-8da7-411f-bf87-5981331f6d79" providerId="AD" clId="Web-{780DD5EF-965E-1CE8-437C-2A91B51BCDE1}" dt="2024-10-31T10:24:41.749" v="3"/>
          <pc:sldLayoutMkLst>
            <pc:docMk/>
            <pc:sldMasterMk cId="2133899516" sldId="2147483777"/>
            <pc:sldLayoutMk cId="360559007" sldId="2147483773"/>
          </pc:sldLayoutMkLst>
        </pc:sldLayoutChg>
        <pc:sldLayoutChg chg="add">
          <pc:chgData name="Josephine Steppat" userId="S::josephine.steppat@montelgroup.com::ad9ceb25-8da7-411f-bf87-5981331f6d79" providerId="AD" clId="Web-{780DD5EF-965E-1CE8-437C-2A91B51BCDE1}" dt="2024-10-31T10:24:41.827" v="5"/>
          <pc:sldLayoutMkLst>
            <pc:docMk/>
            <pc:sldMasterMk cId="2133899516" sldId="2147483777"/>
            <pc:sldLayoutMk cId="3413427080" sldId="2147483774"/>
          </pc:sldLayoutMkLst>
        </pc:sldLayoutChg>
        <pc:sldLayoutChg chg="add">
          <pc:chgData name="Josephine Steppat" userId="S::josephine.steppat@montelgroup.com::ad9ceb25-8da7-411f-bf87-5981331f6d79" providerId="AD" clId="Web-{780DD5EF-965E-1CE8-437C-2A91B51BCDE1}" dt="2024-10-31T10:24:42.092" v="6"/>
          <pc:sldLayoutMkLst>
            <pc:docMk/>
            <pc:sldMasterMk cId="2133899516" sldId="2147483777"/>
            <pc:sldLayoutMk cId="682105388" sldId="2147483775"/>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2133899516" sldId="2147483777"/>
            <pc:sldLayoutMk cId="1615407740" sldId="2147483778"/>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2133899516" sldId="2147483777"/>
            <pc:sldLayoutMk cId="2838958419" sldId="2147483779"/>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2133899516" sldId="2147483777"/>
            <pc:sldLayoutMk cId="1196552642" sldId="2147483783"/>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2133899516" sldId="2147483777"/>
            <pc:sldLayoutMk cId="2555961386" sldId="2147483784"/>
          </pc:sldLayoutMkLst>
        </pc:sldLayoutChg>
      </pc:sldMasterChg>
      <pc:sldMasterChg chg="replId modSldLayout">
        <pc:chgData name="Josephine Steppat" userId="S::josephine.steppat@montelgroup.com::ad9ceb25-8da7-411f-bf87-5981331f6d79" providerId="AD" clId="Web-{780DD5EF-965E-1CE8-437C-2A91B51BCDE1}" dt="2024-10-31T10:27:09.824" v="34"/>
        <pc:sldMasterMkLst>
          <pc:docMk/>
          <pc:sldMasterMk cId="1427009789" sldId="2147483786"/>
        </pc:sldMasterMkLst>
        <pc:sldLayoutChg chg="replId">
          <pc:chgData name="Josephine Steppat" userId="S::josephine.steppat@montelgroup.com::ad9ceb25-8da7-411f-bf87-5981331f6d79" providerId="AD" clId="Web-{780DD5EF-965E-1CE8-437C-2A91B51BCDE1}" dt="2024-10-31T10:27:09.824" v="34"/>
          <pc:sldLayoutMkLst>
            <pc:docMk/>
            <pc:sldMasterMk cId="1427009789" sldId="2147483786"/>
            <pc:sldLayoutMk cId="2820953483" sldId="2147483789"/>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1427009789" sldId="2147483786"/>
            <pc:sldLayoutMk cId="743659069" sldId="2147483790"/>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1427009789" sldId="2147483786"/>
            <pc:sldLayoutMk cId="2168383355" sldId="2147483856"/>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1427009789" sldId="2147483786"/>
            <pc:sldLayoutMk cId="351921185" sldId="2147483857"/>
          </pc:sldLayoutMkLst>
        </pc:sldLayoutChg>
      </pc:sldMasterChg>
      <pc:sldMasterChg chg="replId modSldLayout">
        <pc:chgData name="Josephine Steppat" userId="S::josephine.steppat@montelgroup.com::ad9ceb25-8da7-411f-bf87-5981331f6d79" providerId="AD" clId="Web-{780DD5EF-965E-1CE8-437C-2A91B51BCDE1}" dt="2024-10-31T10:27:09.824" v="34"/>
        <pc:sldMasterMkLst>
          <pc:docMk/>
          <pc:sldMasterMk cId="1633483813" sldId="2147483791"/>
        </pc:sldMasterMkLst>
        <pc:sldLayoutChg chg="replId">
          <pc:chgData name="Josephine Steppat" userId="S::josephine.steppat@montelgroup.com::ad9ceb25-8da7-411f-bf87-5981331f6d79" providerId="AD" clId="Web-{780DD5EF-965E-1CE8-437C-2A91B51BCDE1}" dt="2024-10-31T10:27:09.824" v="34"/>
          <pc:sldLayoutMkLst>
            <pc:docMk/>
            <pc:sldMasterMk cId="1633483813" sldId="2147483791"/>
            <pc:sldLayoutMk cId="3699094201" sldId="2147483793"/>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1633483813" sldId="2147483791"/>
            <pc:sldLayoutMk cId="2768892540" sldId="2147483794"/>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1633483813" sldId="2147483791"/>
            <pc:sldLayoutMk cId="1864051137" sldId="2147483795"/>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1633483813" sldId="2147483791"/>
            <pc:sldLayoutMk cId="3449768420" sldId="2147483858"/>
          </pc:sldLayoutMkLst>
        </pc:sldLayoutChg>
      </pc:sldMasterChg>
      <pc:sldMasterChg chg="replId modSldLayout">
        <pc:chgData name="Josephine Steppat" userId="S::josephine.steppat@montelgroup.com::ad9ceb25-8da7-411f-bf87-5981331f6d79" providerId="AD" clId="Web-{780DD5EF-965E-1CE8-437C-2A91B51BCDE1}" dt="2024-10-31T10:27:09.824" v="34"/>
        <pc:sldMasterMkLst>
          <pc:docMk/>
          <pc:sldMasterMk cId="594674976" sldId="2147483796"/>
        </pc:sldMasterMkLst>
        <pc:sldLayoutChg chg="replId">
          <pc:chgData name="Josephine Steppat" userId="S::josephine.steppat@montelgroup.com::ad9ceb25-8da7-411f-bf87-5981331f6d79" providerId="AD" clId="Web-{780DD5EF-965E-1CE8-437C-2A91B51BCDE1}" dt="2024-10-31T10:27:09.824" v="34"/>
          <pc:sldLayoutMkLst>
            <pc:docMk/>
            <pc:sldMasterMk cId="594674976" sldId="2147483796"/>
            <pc:sldLayoutMk cId="793342200" sldId="2147483799"/>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594674976" sldId="2147483796"/>
            <pc:sldLayoutMk cId="2054433207" sldId="2147483800"/>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594674976" sldId="2147483796"/>
            <pc:sldLayoutMk cId="2260781591" sldId="2147483859"/>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594674976" sldId="2147483796"/>
            <pc:sldLayoutMk cId="2806108524" sldId="2147483860"/>
          </pc:sldLayoutMkLst>
        </pc:sldLayoutChg>
      </pc:sldMasterChg>
      <pc:sldMasterChg chg="replId modSldLayout">
        <pc:chgData name="Josephine Steppat" userId="S::josephine.steppat@montelgroup.com::ad9ceb25-8da7-411f-bf87-5981331f6d79" providerId="AD" clId="Web-{780DD5EF-965E-1CE8-437C-2A91B51BCDE1}" dt="2024-10-31T10:27:09.824" v="34"/>
        <pc:sldMasterMkLst>
          <pc:docMk/>
          <pc:sldMasterMk cId="3786247408" sldId="2147483801"/>
        </pc:sldMasterMkLst>
        <pc:sldLayoutChg chg="replId">
          <pc:chgData name="Josephine Steppat" userId="S::josephine.steppat@montelgroup.com::ad9ceb25-8da7-411f-bf87-5981331f6d79" providerId="AD" clId="Web-{780DD5EF-965E-1CE8-437C-2A91B51BCDE1}" dt="2024-10-31T10:27:09.824" v="34"/>
          <pc:sldLayoutMkLst>
            <pc:docMk/>
            <pc:sldMasterMk cId="3786247408" sldId="2147483801"/>
            <pc:sldLayoutMk cId="2398727476" sldId="2147483804"/>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3786247408" sldId="2147483801"/>
            <pc:sldLayoutMk cId="3444276823" sldId="2147483805"/>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3786247408" sldId="2147483801"/>
            <pc:sldLayoutMk cId="189260002" sldId="2147483861"/>
          </pc:sldLayoutMkLst>
        </pc:sldLayoutChg>
        <pc:sldLayoutChg chg="replId">
          <pc:chgData name="Josephine Steppat" userId="S::josephine.steppat@montelgroup.com::ad9ceb25-8da7-411f-bf87-5981331f6d79" providerId="AD" clId="Web-{780DD5EF-965E-1CE8-437C-2A91B51BCDE1}" dt="2024-10-31T10:27:09.824" v="34"/>
          <pc:sldLayoutMkLst>
            <pc:docMk/>
            <pc:sldMasterMk cId="3786247408" sldId="2147483801"/>
            <pc:sldLayoutMk cId="823130031" sldId="2147483862"/>
          </pc:sldLayoutMkLst>
        </pc:sldLayoutChg>
      </pc:sldMasterChg>
      <pc:sldMasterChg chg="replId">
        <pc:chgData name="Josephine Steppat" userId="S::josephine.steppat@montelgroup.com::ad9ceb25-8da7-411f-bf87-5981331f6d79" providerId="AD" clId="Web-{780DD5EF-965E-1CE8-437C-2A91B51BCDE1}" dt="2024-10-31T10:27:09.824" v="34"/>
        <pc:sldMasterMkLst>
          <pc:docMk/>
          <pc:sldMasterMk cId="3559332644" sldId="2147483806"/>
        </pc:sldMasterMkLst>
      </pc:sldMasterChg>
      <pc:sldMasterChg chg="add del addSldLayout delSldLayout">
        <pc:chgData name="Josephine Steppat" userId="S::josephine.steppat@montelgroup.com::ad9ceb25-8da7-411f-bf87-5981331f6d79" providerId="AD" clId="Web-{780DD5EF-965E-1CE8-437C-2A91B51BCDE1}" dt="2024-10-31T10:27:07.480" v="33"/>
        <pc:sldMasterMkLst>
          <pc:docMk/>
          <pc:sldMasterMk cId="3213930011" sldId="2147483807"/>
        </pc:sldMasterMkLst>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542051276" sldId="2147483808"/>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730897246" sldId="2147483809"/>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338096100" sldId="2147483810"/>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653491878" sldId="2147483811"/>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181035937" sldId="2147483812"/>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4173447711" sldId="2147483813"/>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2570239091" sldId="2147483814"/>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2707567230" sldId="2147483815"/>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713265149" sldId="2147483816"/>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00084512" sldId="2147483817"/>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201490487" sldId="2147483818"/>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104357898" sldId="2147483819"/>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392797976" sldId="2147483820"/>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2101755254" sldId="2147483821"/>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932258072" sldId="2147483822"/>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2581852085" sldId="2147483823"/>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463277265" sldId="2147483824"/>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458161915" sldId="2147483825"/>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483381164" sldId="2147483826"/>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516637451" sldId="2147483827"/>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146581828" sldId="2147483828"/>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881060032" sldId="2147483829"/>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724275353" sldId="2147483830"/>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004739625" sldId="2147483831"/>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310918000" sldId="2147483832"/>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633168882" sldId="2147483833"/>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2429478026" sldId="2147483834"/>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909165776" sldId="2147483835"/>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2374795136" sldId="2147483836"/>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4010036163" sldId="2147483837"/>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115270347" sldId="2147483838"/>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717312591" sldId="2147483839"/>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2627455027" sldId="2147483840"/>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2918495822" sldId="2147483841"/>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250626153" sldId="2147483842"/>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519134550" sldId="2147483843"/>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706187721" sldId="2147483844"/>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216739520" sldId="2147483845"/>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071327105" sldId="2147483846"/>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2480103002" sldId="2147483847"/>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794309967" sldId="2147483848"/>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4045778829" sldId="2147483849"/>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998939055" sldId="2147483850"/>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436170738" sldId="2147483851"/>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1268258287" sldId="2147483852"/>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4196629148" sldId="2147483853"/>
          </pc:sldLayoutMkLst>
        </pc:sldLayoutChg>
        <pc:sldLayoutChg chg="add del">
          <pc:chgData name="Josephine Steppat" userId="S::josephine.steppat@montelgroup.com::ad9ceb25-8da7-411f-bf87-5981331f6d79" providerId="AD" clId="Web-{780DD5EF-965E-1CE8-437C-2A91B51BCDE1}" dt="2024-10-31T10:27:07.480" v="33"/>
          <pc:sldLayoutMkLst>
            <pc:docMk/>
            <pc:sldMasterMk cId="3213930011" sldId="2147483807"/>
            <pc:sldLayoutMk cId="3171870049" sldId="2147483854"/>
          </pc:sldLayoutMkLst>
        </pc:sldLayoutChg>
      </pc:sldMasterChg>
      <pc:sldMasterChg chg="add del addSldLayout delSldLayout">
        <pc:chgData name="Josephine Steppat" userId="S::josephine.steppat@montelgroup.com::ad9ceb25-8da7-411f-bf87-5981331f6d79" providerId="AD" clId="Web-{780DD5EF-965E-1CE8-437C-2A91B51BCDE1}" dt="2024-10-31T10:27:05.652" v="32"/>
        <pc:sldMasterMkLst>
          <pc:docMk/>
          <pc:sldMasterMk cId="3213930011" sldId="2147483855"/>
        </pc:sldMasterMkLst>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542051276" sldId="2147483856"/>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730897246" sldId="2147483857"/>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338096100" sldId="2147483858"/>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653491878" sldId="2147483859"/>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181035937" sldId="2147483860"/>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4173447711" sldId="2147483861"/>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2570239091" sldId="2147483862"/>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2707567230" sldId="2147483863"/>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713265149" sldId="2147483864"/>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00084512" sldId="2147483865"/>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201490487" sldId="2147483866"/>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104357898" sldId="2147483867"/>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392797976" sldId="2147483868"/>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2101755254" sldId="2147483869"/>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932258072" sldId="2147483870"/>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2581852085" sldId="2147483871"/>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463277265" sldId="2147483872"/>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458161915" sldId="2147483873"/>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483381164" sldId="2147483874"/>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516637451" sldId="2147483875"/>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146581828" sldId="2147483876"/>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881060032" sldId="2147483877"/>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724275353" sldId="2147483878"/>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004739625" sldId="2147483879"/>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310918000" sldId="2147483880"/>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633168882" sldId="2147483881"/>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2429478026" sldId="2147483882"/>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909165776" sldId="2147483883"/>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2374795136" sldId="2147483884"/>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4010036163" sldId="2147483885"/>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115270347" sldId="2147483886"/>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717312591" sldId="2147483887"/>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2627455027" sldId="2147483888"/>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2918495822" sldId="2147483889"/>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250626153" sldId="2147483890"/>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519134550" sldId="2147483891"/>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706187721" sldId="2147483892"/>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216739520" sldId="2147483893"/>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071327105" sldId="2147483894"/>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2480103002" sldId="2147483895"/>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794309967" sldId="2147483896"/>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4045778829" sldId="2147483897"/>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998939055" sldId="2147483898"/>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436170738" sldId="2147483899"/>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1268258287" sldId="2147483900"/>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4196629148" sldId="2147483901"/>
          </pc:sldLayoutMkLst>
        </pc:sldLayoutChg>
        <pc:sldLayoutChg chg="add del">
          <pc:chgData name="Josephine Steppat" userId="S::josephine.steppat@montelgroup.com::ad9ceb25-8da7-411f-bf87-5981331f6d79" providerId="AD" clId="Web-{780DD5EF-965E-1CE8-437C-2A91B51BCDE1}" dt="2024-10-31T10:27:05.652" v="32"/>
          <pc:sldLayoutMkLst>
            <pc:docMk/>
            <pc:sldMasterMk cId="3213930011" sldId="2147483855"/>
            <pc:sldLayoutMk cId="3171870049" sldId="2147483902"/>
          </pc:sldLayoutMkLst>
        </pc:sldLayoutChg>
      </pc:sldMasterChg>
      <pc:sldMasterChg chg="add del addSldLayout delSldLayout">
        <pc:chgData name="Josephine Steppat" userId="S::josephine.steppat@montelgroup.com::ad9ceb25-8da7-411f-bf87-5981331f6d79" providerId="AD" clId="Web-{780DD5EF-965E-1CE8-437C-2A91B51BCDE1}" dt="2024-10-31T10:27:03.777" v="31"/>
        <pc:sldMasterMkLst>
          <pc:docMk/>
          <pc:sldMasterMk cId="3213930011" sldId="2147483903"/>
        </pc:sldMasterMkLst>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542051276" sldId="2147483904"/>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730897246" sldId="2147483905"/>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338096100" sldId="2147483906"/>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653491878" sldId="2147483907"/>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181035937" sldId="2147483908"/>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4173447711" sldId="2147483909"/>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2570239091" sldId="2147483910"/>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2707567230" sldId="2147483911"/>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713265149" sldId="2147483912"/>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00084512" sldId="2147483913"/>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201490487" sldId="2147483914"/>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104357898" sldId="2147483915"/>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392797976" sldId="2147483916"/>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2101755254" sldId="2147483917"/>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932258072" sldId="2147483918"/>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2581852085" sldId="2147483919"/>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463277265" sldId="2147483920"/>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458161915" sldId="2147483921"/>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483381164" sldId="2147483922"/>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516637451" sldId="2147483923"/>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146581828" sldId="2147483924"/>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881060032" sldId="2147483925"/>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724275353" sldId="2147483926"/>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004739625" sldId="2147483927"/>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310918000" sldId="2147483928"/>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633168882" sldId="2147483929"/>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2429478026" sldId="2147483930"/>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909165776" sldId="2147483931"/>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2374795136" sldId="2147483932"/>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4010036163" sldId="2147483933"/>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115270347" sldId="2147483934"/>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717312591" sldId="2147483935"/>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2627455027" sldId="2147483936"/>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2918495822" sldId="2147483937"/>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250626153" sldId="2147483938"/>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519134550" sldId="2147483939"/>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706187721" sldId="2147483940"/>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216739520" sldId="2147483941"/>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071327105" sldId="2147483942"/>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2480103002" sldId="2147483943"/>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794309967" sldId="2147483944"/>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4045778829" sldId="2147483945"/>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998939055" sldId="2147483946"/>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436170738" sldId="2147483947"/>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1268258287" sldId="2147483948"/>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4196629148" sldId="2147483949"/>
          </pc:sldLayoutMkLst>
        </pc:sldLayoutChg>
        <pc:sldLayoutChg chg="add del">
          <pc:chgData name="Josephine Steppat" userId="S::josephine.steppat@montelgroup.com::ad9ceb25-8da7-411f-bf87-5981331f6d79" providerId="AD" clId="Web-{780DD5EF-965E-1CE8-437C-2A91B51BCDE1}" dt="2024-10-31T10:27:03.777" v="31"/>
          <pc:sldLayoutMkLst>
            <pc:docMk/>
            <pc:sldMasterMk cId="3213930011" sldId="2147483903"/>
            <pc:sldLayoutMk cId="3171870049" sldId="2147483950"/>
          </pc:sldLayoutMkLst>
        </pc:sldLayoutChg>
      </pc:sldMasterChg>
      <pc:sldMasterChg chg="add del addSldLayout delSldLayout">
        <pc:chgData name="Josephine Steppat" userId="S::josephine.steppat@montelgroup.com::ad9ceb25-8da7-411f-bf87-5981331f6d79" providerId="AD" clId="Web-{780DD5EF-965E-1CE8-437C-2A91B51BCDE1}" dt="2024-10-31T10:27:01.526" v="30"/>
        <pc:sldMasterMkLst>
          <pc:docMk/>
          <pc:sldMasterMk cId="3213930011" sldId="2147483951"/>
        </pc:sldMasterMkLst>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542051276" sldId="2147483952"/>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730897246" sldId="2147483953"/>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338096100" sldId="2147483954"/>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653491878" sldId="2147483955"/>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181035937" sldId="2147483956"/>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4173447711" sldId="2147483957"/>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2570239091" sldId="2147483958"/>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2707567230" sldId="2147483959"/>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713265149" sldId="2147483960"/>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00084512" sldId="2147483961"/>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201490487" sldId="2147483962"/>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104357898" sldId="2147483963"/>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392797976" sldId="2147483964"/>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2101755254" sldId="2147483965"/>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932258072" sldId="2147483966"/>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2581852085" sldId="2147483967"/>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463277265" sldId="2147483968"/>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458161915" sldId="2147483969"/>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483381164" sldId="2147483970"/>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516637451" sldId="2147483971"/>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146581828" sldId="2147483972"/>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881060032" sldId="2147483973"/>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724275353" sldId="2147483974"/>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004739625" sldId="2147483975"/>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310918000" sldId="2147483976"/>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633168882" sldId="2147483977"/>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2429478026" sldId="2147483978"/>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909165776" sldId="2147483979"/>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2374795136" sldId="2147483980"/>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4010036163" sldId="2147483981"/>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115270347" sldId="2147483982"/>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717312591" sldId="2147483983"/>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2627455027" sldId="2147483984"/>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2918495822" sldId="2147483985"/>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250626153" sldId="2147483986"/>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519134550" sldId="2147483987"/>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706187721" sldId="2147483988"/>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216739520" sldId="2147483989"/>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071327105" sldId="2147483990"/>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2480103002" sldId="2147483991"/>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794309967" sldId="2147483992"/>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4045778829" sldId="2147483993"/>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998939055" sldId="2147483994"/>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436170738" sldId="2147483995"/>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1268258287" sldId="2147483996"/>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4196629148" sldId="2147483997"/>
          </pc:sldLayoutMkLst>
        </pc:sldLayoutChg>
        <pc:sldLayoutChg chg="add del">
          <pc:chgData name="Josephine Steppat" userId="S::josephine.steppat@montelgroup.com::ad9ceb25-8da7-411f-bf87-5981331f6d79" providerId="AD" clId="Web-{780DD5EF-965E-1CE8-437C-2A91B51BCDE1}" dt="2024-10-31T10:27:01.526" v="30"/>
          <pc:sldLayoutMkLst>
            <pc:docMk/>
            <pc:sldMasterMk cId="3213930011" sldId="2147483951"/>
            <pc:sldLayoutMk cId="3171870049" sldId="2147483998"/>
          </pc:sldLayoutMkLst>
        </pc:sldLayoutChg>
      </pc:sldMasterChg>
      <pc:sldMasterChg chg="add del addSldLayout delSldLayout">
        <pc:chgData name="Josephine Steppat" userId="S::josephine.steppat@montelgroup.com::ad9ceb25-8da7-411f-bf87-5981331f6d79" providerId="AD" clId="Web-{780DD5EF-965E-1CE8-437C-2A91B51BCDE1}" dt="2024-10-31T10:26:59.620" v="29"/>
        <pc:sldMasterMkLst>
          <pc:docMk/>
          <pc:sldMasterMk cId="3213930011" sldId="2147483999"/>
        </pc:sldMasterMkLst>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542051276" sldId="2147484000"/>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730897246" sldId="2147484001"/>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338096100" sldId="2147484002"/>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653491878" sldId="2147484003"/>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181035937" sldId="2147484004"/>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4173447711" sldId="2147484005"/>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2570239091" sldId="2147484006"/>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2707567230" sldId="2147484007"/>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713265149" sldId="2147484008"/>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00084512" sldId="2147484009"/>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201490487" sldId="2147484010"/>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104357898" sldId="2147484011"/>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392797976" sldId="2147484012"/>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2101755254" sldId="2147484013"/>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932258072" sldId="2147484014"/>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2581852085" sldId="2147484015"/>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463277265" sldId="2147484016"/>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458161915" sldId="2147484017"/>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483381164" sldId="2147484018"/>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516637451" sldId="2147484019"/>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146581828" sldId="2147484020"/>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881060032" sldId="2147484021"/>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724275353" sldId="2147484022"/>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004739625" sldId="2147484023"/>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310918000" sldId="2147484024"/>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633168882" sldId="2147484025"/>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2429478026" sldId="2147484026"/>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909165776" sldId="2147484027"/>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2374795136" sldId="2147484028"/>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4010036163" sldId="2147484029"/>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115270347" sldId="2147484030"/>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717312591" sldId="2147484031"/>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2627455027" sldId="2147484032"/>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2918495822" sldId="2147484033"/>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250626153" sldId="2147484034"/>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519134550" sldId="2147484035"/>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706187721" sldId="2147484036"/>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216739520" sldId="2147484037"/>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071327105" sldId="2147484038"/>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2480103002" sldId="2147484039"/>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794309967" sldId="2147484040"/>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4045778829" sldId="2147484041"/>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998939055" sldId="2147484042"/>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436170738" sldId="2147484043"/>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1268258287" sldId="2147484044"/>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4196629148" sldId="2147484045"/>
          </pc:sldLayoutMkLst>
        </pc:sldLayoutChg>
        <pc:sldLayoutChg chg="add del">
          <pc:chgData name="Josephine Steppat" userId="S::josephine.steppat@montelgroup.com::ad9ceb25-8da7-411f-bf87-5981331f6d79" providerId="AD" clId="Web-{780DD5EF-965E-1CE8-437C-2A91B51BCDE1}" dt="2024-10-31T10:26:59.620" v="29"/>
          <pc:sldLayoutMkLst>
            <pc:docMk/>
            <pc:sldMasterMk cId="3213930011" sldId="2147483999"/>
            <pc:sldLayoutMk cId="3171870049" sldId="2147484046"/>
          </pc:sldLayoutMkLst>
        </pc:sldLayoutChg>
      </pc:sldMasterChg>
      <pc:sldMasterChg chg="add del addSldLayout delSldLayout">
        <pc:chgData name="Josephine Steppat" userId="S::josephine.steppat@montelgroup.com::ad9ceb25-8da7-411f-bf87-5981331f6d79" providerId="AD" clId="Web-{780DD5EF-965E-1CE8-437C-2A91B51BCDE1}" dt="2024-10-31T10:26:57.745" v="28"/>
        <pc:sldMasterMkLst>
          <pc:docMk/>
          <pc:sldMasterMk cId="3213930011" sldId="2147484047"/>
        </pc:sldMasterMkLst>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542051276" sldId="2147484048"/>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730897246" sldId="2147484049"/>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338096100" sldId="2147484050"/>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653491878" sldId="2147484051"/>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181035937" sldId="2147484052"/>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4173447711" sldId="2147484053"/>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2570239091" sldId="2147484054"/>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2707567230" sldId="2147484055"/>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713265149" sldId="2147484056"/>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00084512" sldId="2147484057"/>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201490487" sldId="2147484058"/>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104357898" sldId="2147484059"/>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392797976" sldId="2147484060"/>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2101755254" sldId="2147484061"/>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932258072" sldId="2147484062"/>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2581852085" sldId="2147484063"/>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463277265" sldId="2147484064"/>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458161915" sldId="2147484065"/>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483381164" sldId="2147484066"/>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516637451" sldId="2147484067"/>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146581828" sldId="2147484068"/>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881060032" sldId="2147484069"/>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724275353" sldId="2147484070"/>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004739625" sldId="2147484071"/>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310918000" sldId="2147484072"/>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633168882" sldId="2147484073"/>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2429478026" sldId="2147484074"/>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909165776" sldId="2147484075"/>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2374795136" sldId="2147484076"/>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4010036163" sldId="2147484077"/>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115270347" sldId="2147484078"/>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717312591" sldId="2147484079"/>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2627455027" sldId="2147484080"/>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2918495822" sldId="2147484081"/>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250626153" sldId="2147484082"/>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519134550" sldId="2147484083"/>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706187721" sldId="2147484084"/>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216739520" sldId="2147484085"/>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071327105" sldId="2147484086"/>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2480103002" sldId="2147484087"/>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794309967" sldId="2147484088"/>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4045778829" sldId="2147484089"/>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998939055" sldId="2147484090"/>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436170738" sldId="2147484091"/>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1268258287" sldId="2147484092"/>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4196629148" sldId="2147484093"/>
          </pc:sldLayoutMkLst>
        </pc:sldLayoutChg>
        <pc:sldLayoutChg chg="add del">
          <pc:chgData name="Josephine Steppat" userId="S::josephine.steppat@montelgroup.com::ad9ceb25-8da7-411f-bf87-5981331f6d79" providerId="AD" clId="Web-{780DD5EF-965E-1CE8-437C-2A91B51BCDE1}" dt="2024-10-31T10:26:57.745" v="28"/>
          <pc:sldLayoutMkLst>
            <pc:docMk/>
            <pc:sldMasterMk cId="3213930011" sldId="2147484047"/>
            <pc:sldLayoutMk cId="3171870049" sldId="2147484094"/>
          </pc:sldLayoutMkLst>
        </pc:sldLayoutChg>
      </pc:sldMasterChg>
    </pc:docChg>
  </pc:docChgLst>
  <pc:docChgLst>
    <pc:chgData name="Josephine Steppat" userId="S::josephine.steppat@montelgroup.com::ad9ceb25-8da7-411f-bf87-5981331f6d79" providerId="AD" clId="Web-{6C355449-35E1-6D02-5C7E-2597EDD4D2EA}"/>
    <pc:docChg chg="addSld delSld modSld modSection">
      <pc:chgData name="Josephine Steppat" userId="S::josephine.steppat@montelgroup.com::ad9ceb25-8da7-411f-bf87-5981331f6d79" providerId="AD" clId="Web-{6C355449-35E1-6D02-5C7E-2597EDD4D2EA}" dt="2024-10-29T11:55:35.316" v="123" actId="20577"/>
      <pc:docMkLst>
        <pc:docMk/>
      </pc:docMkLst>
      <pc:sldChg chg="modSp">
        <pc:chgData name="Josephine Steppat" userId="S::josephine.steppat@montelgroup.com::ad9ceb25-8da7-411f-bf87-5981331f6d79" providerId="AD" clId="Web-{6C355449-35E1-6D02-5C7E-2597EDD4D2EA}" dt="2024-10-29T08:33:05.291" v="45" actId="20577"/>
        <pc:sldMkLst>
          <pc:docMk/>
          <pc:sldMk cId="649683202" sldId="259"/>
        </pc:sldMkLst>
        <pc:spChg chg="mod">
          <ac:chgData name="Josephine Steppat" userId="S::josephine.steppat@montelgroup.com::ad9ceb25-8da7-411f-bf87-5981331f6d79" providerId="AD" clId="Web-{6C355449-35E1-6D02-5C7E-2597EDD4D2EA}" dt="2024-10-29T08:33:05.291" v="45" actId="20577"/>
          <ac:spMkLst>
            <pc:docMk/>
            <pc:sldMk cId="649683202" sldId="259"/>
            <ac:spMk id="4" creationId="{2D9ED9DE-2E2A-0765-7CCD-2D0911D52772}"/>
          </ac:spMkLst>
        </pc:spChg>
      </pc:sldChg>
      <pc:sldChg chg="modSp">
        <pc:chgData name="Josephine Steppat" userId="S::josephine.steppat@montelgroup.com::ad9ceb25-8da7-411f-bf87-5981331f6d79" providerId="AD" clId="Web-{6C355449-35E1-6D02-5C7E-2597EDD4D2EA}" dt="2024-10-29T09:02:06.492" v="97" actId="1076"/>
        <pc:sldMkLst>
          <pc:docMk/>
          <pc:sldMk cId="1781821507" sldId="263"/>
        </pc:sldMkLst>
        <pc:spChg chg="mod">
          <ac:chgData name="Josephine Steppat" userId="S::josephine.steppat@montelgroup.com::ad9ceb25-8da7-411f-bf87-5981331f6d79" providerId="AD" clId="Web-{6C355449-35E1-6D02-5C7E-2597EDD4D2EA}" dt="2024-10-29T09:01:30.959" v="89" actId="14100"/>
          <ac:spMkLst>
            <pc:docMk/>
            <pc:sldMk cId="1781821507" sldId="263"/>
            <ac:spMk id="69" creationId="{91DE27CF-DD71-2A70-1AC6-ABF0E14BF2E7}"/>
          </ac:spMkLst>
        </pc:spChg>
        <pc:spChg chg="mod">
          <ac:chgData name="Josephine Steppat" userId="S::josephine.steppat@montelgroup.com::ad9ceb25-8da7-411f-bf87-5981331f6d79" providerId="AD" clId="Web-{6C355449-35E1-6D02-5C7E-2597EDD4D2EA}" dt="2024-10-29T09:01:30.959" v="88" actId="14100"/>
          <ac:spMkLst>
            <pc:docMk/>
            <pc:sldMk cId="1781821507" sldId="263"/>
            <ac:spMk id="70" creationId="{5AEE10F2-8BB8-152D-FDBD-E8BAC87B917D}"/>
          </ac:spMkLst>
        </pc:spChg>
        <pc:spChg chg="mod">
          <ac:chgData name="Josephine Steppat" userId="S::josephine.steppat@montelgroup.com::ad9ceb25-8da7-411f-bf87-5981331f6d79" providerId="AD" clId="Web-{6C355449-35E1-6D02-5C7E-2597EDD4D2EA}" dt="2024-10-29T09:01:30.959" v="87" actId="14100"/>
          <ac:spMkLst>
            <pc:docMk/>
            <pc:sldMk cId="1781821507" sldId="263"/>
            <ac:spMk id="71" creationId="{5C524626-F3EC-080F-66F3-429B9C98EC20}"/>
          </ac:spMkLst>
        </pc:spChg>
        <pc:spChg chg="mod">
          <ac:chgData name="Josephine Steppat" userId="S::josephine.steppat@montelgroup.com::ad9ceb25-8da7-411f-bf87-5981331f6d79" providerId="AD" clId="Web-{6C355449-35E1-6D02-5C7E-2597EDD4D2EA}" dt="2024-10-29T09:01:30.959" v="86" actId="14100"/>
          <ac:spMkLst>
            <pc:docMk/>
            <pc:sldMk cId="1781821507" sldId="263"/>
            <ac:spMk id="73" creationId="{B72AF257-DD58-1965-7C8D-FD89765E7C96}"/>
          </ac:spMkLst>
        </pc:spChg>
        <pc:spChg chg="mod">
          <ac:chgData name="Josephine Steppat" userId="S::josephine.steppat@montelgroup.com::ad9ceb25-8da7-411f-bf87-5981331f6d79" providerId="AD" clId="Web-{6C355449-35E1-6D02-5C7E-2597EDD4D2EA}" dt="2024-10-29T09:01:30.959" v="83" actId="14100"/>
          <ac:spMkLst>
            <pc:docMk/>
            <pc:sldMk cId="1781821507" sldId="263"/>
            <ac:spMk id="82" creationId="{51A33FC3-D322-2AFB-660B-50A1F0A978CB}"/>
          </ac:spMkLst>
        </pc:spChg>
        <pc:spChg chg="mod">
          <ac:chgData name="Josephine Steppat" userId="S::josephine.steppat@montelgroup.com::ad9ceb25-8da7-411f-bf87-5981331f6d79" providerId="AD" clId="Web-{6C355449-35E1-6D02-5C7E-2597EDD4D2EA}" dt="2024-10-29T09:01:30.959" v="82" actId="14100"/>
          <ac:spMkLst>
            <pc:docMk/>
            <pc:sldMk cId="1781821507" sldId="263"/>
            <ac:spMk id="87" creationId="{8B57CE74-22FD-0AF0-D6FE-15D21F0EDB4E}"/>
          </ac:spMkLst>
        </pc:spChg>
        <pc:picChg chg="mod">
          <ac:chgData name="Josephine Steppat" userId="S::josephine.steppat@montelgroup.com::ad9ceb25-8da7-411f-bf87-5981331f6d79" providerId="AD" clId="Web-{6C355449-35E1-6D02-5C7E-2597EDD4D2EA}" dt="2024-10-29T09:02:06.492" v="97" actId="1076"/>
          <ac:picMkLst>
            <pc:docMk/>
            <pc:sldMk cId="1781821507" sldId="263"/>
            <ac:picMk id="65" creationId="{1F84F17E-CA76-B2D1-10FE-C3D2DE32E89A}"/>
          </ac:picMkLst>
        </pc:picChg>
        <pc:picChg chg="mod">
          <ac:chgData name="Josephine Steppat" userId="S::josephine.steppat@montelgroup.com::ad9ceb25-8da7-411f-bf87-5981331f6d79" providerId="AD" clId="Web-{6C355449-35E1-6D02-5C7E-2597EDD4D2EA}" dt="2024-10-29T09:01:57.507" v="92" actId="1076"/>
          <ac:picMkLst>
            <pc:docMk/>
            <pc:sldMk cId="1781821507" sldId="263"/>
            <ac:picMk id="66" creationId="{F7C374AD-D2A5-3D80-F362-438359B9D94A}"/>
          </ac:picMkLst>
        </pc:picChg>
        <pc:picChg chg="mod">
          <ac:chgData name="Josephine Steppat" userId="S::josephine.steppat@montelgroup.com::ad9ceb25-8da7-411f-bf87-5981331f6d79" providerId="AD" clId="Web-{6C355449-35E1-6D02-5C7E-2597EDD4D2EA}" dt="2024-10-29T09:01:30.959" v="91" actId="14100"/>
          <ac:picMkLst>
            <pc:docMk/>
            <pc:sldMk cId="1781821507" sldId="263"/>
            <ac:picMk id="67" creationId="{F5FAA23B-3A68-366D-CC75-23E718FD43CA}"/>
          </ac:picMkLst>
        </pc:picChg>
        <pc:picChg chg="mod">
          <ac:chgData name="Josephine Steppat" userId="S::josephine.steppat@montelgroup.com::ad9ceb25-8da7-411f-bf87-5981331f6d79" providerId="AD" clId="Web-{6C355449-35E1-6D02-5C7E-2597EDD4D2EA}" dt="2024-10-29T09:01:57.538" v="93" actId="1076"/>
          <ac:picMkLst>
            <pc:docMk/>
            <pc:sldMk cId="1781821507" sldId="263"/>
            <ac:picMk id="75" creationId="{9CDBF757-E37C-CF38-2C55-59C67CE9DDD3}"/>
          </ac:picMkLst>
        </pc:picChg>
        <pc:picChg chg="mod">
          <ac:chgData name="Josephine Steppat" userId="S::josephine.steppat@montelgroup.com::ad9ceb25-8da7-411f-bf87-5981331f6d79" providerId="AD" clId="Web-{6C355449-35E1-6D02-5C7E-2597EDD4D2EA}" dt="2024-10-29T09:01:57.569" v="94" actId="1076"/>
          <ac:picMkLst>
            <pc:docMk/>
            <pc:sldMk cId="1781821507" sldId="263"/>
            <ac:picMk id="76" creationId="{2AAA084E-7BF9-5E26-D05C-5ADE52CA5F1C}"/>
          </ac:picMkLst>
        </pc:picChg>
        <pc:picChg chg="mod">
          <ac:chgData name="Josephine Steppat" userId="S::josephine.steppat@montelgroup.com::ad9ceb25-8da7-411f-bf87-5981331f6d79" providerId="AD" clId="Web-{6C355449-35E1-6D02-5C7E-2597EDD4D2EA}" dt="2024-10-29T09:01:57.601" v="95" actId="1076"/>
          <ac:picMkLst>
            <pc:docMk/>
            <pc:sldMk cId="1781821507" sldId="263"/>
            <ac:picMk id="77" creationId="{466B7582-90CC-9069-38ED-41EF49A6CB89}"/>
          </ac:picMkLst>
        </pc:picChg>
        <pc:picChg chg="mod">
          <ac:chgData name="Josephine Steppat" userId="S::josephine.steppat@montelgroup.com::ad9ceb25-8da7-411f-bf87-5981331f6d79" providerId="AD" clId="Web-{6C355449-35E1-6D02-5C7E-2597EDD4D2EA}" dt="2024-10-29T09:01:30.959" v="85" actId="14100"/>
          <ac:picMkLst>
            <pc:docMk/>
            <pc:sldMk cId="1781821507" sldId="263"/>
            <ac:picMk id="78" creationId="{6E81E22C-FAD0-B12F-BDA0-306534FDE2E0}"/>
          </ac:picMkLst>
        </pc:picChg>
        <pc:picChg chg="mod">
          <ac:chgData name="Josephine Steppat" userId="S::josephine.steppat@montelgroup.com::ad9ceb25-8da7-411f-bf87-5981331f6d79" providerId="AD" clId="Web-{6C355449-35E1-6D02-5C7E-2597EDD4D2EA}" dt="2024-10-29T09:01:57.632" v="96" actId="1076"/>
          <ac:picMkLst>
            <pc:docMk/>
            <pc:sldMk cId="1781821507" sldId="263"/>
            <ac:picMk id="80" creationId="{7432FA85-4C38-4405-B6A9-7F43CA3EA359}"/>
          </ac:picMkLst>
        </pc:picChg>
        <pc:cxnChg chg="mod">
          <ac:chgData name="Josephine Steppat" userId="S::josephine.steppat@montelgroup.com::ad9ceb25-8da7-411f-bf87-5981331f6d79" providerId="AD" clId="Web-{6C355449-35E1-6D02-5C7E-2597EDD4D2EA}" dt="2024-10-29T09:01:30.959" v="90" actId="14100"/>
          <ac:cxnSpMkLst>
            <pc:docMk/>
            <pc:sldMk cId="1781821507" sldId="263"/>
            <ac:cxnSpMk id="68" creationId="{370E4BA8-3BBD-7FB0-C129-2CD922783A09}"/>
          </ac:cxnSpMkLst>
        </pc:cxnChg>
        <pc:cxnChg chg="mod">
          <ac:chgData name="Josephine Steppat" userId="S::josephine.steppat@montelgroup.com::ad9ceb25-8da7-411f-bf87-5981331f6d79" providerId="AD" clId="Web-{6C355449-35E1-6D02-5C7E-2597EDD4D2EA}" dt="2024-10-29T09:01:30.959" v="84" actId="14100"/>
          <ac:cxnSpMkLst>
            <pc:docMk/>
            <pc:sldMk cId="1781821507" sldId="263"/>
            <ac:cxnSpMk id="81" creationId="{275E98AF-0DCD-A263-1089-957AF1E6850D}"/>
          </ac:cxnSpMkLst>
        </pc:cxnChg>
      </pc:sldChg>
      <pc:sldChg chg="addSp delSp modSp">
        <pc:chgData name="Josephine Steppat" userId="S::josephine.steppat@montelgroup.com::ad9ceb25-8da7-411f-bf87-5981331f6d79" providerId="AD" clId="Web-{6C355449-35E1-6D02-5C7E-2597EDD4D2EA}" dt="2024-10-29T08:57:22.169" v="59" actId="1076"/>
        <pc:sldMkLst>
          <pc:docMk/>
          <pc:sldMk cId="928341323" sldId="264"/>
        </pc:sldMkLst>
        <pc:picChg chg="add mod ord">
          <ac:chgData name="Josephine Steppat" userId="S::josephine.steppat@montelgroup.com::ad9ceb25-8da7-411f-bf87-5981331f6d79" providerId="AD" clId="Web-{6C355449-35E1-6D02-5C7E-2597EDD4D2EA}" dt="2024-10-29T08:57:22.169" v="59" actId="1076"/>
          <ac:picMkLst>
            <pc:docMk/>
            <pc:sldMk cId="928341323" sldId="264"/>
            <ac:picMk id="7" creationId="{FD7BE7FA-1525-276F-280E-38BD90D4A2CF}"/>
          </ac:picMkLst>
        </pc:picChg>
      </pc:sldChg>
      <pc:sldChg chg="modSp">
        <pc:chgData name="Josephine Steppat" userId="S::josephine.steppat@montelgroup.com::ad9ceb25-8da7-411f-bf87-5981331f6d79" providerId="AD" clId="Web-{6C355449-35E1-6D02-5C7E-2597EDD4D2EA}" dt="2024-10-29T11:55:35.316" v="123" actId="20577"/>
        <pc:sldMkLst>
          <pc:docMk/>
          <pc:sldMk cId="3719490757" sldId="268"/>
        </pc:sldMkLst>
        <pc:spChg chg="mod">
          <ac:chgData name="Josephine Steppat" userId="S::josephine.steppat@montelgroup.com::ad9ceb25-8da7-411f-bf87-5981331f6d79" providerId="AD" clId="Web-{6C355449-35E1-6D02-5C7E-2597EDD4D2EA}" dt="2024-10-29T11:55:35.316" v="123" actId="20577"/>
          <ac:spMkLst>
            <pc:docMk/>
            <pc:sldMk cId="3719490757" sldId="268"/>
            <ac:spMk id="5" creationId="{1BA6003D-3613-AD71-0E7F-50AF754C1B23}"/>
          </ac:spMkLst>
        </pc:spChg>
      </pc:sldChg>
      <pc:sldChg chg="modSp">
        <pc:chgData name="Josephine Steppat" userId="S::josephine.steppat@montelgroup.com::ad9ceb25-8da7-411f-bf87-5981331f6d79" providerId="AD" clId="Web-{6C355449-35E1-6D02-5C7E-2597EDD4D2EA}" dt="2024-10-29T11:55:23.237" v="112" actId="20577"/>
        <pc:sldMkLst>
          <pc:docMk/>
          <pc:sldMk cId="2431206869" sldId="269"/>
        </pc:sldMkLst>
        <pc:spChg chg="mod">
          <ac:chgData name="Josephine Steppat" userId="S::josephine.steppat@montelgroup.com::ad9ceb25-8da7-411f-bf87-5981331f6d79" providerId="AD" clId="Web-{6C355449-35E1-6D02-5C7E-2597EDD4D2EA}" dt="2024-10-29T11:55:23.237" v="112" actId="20577"/>
          <ac:spMkLst>
            <pc:docMk/>
            <pc:sldMk cId="2431206869" sldId="269"/>
            <ac:spMk id="5" creationId="{6AF8CB65-3CEF-E28E-13F7-1B11DB611F68}"/>
          </ac:spMkLst>
        </pc:spChg>
      </pc:sldChg>
      <pc:sldChg chg="add del replId">
        <pc:chgData name="Josephine Steppat" userId="S::josephine.steppat@montelgroup.com::ad9ceb25-8da7-411f-bf87-5981331f6d79" providerId="AD" clId="Web-{6C355449-35E1-6D02-5C7E-2597EDD4D2EA}" dt="2024-10-29T08:34:18.356" v="47"/>
        <pc:sldMkLst>
          <pc:docMk/>
          <pc:sldMk cId="1685266772" sldId="274"/>
        </pc:sldMkLst>
      </pc:sldChg>
    </pc:docChg>
  </pc:docChgLst>
  <pc:docChgLst>
    <pc:chgData name="Josephine Steppat" userId="S::josephine.steppat@montelgroup.com::ad9ceb25-8da7-411f-bf87-5981331f6d79" providerId="AD" clId="Web-{B910507B-D005-41CF-62D5-9B7890E34DBC}"/>
    <pc:docChg chg="addSld modSld sldOrd modSection">
      <pc:chgData name="Josephine Steppat" userId="S::josephine.steppat@montelgroup.com::ad9ceb25-8da7-411f-bf87-5981331f6d79" providerId="AD" clId="Web-{B910507B-D005-41CF-62D5-9B7890E34DBC}" dt="2024-10-07T11:44:41.348" v="955" actId="20577"/>
      <pc:docMkLst>
        <pc:docMk/>
      </pc:docMkLst>
      <pc:sldChg chg="modSp">
        <pc:chgData name="Josephine Steppat" userId="S::josephine.steppat@montelgroup.com::ad9ceb25-8da7-411f-bf87-5981331f6d79" providerId="AD" clId="Web-{B910507B-D005-41CF-62D5-9B7890E34DBC}" dt="2024-10-07T09:21:46.494" v="36" actId="20577"/>
        <pc:sldMkLst>
          <pc:docMk/>
          <pc:sldMk cId="713374495" sldId="260"/>
        </pc:sldMkLst>
        <pc:spChg chg="mod">
          <ac:chgData name="Josephine Steppat" userId="S::josephine.steppat@montelgroup.com::ad9ceb25-8da7-411f-bf87-5981331f6d79" providerId="AD" clId="Web-{B910507B-D005-41CF-62D5-9B7890E34DBC}" dt="2024-10-07T09:21:46.494" v="36" actId="20577"/>
          <ac:spMkLst>
            <pc:docMk/>
            <pc:sldMk cId="713374495" sldId="260"/>
            <ac:spMk id="29" creationId="{58307752-5D2D-8CCF-2B66-E732E1213F2F}"/>
          </ac:spMkLst>
        </pc:spChg>
      </pc:sldChg>
      <pc:sldChg chg="delSp modSp add ord">
        <pc:chgData name="Josephine Steppat" userId="S::josephine.steppat@montelgroup.com::ad9ceb25-8da7-411f-bf87-5981331f6d79" providerId="AD" clId="Web-{B910507B-D005-41CF-62D5-9B7890E34DBC}" dt="2024-10-07T10:49:04.834" v="570"/>
        <pc:sldMkLst>
          <pc:docMk/>
          <pc:sldMk cId="1781821507" sldId="263"/>
        </pc:sldMkLst>
        <pc:spChg chg="mod">
          <ac:chgData name="Josephine Steppat" userId="S::josephine.steppat@montelgroup.com::ad9ceb25-8da7-411f-bf87-5981331f6d79" providerId="AD" clId="Web-{B910507B-D005-41CF-62D5-9B7890E34DBC}" dt="2024-10-07T09:21:37.259" v="34" actId="20577"/>
          <ac:spMkLst>
            <pc:docMk/>
            <pc:sldMk cId="1781821507" sldId="263"/>
            <ac:spMk id="3" creationId="{24F55A5E-62E1-90AF-EAF2-17B6BA68CE72}"/>
          </ac:spMkLst>
        </pc:spChg>
      </pc:sldChg>
      <pc:sldChg chg="addSp delSp modSp new ord">
        <pc:chgData name="Josephine Steppat" userId="S::josephine.steppat@montelgroup.com::ad9ceb25-8da7-411f-bf87-5981331f6d79" providerId="AD" clId="Web-{B910507B-D005-41CF-62D5-9B7890E34DBC}" dt="2024-10-07T09:25:14.298" v="86"/>
        <pc:sldMkLst>
          <pc:docMk/>
          <pc:sldMk cId="928341323" sldId="264"/>
        </pc:sldMkLst>
        <pc:spChg chg="mod">
          <ac:chgData name="Josephine Steppat" userId="S::josephine.steppat@montelgroup.com::ad9ceb25-8da7-411f-bf87-5981331f6d79" providerId="AD" clId="Web-{B910507B-D005-41CF-62D5-9B7890E34DBC}" dt="2024-10-07T09:21:12.258" v="28" actId="20577"/>
          <ac:spMkLst>
            <pc:docMk/>
            <pc:sldMk cId="928341323" sldId="264"/>
            <ac:spMk id="2" creationId="{22120E8B-361B-704A-17F3-DFCD0132AB31}"/>
          </ac:spMkLst>
        </pc:spChg>
        <pc:spChg chg="mod">
          <ac:chgData name="Josephine Steppat" userId="S::josephine.steppat@montelgroup.com::ad9ceb25-8da7-411f-bf87-5981331f6d79" providerId="AD" clId="Web-{B910507B-D005-41CF-62D5-9B7890E34DBC}" dt="2024-10-07T09:20:13.897" v="14" actId="14100"/>
          <ac:spMkLst>
            <pc:docMk/>
            <pc:sldMk cId="928341323" sldId="264"/>
            <ac:spMk id="3" creationId="{A3773516-2890-0E35-6024-DB0C6B88C8D5}"/>
          </ac:spMkLst>
        </pc:spChg>
        <pc:spChg chg="mod">
          <ac:chgData name="Josephine Steppat" userId="S::josephine.steppat@montelgroup.com::ad9ceb25-8da7-411f-bf87-5981331f6d79" providerId="AD" clId="Web-{B910507B-D005-41CF-62D5-9B7890E34DBC}" dt="2024-10-07T09:24:56.610" v="82" actId="20577"/>
          <ac:spMkLst>
            <pc:docMk/>
            <pc:sldMk cId="928341323" sldId="264"/>
            <ac:spMk id="5" creationId="{1BA0405C-34CD-B584-8C48-776C1A3F5566}"/>
          </ac:spMkLst>
        </pc:spChg>
      </pc:sldChg>
      <pc:sldChg chg="addSp delSp modSp new">
        <pc:chgData name="Josephine Steppat" userId="S::josephine.steppat@montelgroup.com::ad9ceb25-8da7-411f-bf87-5981331f6d79" providerId="AD" clId="Web-{B910507B-D005-41CF-62D5-9B7890E34DBC}" dt="2024-10-07T09:39:40.798" v="184" actId="20577"/>
        <pc:sldMkLst>
          <pc:docMk/>
          <pc:sldMk cId="4047322839" sldId="265"/>
        </pc:sldMkLst>
        <pc:spChg chg="mod">
          <ac:chgData name="Josephine Steppat" userId="S::josephine.steppat@montelgroup.com::ad9ceb25-8da7-411f-bf87-5981331f6d79" providerId="AD" clId="Web-{B910507B-D005-41CF-62D5-9B7890E34DBC}" dt="2024-10-07T09:39:16.031" v="177" actId="20577"/>
          <ac:spMkLst>
            <pc:docMk/>
            <pc:sldMk cId="4047322839" sldId="265"/>
            <ac:spMk id="2" creationId="{ED6DC798-CE34-DFD8-F3B1-5DE6D9333440}"/>
          </ac:spMkLst>
        </pc:spChg>
        <pc:spChg chg="mod">
          <ac:chgData name="Josephine Steppat" userId="S::josephine.steppat@montelgroup.com::ad9ceb25-8da7-411f-bf87-5981331f6d79" providerId="AD" clId="Web-{B910507B-D005-41CF-62D5-9B7890E34DBC}" dt="2024-10-07T09:28:47.478" v="103" actId="20577"/>
          <ac:spMkLst>
            <pc:docMk/>
            <pc:sldMk cId="4047322839" sldId="265"/>
            <ac:spMk id="3" creationId="{2E11D0AE-E993-88A6-4655-52AE09EBBAEE}"/>
          </ac:spMkLst>
        </pc:spChg>
        <pc:spChg chg="mod">
          <ac:chgData name="Josephine Steppat" userId="S::josephine.steppat@montelgroup.com::ad9ceb25-8da7-411f-bf87-5981331f6d79" providerId="AD" clId="Web-{B910507B-D005-41CF-62D5-9B7890E34DBC}" dt="2024-10-07T09:39:40.798" v="184" actId="20577"/>
          <ac:spMkLst>
            <pc:docMk/>
            <pc:sldMk cId="4047322839" sldId="265"/>
            <ac:spMk id="5" creationId="{63A41546-0B8C-49B6-E533-DAF5438BF825}"/>
          </ac:spMkLst>
        </pc:spChg>
        <pc:picChg chg="add mod modCrop">
          <ac:chgData name="Josephine Steppat" userId="S::josephine.steppat@montelgroup.com::ad9ceb25-8da7-411f-bf87-5981331f6d79" providerId="AD" clId="Web-{B910507B-D005-41CF-62D5-9B7890E34DBC}" dt="2024-10-07T09:37:26.168" v="160" actId="1076"/>
          <ac:picMkLst>
            <pc:docMk/>
            <pc:sldMk cId="4047322839" sldId="265"/>
            <ac:picMk id="12" creationId="{1830CE78-D417-F9A6-F425-79436362C53E}"/>
          </ac:picMkLst>
        </pc:picChg>
        <pc:picChg chg="add mod">
          <ac:chgData name="Josephine Steppat" userId="S::josephine.steppat@montelgroup.com::ad9ceb25-8da7-411f-bf87-5981331f6d79" providerId="AD" clId="Web-{B910507B-D005-41CF-62D5-9B7890E34DBC}" dt="2024-10-07T09:36:35.650" v="157" actId="1076"/>
          <ac:picMkLst>
            <pc:docMk/>
            <pc:sldMk cId="4047322839" sldId="265"/>
            <ac:picMk id="13" creationId="{51A624DE-F48F-B851-A4BB-1C9F9C1E10A7}"/>
          </ac:picMkLst>
        </pc:picChg>
        <pc:picChg chg="add mod">
          <ac:chgData name="Josephine Steppat" userId="S::josephine.steppat@montelgroup.com::ad9ceb25-8da7-411f-bf87-5981331f6d79" providerId="AD" clId="Web-{B910507B-D005-41CF-62D5-9B7890E34DBC}" dt="2024-10-07T09:37:29.121" v="161" actId="1076"/>
          <ac:picMkLst>
            <pc:docMk/>
            <pc:sldMk cId="4047322839" sldId="265"/>
            <ac:picMk id="14" creationId="{D81EC54C-D368-8A39-BEE4-3BD31704458C}"/>
          </ac:picMkLst>
        </pc:picChg>
        <pc:picChg chg="add mod">
          <ac:chgData name="Josephine Steppat" userId="S::josephine.steppat@montelgroup.com::ad9ceb25-8da7-411f-bf87-5981331f6d79" providerId="AD" clId="Web-{B910507B-D005-41CF-62D5-9B7890E34DBC}" dt="2024-10-07T09:37:23.637" v="159" actId="1076"/>
          <ac:picMkLst>
            <pc:docMk/>
            <pc:sldMk cId="4047322839" sldId="265"/>
            <ac:picMk id="15" creationId="{FAFF8D99-B886-B20A-D7CF-ADC20BFE7552}"/>
          </ac:picMkLst>
        </pc:picChg>
        <pc:picChg chg="add mod">
          <ac:chgData name="Josephine Steppat" userId="S::josephine.steppat@montelgroup.com::ad9ceb25-8da7-411f-bf87-5981331f6d79" providerId="AD" clId="Web-{B910507B-D005-41CF-62D5-9B7890E34DBC}" dt="2024-10-07T09:39:22.703" v="179" actId="1076"/>
          <ac:picMkLst>
            <pc:docMk/>
            <pc:sldMk cId="4047322839" sldId="265"/>
            <ac:picMk id="16" creationId="{4012DC11-B877-CE0B-585C-910375F2277B}"/>
          </ac:picMkLst>
        </pc:picChg>
      </pc:sldChg>
      <pc:sldChg chg="delSp modSp new">
        <pc:chgData name="Josephine Steppat" userId="S::josephine.steppat@montelgroup.com::ad9ceb25-8da7-411f-bf87-5981331f6d79" providerId="AD" clId="Web-{B910507B-D005-41CF-62D5-9B7890E34DBC}" dt="2024-10-07T10:50:21.819" v="576" actId="20577"/>
        <pc:sldMkLst>
          <pc:docMk/>
          <pc:sldMk cId="2063378870" sldId="266"/>
        </pc:sldMkLst>
        <pc:spChg chg="mod">
          <ac:chgData name="Josephine Steppat" userId="S::josephine.steppat@montelgroup.com::ad9ceb25-8da7-411f-bf87-5981331f6d79" providerId="AD" clId="Web-{B910507B-D005-41CF-62D5-9B7890E34DBC}" dt="2024-10-07T10:50:21.819" v="576" actId="20577"/>
          <ac:spMkLst>
            <pc:docMk/>
            <pc:sldMk cId="2063378870" sldId="266"/>
            <ac:spMk id="2" creationId="{EAB94928-8250-D63B-F727-7BE7FE3F72B9}"/>
          </ac:spMkLst>
        </pc:spChg>
        <pc:spChg chg="mod">
          <ac:chgData name="Josephine Steppat" userId="S::josephine.steppat@montelgroup.com::ad9ceb25-8da7-411f-bf87-5981331f6d79" providerId="AD" clId="Web-{B910507B-D005-41CF-62D5-9B7890E34DBC}" dt="2024-10-07T10:22:05.183" v="442" actId="20577"/>
          <ac:spMkLst>
            <pc:docMk/>
            <pc:sldMk cId="2063378870" sldId="266"/>
            <ac:spMk id="3" creationId="{223353A4-38ED-3437-ECCD-B2DAA0B9F5F9}"/>
          </ac:spMkLst>
        </pc:spChg>
        <pc:spChg chg="mod">
          <ac:chgData name="Josephine Steppat" userId="S::josephine.steppat@montelgroup.com::ad9ceb25-8da7-411f-bf87-5981331f6d79" providerId="AD" clId="Web-{B910507B-D005-41CF-62D5-9B7890E34DBC}" dt="2024-10-07T10:21:22.620" v="423" actId="20577"/>
          <ac:spMkLst>
            <pc:docMk/>
            <pc:sldMk cId="2063378870" sldId="266"/>
            <ac:spMk id="5" creationId="{6AF8CB65-3CEF-E28E-13F7-1B11DB611F68}"/>
          </ac:spMkLst>
        </pc:spChg>
      </pc:sldChg>
      <pc:sldChg chg="addSp delSp modSp new mod ord modClrScheme chgLayout">
        <pc:chgData name="Josephine Steppat" userId="S::josephine.steppat@montelgroup.com::ad9ceb25-8da7-411f-bf87-5981331f6d79" providerId="AD" clId="Web-{B910507B-D005-41CF-62D5-9B7890E34DBC}" dt="2024-10-07T10:50:37.225" v="584" actId="20577"/>
        <pc:sldMkLst>
          <pc:docMk/>
          <pc:sldMk cId="1071919807" sldId="267"/>
        </pc:sldMkLst>
        <pc:spChg chg="mod ord">
          <ac:chgData name="Josephine Steppat" userId="S::josephine.steppat@montelgroup.com::ad9ceb25-8da7-411f-bf87-5981331f6d79" providerId="AD" clId="Web-{B910507B-D005-41CF-62D5-9B7890E34DBC}" dt="2024-10-07T10:50:37.225" v="584" actId="20577"/>
          <ac:spMkLst>
            <pc:docMk/>
            <pc:sldMk cId="1071919807" sldId="267"/>
            <ac:spMk id="2" creationId="{F698404D-9260-2C36-E4AD-EFD78FB2E926}"/>
          </ac:spMkLst>
        </pc:spChg>
        <pc:spChg chg="mod ord">
          <ac:chgData name="Josephine Steppat" userId="S::josephine.steppat@montelgroup.com::ad9ceb25-8da7-411f-bf87-5981331f6d79" providerId="AD" clId="Web-{B910507B-D005-41CF-62D5-9B7890E34DBC}" dt="2024-10-07T10:22:57.247" v="462" actId="20577"/>
          <ac:spMkLst>
            <pc:docMk/>
            <pc:sldMk cId="1071919807" sldId="267"/>
            <ac:spMk id="3" creationId="{A92FF065-3C02-4611-B6DF-0BCC1F7A8E16}"/>
          </ac:spMkLst>
        </pc:spChg>
        <pc:spChg chg="mod ord">
          <ac:chgData name="Josephine Steppat" userId="S::josephine.steppat@montelgroup.com::ad9ceb25-8da7-411f-bf87-5981331f6d79" providerId="AD" clId="Web-{B910507B-D005-41CF-62D5-9B7890E34DBC}" dt="2024-10-07T10:48:16.317" v="567" actId="20577"/>
          <ac:spMkLst>
            <pc:docMk/>
            <pc:sldMk cId="1071919807" sldId="267"/>
            <ac:spMk id="5" creationId="{1BA6003D-3613-AD71-0E7F-50AF754C1B23}"/>
          </ac:spMkLst>
        </pc:spChg>
      </pc:sldChg>
      <pc:sldChg chg="modSp add replId">
        <pc:chgData name="Josephine Steppat" userId="S::josephine.steppat@montelgroup.com::ad9ceb25-8da7-411f-bf87-5981331f6d79" providerId="AD" clId="Web-{B910507B-D005-41CF-62D5-9B7890E34DBC}" dt="2024-10-07T10:50:32.163" v="581" actId="20577"/>
        <pc:sldMkLst>
          <pc:docMk/>
          <pc:sldMk cId="3719490757" sldId="268"/>
        </pc:sldMkLst>
        <pc:spChg chg="mod">
          <ac:chgData name="Josephine Steppat" userId="S::josephine.steppat@montelgroup.com::ad9ceb25-8da7-411f-bf87-5981331f6d79" providerId="AD" clId="Web-{B910507B-D005-41CF-62D5-9B7890E34DBC}" dt="2024-10-07T10:50:32.163" v="581" actId="20577"/>
          <ac:spMkLst>
            <pc:docMk/>
            <pc:sldMk cId="3719490757" sldId="268"/>
            <ac:spMk id="2" creationId="{F698404D-9260-2C36-E4AD-EFD78FB2E926}"/>
          </ac:spMkLst>
        </pc:spChg>
        <pc:spChg chg="mod">
          <ac:chgData name="Josephine Steppat" userId="S::josephine.steppat@montelgroup.com::ad9ceb25-8da7-411f-bf87-5981331f6d79" providerId="AD" clId="Web-{B910507B-D005-41CF-62D5-9B7890E34DBC}" dt="2024-10-07T10:48:23.661" v="569" actId="20577"/>
          <ac:spMkLst>
            <pc:docMk/>
            <pc:sldMk cId="3719490757" sldId="268"/>
            <ac:spMk id="5" creationId="{1BA6003D-3613-AD71-0E7F-50AF754C1B23}"/>
          </ac:spMkLst>
        </pc:spChg>
      </pc:sldChg>
      <pc:sldChg chg="modSp add replId">
        <pc:chgData name="Josephine Steppat" userId="S::josephine.steppat@montelgroup.com::ad9ceb25-8da7-411f-bf87-5981331f6d79" providerId="AD" clId="Web-{B910507B-D005-41CF-62D5-9B7890E34DBC}" dt="2024-10-07T10:50:24.522" v="578" actId="20577"/>
        <pc:sldMkLst>
          <pc:docMk/>
          <pc:sldMk cId="2431206869" sldId="269"/>
        </pc:sldMkLst>
        <pc:spChg chg="mod">
          <ac:chgData name="Josephine Steppat" userId="S::josephine.steppat@montelgroup.com::ad9ceb25-8da7-411f-bf87-5981331f6d79" providerId="AD" clId="Web-{B910507B-D005-41CF-62D5-9B7890E34DBC}" dt="2024-10-07T10:50:24.522" v="578" actId="20577"/>
          <ac:spMkLst>
            <pc:docMk/>
            <pc:sldMk cId="2431206869" sldId="269"/>
            <ac:spMk id="2" creationId="{EAB94928-8250-D63B-F727-7BE7FE3F72B9}"/>
          </ac:spMkLst>
        </pc:spChg>
        <pc:spChg chg="mod">
          <ac:chgData name="Josephine Steppat" userId="S::josephine.steppat@montelgroup.com::ad9ceb25-8da7-411f-bf87-5981331f6d79" providerId="AD" clId="Web-{B910507B-D005-41CF-62D5-9B7890E34DBC}" dt="2024-10-07T10:21:50.074" v="439" actId="20577"/>
          <ac:spMkLst>
            <pc:docMk/>
            <pc:sldMk cId="2431206869" sldId="269"/>
            <ac:spMk id="3" creationId="{223353A4-38ED-3437-ECCD-B2DAA0B9F5F9}"/>
          </ac:spMkLst>
        </pc:spChg>
        <pc:spChg chg="mod">
          <ac:chgData name="Josephine Steppat" userId="S::josephine.steppat@montelgroup.com::ad9ceb25-8da7-411f-bf87-5981331f6d79" providerId="AD" clId="Web-{B910507B-D005-41CF-62D5-9B7890E34DBC}" dt="2024-10-07T10:26:20.124" v="522" actId="20577"/>
          <ac:spMkLst>
            <pc:docMk/>
            <pc:sldMk cId="2431206869" sldId="269"/>
            <ac:spMk id="5" creationId="{6AF8CB65-3CEF-E28E-13F7-1B11DB611F68}"/>
          </ac:spMkLst>
        </pc:spChg>
      </pc:sldChg>
      <pc:sldChg chg="delSp modSp new">
        <pc:chgData name="Josephine Steppat" userId="S::josephine.steppat@montelgroup.com::ad9ceb25-8da7-411f-bf87-5981331f6d79" providerId="AD" clId="Web-{B910507B-D005-41CF-62D5-9B7890E34DBC}" dt="2024-10-07T11:38:30.923" v="836" actId="20577"/>
        <pc:sldMkLst>
          <pc:docMk/>
          <pc:sldMk cId="3285040052" sldId="270"/>
        </pc:sldMkLst>
        <pc:spChg chg="mod">
          <ac:chgData name="Josephine Steppat" userId="S::josephine.steppat@montelgroup.com::ad9ceb25-8da7-411f-bf87-5981331f6d79" providerId="AD" clId="Web-{B910507B-D005-41CF-62D5-9B7890E34DBC}" dt="2024-10-07T10:51:10.335" v="588" actId="20577"/>
          <ac:spMkLst>
            <pc:docMk/>
            <pc:sldMk cId="3285040052" sldId="270"/>
            <ac:spMk id="2" creationId="{26683673-8655-0A23-C0A9-FEFD91E5ECA4}"/>
          </ac:spMkLst>
        </pc:spChg>
        <pc:spChg chg="mod">
          <ac:chgData name="Josephine Steppat" userId="S::josephine.steppat@montelgroup.com::ad9ceb25-8da7-411f-bf87-5981331f6d79" providerId="AD" clId="Web-{B910507B-D005-41CF-62D5-9B7890E34DBC}" dt="2024-10-07T10:51:47.304" v="595" actId="14100"/>
          <ac:spMkLst>
            <pc:docMk/>
            <pc:sldMk cId="3285040052" sldId="270"/>
            <ac:spMk id="3" creationId="{A50C322C-7ADF-F49D-4253-2D2B5F5878A1}"/>
          </ac:spMkLst>
        </pc:spChg>
        <pc:spChg chg="mod">
          <ac:chgData name="Josephine Steppat" userId="S::josephine.steppat@montelgroup.com::ad9ceb25-8da7-411f-bf87-5981331f6d79" providerId="AD" clId="Web-{B910507B-D005-41CF-62D5-9B7890E34DBC}" dt="2024-10-07T11:38:30.923" v="836" actId="20577"/>
          <ac:spMkLst>
            <pc:docMk/>
            <pc:sldMk cId="3285040052" sldId="270"/>
            <ac:spMk id="5" creationId="{03E60AF8-C4A6-4E64-D685-0D19B5A330A4}"/>
          </ac:spMkLst>
        </pc:spChg>
      </pc:sldChg>
      <pc:sldChg chg="modSp add replId">
        <pc:chgData name="Josephine Steppat" userId="S::josephine.steppat@montelgroup.com::ad9ceb25-8da7-411f-bf87-5981331f6d79" providerId="AD" clId="Web-{B910507B-D005-41CF-62D5-9B7890E34DBC}" dt="2024-10-07T11:00:37.358" v="811" actId="20577"/>
        <pc:sldMkLst>
          <pc:docMk/>
          <pc:sldMk cId="1319519477" sldId="271"/>
        </pc:sldMkLst>
        <pc:spChg chg="mod">
          <ac:chgData name="Josephine Steppat" userId="S::josephine.steppat@montelgroup.com::ad9ceb25-8da7-411f-bf87-5981331f6d79" providerId="AD" clId="Web-{B910507B-D005-41CF-62D5-9B7890E34DBC}" dt="2024-10-07T11:00:37.358" v="811" actId="20577"/>
          <ac:spMkLst>
            <pc:docMk/>
            <pc:sldMk cId="1319519477" sldId="271"/>
            <ac:spMk id="3" creationId="{A50C322C-7ADF-F49D-4253-2D2B5F5878A1}"/>
          </ac:spMkLst>
        </pc:spChg>
        <pc:spChg chg="mod">
          <ac:chgData name="Josephine Steppat" userId="S::josephine.steppat@montelgroup.com::ad9ceb25-8da7-411f-bf87-5981331f6d79" providerId="AD" clId="Web-{B910507B-D005-41CF-62D5-9B7890E34DBC}" dt="2024-10-07T10:57:15.605" v="754" actId="20577"/>
          <ac:spMkLst>
            <pc:docMk/>
            <pc:sldMk cId="1319519477" sldId="271"/>
            <ac:spMk id="5" creationId="{03E60AF8-C4A6-4E64-D685-0D19B5A330A4}"/>
          </ac:spMkLst>
        </pc:spChg>
      </pc:sldChg>
      <pc:sldChg chg="modSp add replId">
        <pc:chgData name="Josephine Steppat" userId="S::josephine.steppat@montelgroup.com::ad9ceb25-8da7-411f-bf87-5981331f6d79" providerId="AD" clId="Web-{B910507B-D005-41CF-62D5-9B7890E34DBC}" dt="2024-10-07T11:44:41.348" v="955" actId="20577"/>
        <pc:sldMkLst>
          <pc:docMk/>
          <pc:sldMk cId="526327871" sldId="272"/>
        </pc:sldMkLst>
        <pc:spChg chg="mod">
          <ac:chgData name="Josephine Steppat" userId="S::josephine.steppat@montelgroup.com::ad9ceb25-8da7-411f-bf87-5981331f6d79" providerId="AD" clId="Web-{B910507B-D005-41CF-62D5-9B7890E34DBC}" dt="2024-10-07T10:52:19.336" v="604" actId="20577"/>
          <ac:spMkLst>
            <pc:docMk/>
            <pc:sldMk cId="526327871" sldId="272"/>
            <ac:spMk id="3" creationId="{A50C322C-7ADF-F49D-4253-2D2B5F5878A1}"/>
          </ac:spMkLst>
        </pc:spChg>
        <pc:spChg chg="mod">
          <ac:chgData name="Josephine Steppat" userId="S::josephine.steppat@montelgroup.com::ad9ceb25-8da7-411f-bf87-5981331f6d79" providerId="AD" clId="Web-{B910507B-D005-41CF-62D5-9B7890E34DBC}" dt="2024-10-07T11:44:41.348" v="955" actId="20577"/>
          <ac:spMkLst>
            <pc:docMk/>
            <pc:sldMk cId="526327871" sldId="272"/>
            <ac:spMk id="5" creationId="{03E60AF8-C4A6-4E64-D685-0D19B5A330A4}"/>
          </ac:spMkLst>
        </pc:spChg>
      </pc:sldChg>
      <pc:sldChg chg="modSp add replId">
        <pc:chgData name="Josephine Steppat" userId="S::josephine.steppat@montelgroup.com::ad9ceb25-8da7-411f-bf87-5981331f6d79" providerId="AD" clId="Web-{B910507B-D005-41CF-62D5-9B7890E34DBC}" dt="2024-10-07T11:00:34.780" v="810" actId="20577"/>
        <pc:sldMkLst>
          <pc:docMk/>
          <pc:sldMk cId="3470548202" sldId="273"/>
        </pc:sldMkLst>
        <pc:spChg chg="mod">
          <ac:chgData name="Josephine Steppat" userId="S::josephine.steppat@montelgroup.com::ad9ceb25-8da7-411f-bf87-5981331f6d79" providerId="AD" clId="Web-{B910507B-D005-41CF-62D5-9B7890E34DBC}" dt="2024-10-07T11:00:34.780" v="810" actId="20577"/>
          <ac:spMkLst>
            <pc:docMk/>
            <pc:sldMk cId="3470548202" sldId="273"/>
            <ac:spMk id="3" creationId="{A50C322C-7ADF-F49D-4253-2D2B5F5878A1}"/>
          </ac:spMkLst>
        </pc:spChg>
        <pc:spChg chg="mod">
          <ac:chgData name="Josephine Steppat" userId="S::josephine.steppat@montelgroup.com::ad9ceb25-8da7-411f-bf87-5981331f6d79" providerId="AD" clId="Web-{B910507B-D005-41CF-62D5-9B7890E34DBC}" dt="2024-10-07T10:59:33.935" v="801" actId="20577"/>
          <ac:spMkLst>
            <pc:docMk/>
            <pc:sldMk cId="3470548202" sldId="273"/>
            <ac:spMk id="5" creationId="{03E60AF8-C4A6-4E64-D685-0D19B5A330A4}"/>
          </ac:spMkLst>
        </pc:spChg>
      </pc:sldChg>
    </pc:docChg>
  </pc:docChgLst>
  <pc:docChgLst>
    <pc:chgData name="Josephine Steppat" userId="S::josephine.steppat@montelgroup.com::ad9ceb25-8da7-411f-bf87-5981331f6d79" providerId="AD" clId="Web-{54C33B05-AD4D-F4DF-6FF9-74050C9DB5C2}"/>
    <pc:docChg chg="modSld">
      <pc:chgData name="Josephine Steppat" userId="S::josephine.steppat@montelgroup.com::ad9ceb25-8da7-411f-bf87-5981331f6d79" providerId="AD" clId="Web-{54C33B05-AD4D-F4DF-6FF9-74050C9DB5C2}" dt="2024-09-30T14:58:48.786" v="21" actId="20577"/>
      <pc:docMkLst>
        <pc:docMk/>
      </pc:docMkLst>
      <pc:sldChg chg="modSp">
        <pc:chgData name="Josephine Steppat" userId="S::josephine.steppat@montelgroup.com::ad9ceb25-8da7-411f-bf87-5981331f6d79" providerId="AD" clId="Web-{54C33B05-AD4D-F4DF-6FF9-74050C9DB5C2}" dt="2024-09-30T14:58:48.786" v="21" actId="20577"/>
        <pc:sldMkLst>
          <pc:docMk/>
          <pc:sldMk cId="649683202" sldId="259"/>
        </pc:sldMkLst>
        <pc:spChg chg="mod">
          <ac:chgData name="Josephine Steppat" userId="S::josephine.steppat@montelgroup.com::ad9ceb25-8da7-411f-bf87-5981331f6d79" providerId="AD" clId="Web-{54C33B05-AD4D-F4DF-6FF9-74050C9DB5C2}" dt="2024-09-30T14:58:48.786" v="21" actId="20577"/>
          <ac:spMkLst>
            <pc:docMk/>
            <pc:sldMk cId="649683202" sldId="259"/>
            <ac:spMk id="4" creationId="{2D9ED9DE-2E2A-0765-7CCD-2D0911D52772}"/>
          </ac:spMkLst>
        </pc:spChg>
      </pc:sldChg>
      <pc:sldChg chg="addSp delSp modSp">
        <pc:chgData name="Josephine Steppat" userId="S::josephine.steppat@montelgroup.com::ad9ceb25-8da7-411f-bf87-5981331f6d79" providerId="AD" clId="Web-{54C33B05-AD4D-F4DF-6FF9-74050C9DB5C2}" dt="2024-09-30T14:58:12.801" v="19"/>
        <pc:sldMkLst>
          <pc:docMk/>
          <pc:sldMk cId="713374495" sldId="260"/>
        </pc:sldMkLst>
        <pc:spChg chg="mod">
          <ac:chgData name="Josephine Steppat" userId="S::josephine.steppat@montelgroup.com::ad9ceb25-8da7-411f-bf87-5981331f6d79" providerId="AD" clId="Web-{54C33B05-AD4D-F4DF-6FF9-74050C9DB5C2}" dt="2024-09-30T14:57:21.971" v="3" actId="14100"/>
          <ac:spMkLst>
            <pc:docMk/>
            <pc:sldMk cId="713374495" sldId="260"/>
            <ac:spMk id="5" creationId="{6E9930EB-AEF1-F439-359A-F168105ADFAF}"/>
          </ac:spMkLst>
        </pc:spChg>
        <pc:spChg chg="add mod">
          <ac:chgData name="Josephine Steppat" userId="S::josephine.steppat@montelgroup.com::ad9ceb25-8da7-411f-bf87-5981331f6d79" providerId="AD" clId="Web-{54C33B05-AD4D-F4DF-6FF9-74050C9DB5C2}" dt="2024-09-30T14:58:10.473" v="18" actId="14100"/>
          <ac:spMkLst>
            <pc:docMk/>
            <pc:sldMk cId="713374495" sldId="260"/>
            <ac:spMk id="13" creationId="{E63E0E2B-68A9-AF43-306B-93BBC407A57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montelno-my.sharepoint.com/personal/huangluolun_zhou_montelgroup_com/Documents/Microsoft%20Teams-Chatdateien/Flexible%20Demand.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laura\Downloads\202407%20AIB%20Statistics%20new%20format%20v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laura\Downloads\Export_19_09_2024%2016_14_38.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7FFFD2C3_16A6167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00" b="0" i="0" u="none" strike="noStrike" kern="1200" spc="0" baseline="0">
                <a:solidFill>
                  <a:schemeClr val="tx1">
                    <a:lumMod val="65000"/>
                    <a:lumOff val="35000"/>
                  </a:schemeClr>
                </a:solidFill>
                <a:latin typeface="+mn-lt"/>
                <a:ea typeface="+mn-ea"/>
                <a:cs typeface="+mn-cs"/>
              </a:defRPr>
            </a:pPr>
            <a:r>
              <a:rPr lang="en-US" sz="2800"/>
              <a:t>Forecasted industrial energy demand</a:t>
            </a:r>
            <a:r>
              <a:rPr lang="fi-FI" sz="2800"/>
              <a:t> for </a:t>
            </a:r>
            <a:r>
              <a:rPr lang="fi-FI" sz="2800" err="1"/>
              <a:t>climate</a:t>
            </a:r>
            <a:r>
              <a:rPr lang="fi-FI" sz="2800"/>
              <a:t> </a:t>
            </a:r>
            <a:r>
              <a:rPr lang="fi-FI" sz="2800" err="1"/>
              <a:t>neutral</a:t>
            </a:r>
            <a:r>
              <a:rPr lang="fi-FI" sz="2800"/>
              <a:t> production</a:t>
            </a:r>
            <a:r>
              <a:rPr lang="en-US" sz="2800"/>
              <a:t>, EU 27</a:t>
            </a:r>
          </a:p>
        </c:rich>
      </c:tx>
      <c:overlay val="0"/>
      <c:spPr>
        <a:noFill/>
        <a:ln>
          <a:noFill/>
        </a:ln>
        <a:effectLst/>
      </c:spPr>
      <c:txPr>
        <a:bodyPr rot="0" spcFirstLastPara="1" vertOverflow="ellipsis" vert="horz" wrap="square" anchor="ctr" anchorCtr="1"/>
        <a:lstStyle/>
        <a:p>
          <a:pPr>
            <a:defRPr sz="2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2</c:f>
              <c:strCache>
                <c:ptCount val="1"/>
                <c:pt idx="0">
                  <c:v>Industrial power demand TWh</c:v>
                </c:pt>
              </c:strCache>
            </c:strRef>
          </c:tx>
          <c:spPr>
            <a:solidFill>
              <a:schemeClr val="accent1"/>
            </a:solidFill>
            <a:ln>
              <a:noFill/>
            </a:ln>
            <a:effectLst/>
          </c:spPr>
          <c:invertIfNegative val="0"/>
          <c:cat>
            <c:numRef>
              <c:f>Sheet1!$B$1:$E$1</c:f>
              <c:numCache>
                <c:formatCode>General</c:formatCode>
                <c:ptCount val="4"/>
                <c:pt idx="0">
                  <c:v>2025</c:v>
                </c:pt>
                <c:pt idx="1">
                  <c:v>2030</c:v>
                </c:pt>
                <c:pt idx="2">
                  <c:v>2035</c:v>
                </c:pt>
                <c:pt idx="3">
                  <c:v>2040</c:v>
                </c:pt>
              </c:numCache>
            </c:numRef>
          </c:cat>
          <c:val>
            <c:numRef>
              <c:f>Sheet1!$B$2:$E$2</c:f>
              <c:numCache>
                <c:formatCode>0</c:formatCode>
                <c:ptCount val="4"/>
                <c:pt idx="0">
                  <c:v>52.428325714739003</c:v>
                </c:pt>
                <c:pt idx="1">
                  <c:v>133.596208790752</c:v>
                </c:pt>
                <c:pt idx="2">
                  <c:v>381.75923275251398</c:v>
                </c:pt>
                <c:pt idx="3">
                  <c:v>622.82070327980796</c:v>
                </c:pt>
              </c:numCache>
            </c:numRef>
          </c:val>
          <c:extLst>
            <c:ext xmlns:c16="http://schemas.microsoft.com/office/drawing/2014/chart" uri="{C3380CC4-5D6E-409C-BE32-E72D297353CC}">
              <c16:uniqueId val="{00000000-0BEE-4551-B729-4BAF15CCF496}"/>
            </c:ext>
          </c:extLst>
        </c:ser>
        <c:ser>
          <c:idx val="1"/>
          <c:order val="1"/>
          <c:tx>
            <c:strRef>
              <c:f>Sheet1!$A$3</c:f>
              <c:strCache>
                <c:ptCount val="1"/>
                <c:pt idx="0">
                  <c:v>Net increase TWh</c:v>
                </c:pt>
              </c:strCache>
            </c:strRef>
          </c:tx>
          <c:spPr>
            <a:solidFill>
              <a:schemeClr val="accent2"/>
            </a:solidFill>
            <a:ln>
              <a:noFill/>
            </a:ln>
            <a:effectLst/>
          </c:spPr>
          <c:invertIfNegative val="0"/>
          <c:cat>
            <c:numRef>
              <c:f>Sheet1!$B$1:$E$1</c:f>
              <c:numCache>
                <c:formatCode>General</c:formatCode>
                <c:ptCount val="4"/>
                <c:pt idx="0">
                  <c:v>2025</c:v>
                </c:pt>
                <c:pt idx="1">
                  <c:v>2030</c:v>
                </c:pt>
                <c:pt idx="2">
                  <c:v>2035</c:v>
                </c:pt>
                <c:pt idx="3">
                  <c:v>2040</c:v>
                </c:pt>
              </c:numCache>
            </c:numRef>
          </c:cat>
          <c:val>
            <c:numRef>
              <c:f>Sheet1!$B$3:$E$3</c:f>
              <c:numCache>
                <c:formatCode>0</c:formatCode>
                <c:ptCount val="4"/>
                <c:pt idx="0">
                  <c:v>9.4221084207010293</c:v>
                </c:pt>
                <c:pt idx="1">
                  <c:v>29.782661180673301</c:v>
                </c:pt>
                <c:pt idx="2">
                  <c:v>82.308719626739403</c:v>
                </c:pt>
                <c:pt idx="3">
                  <c:v>117.73835112559701</c:v>
                </c:pt>
              </c:numCache>
            </c:numRef>
          </c:val>
          <c:extLst>
            <c:ext xmlns:c16="http://schemas.microsoft.com/office/drawing/2014/chart" uri="{C3380CC4-5D6E-409C-BE32-E72D297353CC}">
              <c16:uniqueId val="{00000001-0BEE-4551-B729-4BAF15CCF496}"/>
            </c:ext>
          </c:extLst>
        </c:ser>
        <c:dLbls>
          <c:showLegendKey val="0"/>
          <c:showVal val="0"/>
          <c:showCatName val="0"/>
          <c:showSerName val="0"/>
          <c:showPercent val="0"/>
          <c:showBubbleSize val="0"/>
        </c:dLbls>
        <c:gapWidth val="219"/>
        <c:overlap val="-27"/>
        <c:axId val="2099321328"/>
        <c:axId val="2099324208"/>
        <c:extLst>
          <c:ext xmlns:c15="http://schemas.microsoft.com/office/drawing/2012/chart" uri="{02D57815-91ED-43cb-92C2-25804820EDAC}">
            <c15:filteredBarSeries>
              <c15:ser>
                <c:idx val="2"/>
                <c:order val="2"/>
                <c:spPr>
                  <a:solidFill>
                    <a:schemeClr val="accent3"/>
                  </a:solidFill>
                  <a:ln>
                    <a:noFill/>
                  </a:ln>
                  <a:effectLst/>
                </c:spPr>
                <c:invertIfNegative val="0"/>
                <c:cat>
                  <c:numRef>
                    <c:extLst>
                      <c:ext uri="{02D57815-91ED-43cb-92C2-25804820EDAC}">
                        <c15:formulaRef>
                          <c15:sqref>Sheet1!$B$1:$E$1</c15:sqref>
                        </c15:formulaRef>
                      </c:ext>
                    </c:extLst>
                    <c:numCache>
                      <c:formatCode>General</c:formatCode>
                      <c:ptCount val="4"/>
                      <c:pt idx="0">
                        <c:v>2025</c:v>
                      </c:pt>
                      <c:pt idx="1">
                        <c:v>2030</c:v>
                      </c:pt>
                      <c:pt idx="2">
                        <c:v>2035</c:v>
                      </c:pt>
                      <c:pt idx="3">
                        <c:v>2040</c:v>
                      </c:pt>
                    </c:numCache>
                  </c:numRef>
                </c:cat>
                <c:val>
                  <c:numRef>
                    <c:extLst>
                      <c:ext uri="{02D57815-91ED-43cb-92C2-25804820EDAC}">
                        <c15:formulaRef>
                          <c15:sqref>Sheet1!$B$3:$E$3</c15:sqref>
                        </c15:formulaRef>
                      </c:ext>
                    </c:extLst>
                    <c:numCache>
                      <c:formatCode>0</c:formatCode>
                      <c:ptCount val="4"/>
                      <c:pt idx="0">
                        <c:v>9.4221084207010293</c:v>
                      </c:pt>
                      <c:pt idx="1">
                        <c:v>29.782661180673301</c:v>
                      </c:pt>
                      <c:pt idx="2">
                        <c:v>82.308719626739403</c:v>
                      </c:pt>
                      <c:pt idx="3">
                        <c:v>117.73835112559701</c:v>
                      </c:pt>
                    </c:numCache>
                  </c:numRef>
                </c:val>
                <c:extLst>
                  <c:ext xmlns:c16="http://schemas.microsoft.com/office/drawing/2014/chart" uri="{C3380CC4-5D6E-409C-BE32-E72D297353CC}">
                    <c16:uniqueId val="{00000002-0BEE-4551-B729-4BAF15CCF496}"/>
                  </c:ext>
                </c:extLst>
              </c15:ser>
            </c15:filteredBarSeries>
          </c:ext>
        </c:extLst>
      </c:barChart>
      <c:catAx>
        <c:axId val="2099321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99324208"/>
        <c:crosses val="autoZero"/>
        <c:auto val="1"/>
        <c:lblAlgn val="ctr"/>
        <c:lblOffset val="100"/>
        <c:noMultiLvlLbl val="0"/>
      </c:catAx>
      <c:valAx>
        <c:axId val="2099324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993213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202407 AIB Statistics new format v1.xlsx]Annual-Transaction Date!PivotTable13</c:name>
    <c:fmtId val="37"/>
  </c:pivotSource>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i="0" baseline="0">
                <a:effectLst/>
              </a:rPr>
              <a:t>ANNUAL EECS TRANSACTIONS IN TWH (BASED ON TRANSACTION DATE)</a:t>
            </a:r>
            <a:endParaRPr lang="en-US" sz="1800">
              <a:effectLst/>
            </a:endParaRPr>
          </a:p>
        </c:rich>
      </c:tx>
      <c:layout>
        <c:manualLayout>
          <c:xMode val="edge"/>
          <c:yMode val="edge"/>
          <c:x val="0.10647346152758298"/>
          <c:y val="1.9900497512437811E-2"/>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5"/>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6"/>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7"/>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30"/>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31"/>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3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3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4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4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5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3"/>
        <c:spPr>
          <a:solidFill>
            <a:schemeClr val="accent1"/>
          </a:solidFill>
          <a:ln>
            <a:noFill/>
          </a:ln>
          <a:effectLst/>
        </c:spPr>
        <c:marker>
          <c:symbol val="none"/>
        </c:marker>
      </c:pivotFmt>
      <c:pivotFmt>
        <c:idx val="154"/>
        <c:spPr>
          <a:solidFill>
            <a:schemeClr val="accent1"/>
          </a:solidFill>
          <a:ln>
            <a:noFill/>
          </a:ln>
          <a:effectLst/>
        </c:spPr>
        <c:marker>
          <c:symbol val="none"/>
        </c:marker>
      </c:pivotFmt>
      <c:pivotFmt>
        <c:idx val="15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5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5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5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6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7.2905850580498907E-2"/>
          <c:y val="0.12301824212271974"/>
          <c:w val="0.89095588857844399"/>
          <c:h val="0.76360428826993643"/>
        </c:manualLayout>
      </c:layout>
      <c:barChart>
        <c:barDir val="col"/>
        <c:grouping val="clustered"/>
        <c:varyColors val="0"/>
        <c:ser>
          <c:idx val="0"/>
          <c:order val="0"/>
          <c:tx>
            <c:strRef>
              <c:f>'Annual-Transaction Date'!$B$9:$B$10</c:f>
              <c:strCache>
                <c:ptCount val="1"/>
                <c:pt idx="0">
                  <c:v>20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nual-Transaction Date'!$A$11:$A$17</c:f>
              <c:strCache>
                <c:ptCount val="7"/>
                <c:pt idx="0">
                  <c:v>Transaction: Issue</c:v>
                </c:pt>
                <c:pt idx="1">
                  <c:v>Transaction: Transfer</c:v>
                </c:pt>
                <c:pt idx="2">
                  <c:v>Transaction: Import</c:v>
                </c:pt>
                <c:pt idx="3">
                  <c:v>Transaction: Export</c:v>
                </c:pt>
                <c:pt idx="4">
                  <c:v>Transaction: Expire</c:v>
                </c:pt>
                <c:pt idx="5">
                  <c:v>Transaction: Cancel Own Domain</c:v>
                </c:pt>
                <c:pt idx="6">
                  <c:v>Transaction: Cancel Ex-domain</c:v>
                </c:pt>
              </c:strCache>
            </c:strRef>
          </c:cat>
          <c:val>
            <c:numRef>
              <c:f>'Annual-Transaction Date'!$B$11:$B$17</c:f>
              <c:numCache>
                <c:formatCode>#,##0</c:formatCode>
                <c:ptCount val="7"/>
                <c:pt idx="0">
                  <c:v>675588327</c:v>
                </c:pt>
                <c:pt idx="1">
                  <c:v>878375790</c:v>
                </c:pt>
                <c:pt idx="2">
                  <c:v>605334915</c:v>
                </c:pt>
                <c:pt idx="3">
                  <c:v>605635400</c:v>
                </c:pt>
                <c:pt idx="4">
                  <c:v>40244871</c:v>
                </c:pt>
                <c:pt idx="5">
                  <c:v>598271964</c:v>
                </c:pt>
                <c:pt idx="6">
                  <c:v>50431119</c:v>
                </c:pt>
              </c:numCache>
            </c:numRef>
          </c:val>
          <c:extLst>
            <c:ext xmlns:c16="http://schemas.microsoft.com/office/drawing/2014/chart" uri="{C3380CC4-5D6E-409C-BE32-E72D297353CC}">
              <c16:uniqueId val="{00000000-E981-4924-9D28-C29D35C8C1BF}"/>
            </c:ext>
          </c:extLst>
        </c:ser>
        <c:ser>
          <c:idx val="1"/>
          <c:order val="1"/>
          <c:tx>
            <c:strRef>
              <c:f>'Annual-Transaction Date'!$C$9:$C$10</c:f>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nual-Transaction Date'!$A$11:$A$17</c:f>
              <c:strCache>
                <c:ptCount val="7"/>
                <c:pt idx="0">
                  <c:v>Transaction: Issue</c:v>
                </c:pt>
                <c:pt idx="1">
                  <c:v>Transaction: Transfer</c:v>
                </c:pt>
                <c:pt idx="2">
                  <c:v>Transaction: Import</c:v>
                </c:pt>
                <c:pt idx="3">
                  <c:v>Transaction: Export</c:v>
                </c:pt>
                <c:pt idx="4">
                  <c:v>Transaction: Expire</c:v>
                </c:pt>
                <c:pt idx="5">
                  <c:v>Transaction: Cancel Own Domain</c:v>
                </c:pt>
                <c:pt idx="6">
                  <c:v>Transaction: Cancel Ex-domain</c:v>
                </c:pt>
              </c:strCache>
            </c:strRef>
          </c:cat>
          <c:val>
            <c:numRef>
              <c:f>'Annual-Transaction Date'!$C$11:$C$17</c:f>
              <c:numCache>
                <c:formatCode>#,##0</c:formatCode>
                <c:ptCount val="7"/>
                <c:pt idx="0">
                  <c:v>786856143</c:v>
                </c:pt>
                <c:pt idx="1">
                  <c:v>929878882</c:v>
                </c:pt>
                <c:pt idx="2">
                  <c:v>617788525</c:v>
                </c:pt>
                <c:pt idx="3">
                  <c:v>617901769</c:v>
                </c:pt>
                <c:pt idx="4">
                  <c:v>61295998</c:v>
                </c:pt>
                <c:pt idx="5">
                  <c:v>593914988</c:v>
                </c:pt>
                <c:pt idx="6">
                  <c:v>65051330</c:v>
                </c:pt>
              </c:numCache>
            </c:numRef>
          </c:val>
          <c:extLst>
            <c:ext xmlns:c16="http://schemas.microsoft.com/office/drawing/2014/chart" uri="{C3380CC4-5D6E-409C-BE32-E72D297353CC}">
              <c16:uniqueId val="{00000001-E981-4924-9D28-C29D35C8C1BF}"/>
            </c:ext>
          </c:extLst>
        </c:ser>
        <c:ser>
          <c:idx val="2"/>
          <c:order val="2"/>
          <c:tx>
            <c:strRef>
              <c:f>'Annual-Transaction Date'!$D$9:$D$10</c:f>
              <c:strCache>
                <c:ptCount val="1"/>
                <c:pt idx="0">
                  <c:v>202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nual-Transaction Date'!$A$11:$A$17</c:f>
              <c:strCache>
                <c:ptCount val="7"/>
                <c:pt idx="0">
                  <c:v>Transaction: Issue</c:v>
                </c:pt>
                <c:pt idx="1">
                  <c:v>Transaction: Transfer</c:v>
                </c:pt>
                <c:pt idx="2">
                  <c:v>Transaction: Import</c:v>
                </c:pt>
                <c:pt idx="3">
                  <c:v>Transaction: Export</c:v>
                </c:pt>
                <c:pt idx="4">
                  <c:v>Transaction: Expire</c:v>
                </c:pt>
                <c:pt idx="5">
                  <c:v>Transaction: Cancel Own Domain</c:v>
                </c:pt>
                <c:pt idx="6">
                  <c:v>Transaction: Cancel Ex-domain</c:v>
                </c:pt>
              </c:strCache>
            </c:strRef>
          </c:cat>
          <c:val>
            <c:numRef>
              <c:f>'Annual-Transaction Date'!$D$11:$D$17</c:f>
              <c:numCache>
                <c:formatCode>#,##0</c:formatCode>
                <c:ptCount val="7"/>
                <c:pt idx="0">
                  <c:v>835184738</c:v>
                </c:pt>
                <c:pt idx="1">
                  <c:v>1058470555</c:v>
                </c:pt>
                <c:pt idx="2">
                  <c:v>698576234</c:v>
                </c:pt>
                <c:pt idx="3">
                  <c:v>700322946</c:v>
                </c:pt>
                <c:pt idx="4">
                  <c:v>65123861</c:v>
                </c:pt>
                <c:pt idx="5">
                  <c:v>656331868</c:v>
                </c:pt>
                <c:pt idx="6">
                  <c:v>69885902</c:v>
                </c:pt>
              </c:numCache>
            </c:numRef>
          </c:val>
          <c:extLst>
            <c:ext xmlns:c16="http://schemas.microsoft.com/office/drawing/2014/chart" uri="{C3380CC4-5D6E-409C-BE32-E72D297353CC}">
              <c16:uniqueId val="{00000002-E981-4924-9D28-C29D35C8C1BF}"/>
            </c:ext>
          </c:extLst>
        </c:ser>
        <c:ser>
          <c:idx val="3"/>
          <c:order val="3"/>
          <c:tx>
            <c:strRef>
              <c:f>'Annual-Transaction Date'!$E$9:$E$10</c:f>
              <c:strCache>
                <c:ptCount val="1"/>
                <c:pt idx="0">
                  <c:v>2022</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nual-Transaction Date'!$A$11:$A$17</c:f>
              <c:strCache>
                <c:ptCount val="7"/>
                <c:pt idx="0">
                  <c:v>Transaction: Issue</c:v>
                </c:pt>
                <c:pt idx="1">
                  <c:v>Transaction: Transfer</c:v>
                </c:pt>
                <c:pt idx="2">
                  <c:v>Transaction: Import</c:v>
                </c:pt>
                <c:pt idx="3">
                  <c:v>Transaction: Export</c:v>
                </c:pt>
                <c:pt idx="4">
                  <c:v>Transaction: Expire</c:v>
                </c:pt>
                <c:pt idx="5">
                  <c:v>Transaction: Cancel Own Domain</c:v>
                </c:pt>
                <c:pt idx="6">
                  <c:v>Transaction: Cancel Ex-domain</c:v>
                </c:pt>
              </c:strCache>
            </c:strRef>
          </c:cat>
          <c:val>
            <c:numRef>
              <c:f>'Annual-Transaction Date'!$E$11:$E$17</c:f>
              <c:numCache>
                <c:formatCode>#,##0</c:formatCode>
                <c:ptCount val="7"/>
                <c:pt idx="0">
                  <c:v>861936836</c:v>
                </c:pt>
                <c:pt idx="1">
                  <c:v>1282559340</c:v>
                </c:pt>
                <c:pt idx="2">
                  <c:v>871277660</c:v>
                </c:pt>
                <c:pt idx="3">
                  <c:v>871113721</c:v>
                </c:pt>
                <c:pt idx="4">
                  <c:v>66009916</c:v>
                </c:pt>
                <c:pt idx="5">
                  <c:v>747747995</c:v>
                </c:pt>
                <c:pt idx="6">
                  <c:v>44306961</c:v>
                </c:pt>
              </c:numCache>
            </c:numRef>
          </c:val>
          <c:extLst>
            <c:ext xmlns:c16="http://schemas.microsoft.com/office/drawing/2014/chart" uri="{C3380CC4-5D6E-409C-BE32-E72D297353CC}">
              <c16:uniqueId val="{00000003-E981-4924-9D28-C29D35C8C1BF}"/>
            </c:ext>
          </c:extLst>
        </c:ser>
        <c:ser>
          <c:idx val="4"/>
          <c:order val="4"/>
          <c:tx>
            <c:strRef>
              <c:f>'Annual-Transaction Date'!$F$9:$F$10</c:f>
              <c:strCache>
                <c:ptCount val="1"/>
                <c:pt idx="0">
                  <c:v>202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nual-Transaction Date'!$A$11:$A$17</c:f>
              <c:strCache>
                <c:ptCount val="7"/>
                <c:pt idx="0">
                  <c:v>Transaction: Issue</c:v>
                </c:pt>
                <c:pt idx="1">
                  <c:v>Transaction: Transfer</c:v>
                </c:pt>
                <c:pt idx="2">
                  <c:v>Transaction: Import</c:v>
                </c:pt>
                <c:pt idx="3">
                  <c:v>Transaction: Export</c:v>
                </c:pt>
                <c:pt idx="4">
                  <c:v>Transaction: Expire</c:v>
                </c:pt>
                <c:pt idx="5">
                  <c:v>Transaction: Cancel Own Domain</c:v>
                </c:pt>
                <c:pt idx="6">
                  <c:v>Transaction: Cancel Ex-domain</c:v>
                </c:pt>
              </c:strCache>
            </c:strRef>
          </c:cat>
          <c:val>
            <c:numRef>
              <c:f>'Annual-Transaction Date'!$F$11:$F$17</c:f>
              <c:numCache>
                <c:formatCode>#,##0</c:formatCode>
                <c:ptCount val="7"/>
                <c:pt idx="0">
                  <c:v>984489461</c:v>
                </c:pt>
                <c:pt idx="1">
                  <c:v>1410284876</c:v>
                </c:pt>
                <c:pt idx="2">
                  <c:v>946390258</c:v>
                </c:pt>
                <c:pt idx="3">
                  <c:v>947903062</c:v>
                </c:pt>
                <c:pt idx="4">
                  <c:v>50135708</c:v>
                </c:pt>
                <c:pt idx="5">
                  <c:v>786202955</c:v>
                </c:pt>
                <c:pt idx="6">
                  <c:v>34865105</c:v>
                </c:pt>
              </c:numCache>
            </c:numRef>
          </c:val>
          <c:extLst>
            <c:ext xmlns:c16="http://schemas.microsoft.com/office/drawing/2014/chart" uri="{C3380CC4-5D6E-409C-BE32-E72D297353CC}">
              <c16:uniqueId val="{00000004-E981-4924-9D28-C29D35C8C1BF}"/>
            </c:ext>
          </c:extLst>
        </c:ser>
        <c:ser>
          <c:idx val="5"/>
          <c:order val="5"/>
          <c:tx>
            <c:strRef>
              <c:f>'Annual-Transaction Date'!$G$9:$G$10</c:f>
              <c:strCache>
                <c:ptCount val="1"/>
                <c:pt idx="0">
                  <c:v>2024</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nnual-Transaction Date'!$A$11:$A$17</c:f>
              <c:strCache>
                <c:ptCount val="7"/>
                <c:pt idx="0">
                  <c:v>Transaction: Issue</c:v>
                </c:pt>
                <c:pt idx="1">
                  <c:v>Transaction: Transfer</c:v>
                </c:pt>
                <c:pt idx="2">
                  <c:v>Transaction: Import</c:v>
                </c:pt>
                <c:pt idx="3">
                  <c:v>Transaction: Export</c:v>
                </c:pt>
                <c:pt idx="4">
                  <c:v>Transaction: Expire</c:v>
                </c:pt>
                <c:pt idx="5">
                  <c:v>Transaction: Cancel Own Domain</c:v>
                </c:pt>
                <c:pt idx="6">
                  <c:v>Transaction: Cancel Ex-domain</c:v>
                </c:pt>
              </c:strCache>
            </c:strRef>
          </c:cat>
          <c:val>
            <c:numRef>
              <c:f>'Annual-Transaction Date'!$G$11:$G$17</c:f>
              <c:numCache>
                <c:formatCode>#,##0</c:formatCode>
                <c:ptCount val="7"/>
                <c:pt idx="0">
                  <c:v>653202392</c:v>
                </c:pt>
                <c:pt idx="1">
                  <c:v>1071780256</c:v>
                </c:pt>
                <c:pt idx="2">
                  <c:v>705153129</c:v>
                </c:pt>
                <c:pt idx="3">
                  <c:v>733733216</c:v>
                </c:pt>
                <c:pt idx="4">
                  <c:v>27064849</c:v>
                </c:pt>
                <c:pt idx="5">
                  <c:v>687196238</c:v>
                </c:pt>
                <c:pt idx="6">
                  <c:v>7887417</c:v>
                </c:pt>
              </c:numCache>
            </c:numRef>
          </c:val>
          <c:extLst>
            <c:ext xmlns:c16="http://schemas.microsoft.com/office/drawing/2014/chart" uri="{C3380CC4-5D6E-409C-BE32-E72D297353CC}">
              <c16:uniqueId val="{00000005-E981-4924-9D28-C29D35C8C1BF}"/>
            </c:ext>
          </c:extLst>
        </c:ser>
        <c:dLbls>
          <c:showLegendKey val="0"/>
          <c:showVal val="0"/>
          <c:showCatName val="0"/>
          <c:showSerName val="0"/>
          <c:showPercent val="0"/>
          <c:showBubbleSize val="0"/>
        </c:dLbls>
        <c:gapWidth val="225"/>
        <c:axId val="302135631"/>
        <c:axId val="302137711"/>
      </c:barChart>
      <c:catAx>
        <c:axId val="3021356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02137711"/>
        <c:crosses val="autoZero"/>
        <c:auto val="1"/>
        <c:lblAlgn val="ctr"/>
        <c:lblOffset val="100"/>
        <c:noMultiLvlLbl val="0"/>
      </c:catAx>
      <c:valAx>
        <c:axId val="30213771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2135631"/>
        <c:crosses val="autoZero"/>
        <c:crossBetween val="between"/>
        <c:dispUnits>
          <c:builtInUnit val="millions"/>
          <c:dispUnitsLbl>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Wh</a:t>
                  </a:r>
                </a:p>
              </c:rich>
            </c:tx>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r"/>
      <c:layout>
        <c:manualLayout>
          <c:xMode val="edge"/>
          <c:yMode val="edge"/>
          <c:x val="0.88434302508302964"/>
          <c:y val="2.041972674933603E-2"/>
          <c:w val="9.4340549184524544E-2"/>
          <c:h val="0.4481248167413554"/>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4"/>
          <c:order val="0"/>
          <c:tx>
            <c:strRef>
              <c:f>Sheet1!$AH$1</c:f>
              <c:strCache>
                <c:ptCount val="1"/>
                <c:pt idx="0">
                  <c:v>MMP GO Hydro Cal-2023</c:v>
                </c:pt>
              </c:strCache>
            </c:strRef>
          </c:tx>
          <c:spPr>
            <a:ln w="28575" cap="rnd">
              <a:solidFill>
                <a:schemeClr val="accent5"/>
              </a:solidFill>
              <a:round/>
            </a:ln>
            <a:effectLst/>
          </c:spPr>
          <c:marker>
            <c:symbol val="none"/>
          </c:marker>
          <c:cat>
            <c:numRef>
              <c:f>Sheet1!$AG$5:$AG$403</c:f>
              <c:numCache>
                <c:formatCode>m/d/yyyy</c:formatCode>
                <c:ptCount val="399"/>
                <c:pt idx="0">
                  <c:v>44977</c:v>
                </c:pt>
                <c:pt idx="1">
                  <c:v>44978</c:v>
                </c:pt>
                <c:pt idx="2">
                  <c:v>44979</c:v>
                </c:pt>
                <c:pt idx="3">
                  <c:v>44980</c:v>
                </c:pt>
                <c:pt idx="4">
                  <c:v>44981</c:v>
                </c:pt>
                <c:pt idx="5">
                  <c:v>44987</c:v>
                </c:pt>
                <c:pt idx="6">
                  <c:v>44988</c:v>
                </c:pt>
                <c:pt idx="7">
                  <c:v>44991</c:v>
                </c:pt>
                <c:pt idx="8">
                  <c:v>44992</c:v>
                </c:pt>
                <c:pt idx="9">
                  <c:v>44993</c:v>
                </c:pt>
                <c:pt idx="10">
                  <c:v>44994</c:v>
                </c:pt>
                <c:pt idx="11">
                  <c:v>44995</c:v>
                </c:pt>
                <c:pt idx="12">
                  <c:v>44998</c:v>
                </c:pt>
                <c:pt idx="13">
                  <c:v>44999</c:v>
                </c:pt>
                <c:pt idx="14">
                  <c:v>45000</c:v>
                </c:pt>
                <c:pt idx="15">
                  <c:v>45001</c:v>
                </c:pt>
                <c:pt idx="16">
                  <c:v>45002</c:v>
                </c:pt>
                <c:pt idx="17">
                  <c:v>45005</c:v>
                </c:pt>
                <c:pt idx="18">
                  <c:v>45006</c:v>
                </c:pt>
                <c:pt idx="19">
                  <c:v>45007</c:v>
                </c:pt>
                <c:pt idx="20">
                  <c:v>45008</c:v>
                </c:pt>
                <c:pt idx="21">
                  <c:v>45009</c:v>
                </c:pt>
                <c:pt idx="22">
                  <c:v>45012</c:v>
                </c:pt>
                <c:pt idx="23">
                  <c:v>45013</c:v>
                </c:pt>
                <c:pt idx="24">
                  <c:v>45014</c:v>
                </c:pt>
                <c:pt idx="25">
                  <c:v>45015</c:v>
                </c:pt>
                <c:pt idx="26">
                  <c:v>45016</c:v>
                </c:pt>
                <c:pt idx="27">
                  <c:v>45019</c:v>
                </c:pt>
                <c:pt idx="28">
                  <c:v>45020</c:v>
                </c:pt>
                <c:pt idx="29">
                  <c:v>45021</c:v>
                </c:pt>
                <c:pt idx="30">
                  <c:v>45027</c:v>
                </c:pt>
                <c:pt idx="31">
                  <c:v>45028</c:v>
                </c:pt>
                <c:pt idx="32">
                  <c:v>45029</c:v>
                </c:pt>
                <c:pt idx="33">
                  <c:v>45030</c:v>
                </c:pt>
                <c:pt idx="34">
                  <c:v>45033</c:v>
                </c:pt>
                <c:pt idx="35">
                  <c:v>45034</c:v>
                </c:pt>
                <c:pt idx="36">
                  <c:v>45035</c:v>
                </c:pt>
                <c:pt idx="37">
                  <c:v>45036</c:v>
                </c:pt>
                <c:pt idx="38">
                  <c:v>45037</c:v>
                </c:pt>
                <c:pt idx="39">
                  <c:v>45040</c:v>
                </c:pt>
                <c:pt idx="40">
                  <c:v>45041</c:v>
                </c:pt>
                <c:pt idx="41">
                  <c:v>45042</c:v>
                </c:pt>
                <c:pt idx="42">
                  <c:v>45043</c:v>
                </c:pt>
                <c:pt idx="43">
                  <c:v>45044</c:v>
                </c:pt>
                <c:pt idx="44">
                  <c:v>45048</c:v>
                </c:pt>
                <c:pt idx="45">
                  <c:v>45049</c:v>
                </c:pt>
                <c:pt idx="46">
                  <c:v>45050</c:v>
                </c:pt>
                <c:pt idx="47">
                  <c:v>45051</c:v>
                </c:pt>
                <c:pt idx="48">
                  <c:v>45054</c:v>
                </c:pt>
                <c:pt idx="49">
                  <c:v>45055</c:v>
                </c:pt>
                <c:pt idx="50">
                  <c:v>45056</c:v>
                </c:pt>
                <c:pt idx="51">
                  <c:v>45057</c:v>
                </c:pt>
                <c:pt idx="52">
                  <c:v>45058</c:v>
                </c:pt>
                <c:pt idx="53">
                  <c:v>45061</c:v>
                </c:pt>
                <c:pt idx="54">
                  <c:v>45062</c:v>
                </c:pt>
                <c:pt idx="55">
                  <c:v>45063</c:v>
                </c:pt>
                <c:pt idx="56">
                  <c:v>45064</c:v>
                </c:pt>
                <c:pt idx="57">
                  <c:v>45065</c:v>
                </c:pt>
                <c:pt idx="58">
                  <c:v>45068</c:v>
                </c:pt>
                <c:pt idx="59">
                  <c:v>45069</c:v>
                </c:pt>
                <c:pt idx="60">
                  <c:v>45070</c:v>
                </c:pt>
                <c:pt idx="61">
                  <c:v>45071</c:v>
                </c:pt>
                <c:pt idx="62">
                  <c:v>45072</c:v>
                </c:pt>
                <c:pt idx="63">
                  <c:v>45075</c:v>
                </c:pt>
                <c:pt idx="64">
                  <c:v>45076</c:v>
                </c:pt>
                <c:pt idx="65">
                  <c:v>45077</c:v>
                </c:pt>
                <c:pt idx="66">
                  <c:v>45078</c:v>
                </c:pt>
                <c:pt idx="67">
                  <c:v>45079</c:v>
                </c:pt>
                <c:pt idx="68">
                  <c:v>45081</c:v>
                </c:pt>
                <c:pt idx="69">
                  <c:v>45082</c:v>
                </c:pt>
                <c:pt idx="70">
                  <c:v>45083</c:v>
                </c:pt>
                <c:pt idx="71">
                  <c:v>45084</c:v>
                </c:pt>
                <c:pt idx="72">
                  <c:v>45085</c:v>
                </c:pt>
                <c:pt idx="73">
                  <c:v>45086</c:v>
                </c:pt>
                <c:pt idx="74">
                  <c:v>45089</c:v>
                </c:pt>
                <c:pt idx="75">
                  <c:v>45090</c:v>
                </c:pt>
                <c:pt idx="76">
                  <c:v>45091</c:v>
                </c:pt>
                <c:pt idx="77">
                  <c:v>45092</c:v>
                </c:pt>
                <c:pt idx="78">
                  <c:v>45093</c:v>
                </c:pt>
                <c:pt idx="79">
                  <c:v>45096</c:v>
                </c:pt>
                <c:pt idx="80">
                  <c:v>45097</c:v>
                </c:pt>
                <c:pt idx="81">
                  <c:v>45098</c:v>
                </c:pt>
                <c:pt idx="82">
                  <c:v>45099</c:v>
                </c:pt>
                <c:pt idx="83">
                  <c:v>45100</c:v>
                </c:pt>
                <c:pt idx="84">
                  <c:v>45103</c:v>
                </c:pt>
                <c:pt idx="85">
                  <c:v>45104</c:v>
                </c:pt>
                <c:pt idx="86">
                  <c:v>45105</c:v>
                </c:pt>
                <c:pt idx="87">
                  <c:v>45106</c:v>
                </c:pt>
                <c:pt idx="88">
                  <c:v>45107</c:v>
                </c:pt>
                <c:pt idx="89">
                  <c:v>45110</c:v>
                </c:pt>
                <c:pt idx="90">
                  <c:v>45111</c:v>
                </c:pt>
                <c:pt idx="91">
                  <c:v>45112</c:v>
                </c:pt>
                <c:pt idx="92">
                  <c:v>45113</c:v>
                </c:pt>
                <c:pt idx="93">
                  <c:v>45114</c:v>
                </c:pt>
                <c:pt idx="94">
                  <c:v>45117</c:v>
                </c:pt>
                <c:pt idx="95">
                  <c:v>45118</c:v>
                </c:pt>
                <c:pt idx="96">
                  <c:v>45119</c:v>
                </c:pt>
                <c:pt idx="97">
                  <c:v>45120</c:v>
                </c:pt>
                <c:pt idx="98">
                  <c:v>45121</c:v>
                </c:pt>
                <c:pt idx="99">
                  <c:v>45124</c:v>
                </c:pt>
                <c:pt idx="100">
                  <c:v>45125</c:v>
                </c:pt>
                <c:pt idx="101">
                  <c:v>45126</c:v>
                </c:pt>
                <c:pt idx="102">
                  <c:v>45127</c:v>
                </c:pt>
                <c:pt idx="103">
                  <c:v>45128</c:v>
                </c:pt>
                <c:pt idx="104">
                  <c:v>45131</c:v>
                </c:pt>
                <c:pt idx="105">
                  <c:v>45132</c:v>
                </c:pt>
                <c:pt idx="106">
                  <c:v>45133</c:v>
                </c:pt>
                <c:pt idx="107">
                  <c:v>45134</c:v>
                </c:pt>
                <c:pt idx="108">
                  <c:v>45135</c:v>
                </c:pt>
                <c:pt idx="109">
                  <c:v>45138</c:v>
                </c:pt>
                <c:pt idx="110">
                  <c:v>45139</c:v>
                </c:pt>
                <c:pt idx="111">
                  <c:v>45140</c:v>
                </c:pt>
                <c:pt idx="112">
                  <c:v>45141</c:v>
                </c:pt>
                <c:pt idx="113">
                  <c:v>45142</c:v>
                </c:pt>
                <c:pt idx="114">
                  <c:v>45143</c:v>
                </c:pt>
                <c:pt idx="115">
                  <c:v>45145</c:v>
                </c:pt>
                <c:pt idx="116">
                  <c:v>45146</c:v>
                </c:pt>
                <c:pt idx="117">
                  <c:v>45147</c:v>
                </c:pt>
                <c:pt idx="118">
                  <c:v>45148</c:v>
                </c:pt>
                <c:pt idx="119">
                  <c:v>45149</c:v>
                </c:pt>
                <c:pt idx="120">
                  <c:v>45152</c:v>
                </c:pt>
                <c:pt idx="121">
                  <c:v>45153</c:v>
                </c:pt>
                <c:pt idx="122">
                  <c:v>45154</c:v>
                </c:pt>
                <c:pt idx="123">
                  <c:v>45155</c:v>
                </c:pt>
                <c:pt idx="124">
                  <c:v>45156</c:v>
                </c:pt>
                <c:pt idx="125">
                  <c:v>45159</c:v>
                </c:pt>
                <c:pt idx="126">
                  <c:v>45160</c:v>
                </c:pt>
                <c:pt idx="127">
                  <c:v>45161</c:v>
                </c:pt>
                <c:pt idx="128">
                  <c:v>45162</c:v>
                </c:pt>
                <c:pt idx="129">
                  <c:v>45163</c:v>
                </c:pt>
                <c:pt idx="130">
                  <c:v>45166</c:v>
                </c:pt>
                <c:pt idx="131">
                  <c:v>45167</c:v>
                </c:pt>
                <c:pt idx="132">
                  <c:v>45168</c:v>
                </c:pt>
                <c:pt idx="133">
                  <c:v>45169</c:v>
                </c:pt>
                <c:pt idx="134">
                  <c:v>45170</c:v>
                </c:pt>
                <c:pt idx="135">
                  <c:v>45173</c:v>
                </c:pt>
                <c:pt idx="136">
                  <c:v>45174</c:v>
                </c:pt>
                <c:pt idx="137">
                  <c:v>45175</c:v>
                </c:pt>
                <c:pt idx="138">
                  <c:v>45176</c:v>
                </c:pt>
                <c:pt idx="139">
                  <c:v>45177</c:v>
                </c:pt>
                <c:pt idx="140">
                  <c:v>45180</c:v>
                </c:pt>
                <c:pt idx="141">
                  <c:v>45181</c:v>
                </c:pt>
                <c:pt idx="142">
                  <c:v>45182</c:v>
                </c:pt>
                <c:pt idx="143">
                  <c:v>45183</c:v>
                </c:pt>
                <c:pt idx="144">
                  <c:v>45184</c:v>
                </c:pt>
                <c:pt idx="145">
                  <c:v>45187</c:v>
                </c:pt>
                <c:pt idx="146">
                  <c:v>45188</c:v>
                </c:pt>
                <c:pt idx="147">
                  <c:v>45189</c:v>
                </c:pt>
                <c:pt idx="148">
                  <c:v>45190</c:v>
                </c:pt>
                <c:pt idx="149">
                  <c:v>45191</c:v>
                </c:pt>
                <c:pt idx="150">
                  <c:v>45194</c:v>
                </c:pt>
                <c:pt idx="151">
                  <c:v>45195</c:v>
                </c:pt>
                <c:pt idx="152">
                  <c:v>45196</c:v>
                </c:pt>
                <c:pt idx="153">
                  <c:v>45197</c:v>
                </c:pt>
                <c:pt idx="154">
                  <c:v>45198</c:v>
                </c:pt>
                <c:pt idx="155">
                  <c:v>45201</c:v>
                </c:pt>
                <c:pt idx="156">
                  <c:v>45202</c:v>
                </c:pt>
                <c:pt idx="157">
                  <c:v>45203</c:v>
                </c:pt>
                <c:pt idx="158">
                  <c:v>45204</c:v>
                </c:pt>
                <c:pt idx="159">
                  <c:v>45205</c:v>
                </c:pt>
                <c:pt idx="160">
                  <c:v>45208</c:v>
                </c:pt>
                <c:pt idx="161">
                  <c:v>45209</c:v>
                </c:pt>
                <c:pt idx="162">
                  <c:v>45210</c:v>
                </c:pt>
                <c:pt idx="163">
                  <c:v>45211</c:v>
                </c:pt>
                <c:pt idx="164">
                  <c:v>45212</c:v>
                </c:pt>
                <c:pt idx="165">
                  <c:v>45215</c:v>
                </c:pt>
                <c:pt idx="166">
                  <c:v>45216</c:v>
                </c:pt>
                <c:pt idx="167">
                  <c:v>45217</c:v>
                </c:pt>
                <c:pt idx="168">
                  <c:v>45218</c:v>
                </c:pt>
                <c:pt idx="169">
                  <c:v>45219</c:v>
                </c:pt>
                <c:pt idx="170">
                  <c:v>45222</c:v>
                </c:pt>
                <c:pt idx="171">
                  <c:v>45223</c:v>
                </c:pt>
                <c:pt idx="172">
                  <c:v>45224</c:v>
                </c:pt>
                <c:pt idx="173">
                  <c:v>45225</c:v>
                </c:pt>
                <c:pt idx="174">
                  <c:v>45226</c:v>
                </c:pt>
                <c:pt idx="175">
                  <c:v>45229</c:v>
                </c:pt>
                <c:pt idx="176">
                  <c:v>45230</c:v>
                </c:pt>
                <c:pt idx="177">
                  <c:v>45231</c:v>
                </c:pt>
                <c:pt idx="178">
                  <c:v>45232</c:v>
                </c:pt>
                <c:pt idx="179">
                  <c:v>45233</c:v>
                </c:pt>
                <c:pt idx="180">
                  <c:v>45236</c:v>
                </c:pt>
                <c:pt idx="181">
                  <c:v>45237</c:v>
                </c:pt>
                <c:pt idx="182">
                  <c:v>45238</c:v>
                </c:pt>
                <c:pt idx="183">
                  <c:v>45239</c:v>
                </c:pt>
                <c:pt idx="184">
                  <c:v>45240</c:v>
                </c:pt>
                <c:pt idx="185">
                  <c:v>45243</c:v>
                </c:pt>
                <c:pt idx="186">
                  <c:v>45244</c:v>
                </c:pt>
                <c:pt idx="187">
                  <c:v>45245</c:v>
                </c:pt>
                <c:pt idx="188">
                  <c:v>45246</c:v>
                </c:pt>
                <c:pt idx="189">
                  <c:v>45247</c:v>
                </c:pt>
                <c:pt idx="190">
                  <c:v>45250</c:v>
                </c:pt>
                <c:pt idx="191">
                  <c:v>45251</c:v>
                </c:pt>
                <c:pt idx="192">
                  <c:v>45252</c:v>
                </c:pt>
                <c:pt idx="193">
                  <c:v>45253</c:v>
                </c:pt>
                <c:pt idx="194">
                  <c:v>45254</c:v>
                </c:pt>
                <c:pt idx="195">
                  <c:v>45257</c:v>
                </c:pt>
                <c:pt idx="196">
                  <c:v>45258</c:v>
                </c:pt>
                <c:pt idx="197">
                  <c:v>45259</c:v>
                </c:pt>
                <c:pt idx="198">
                  <c:v>45260</c:v>
                </c:pt>
                <c:pt idx="199">
                  <c:v>45261</c:v>
                </c:pt>
                <c:pt idx="200">
                  <c:v>45264</c:v>
                </c:pt>
                <c:pt idx="201">
                  <c:v>45265</c:v>
                </c:pt>
                <c:pt idx="202">
                  <c:v>45266</c:v>
                </c:pt>
                <c:pt idx="203">
                  <c:v>45267</c:v>
                </c:pt>
                <c:pt idx="204">
                  <c:v>45268</c:v>
                </c:pt>
                <c:pt idx="205">
                  <c:v>45271</c:v>
                </c:pt>
                <c:pt idx="206">
                  <c:v>45272</c:v>
                </c:pt>
                <c:pt idx="207">
                  <c:v>45273</c:v>
                </c:pt>
                <c:pt idx="208">
                  <c:v>45274</c:v>
                </c:pt>
                <c:pt idx="209">
                  <c:v>45275</c:v>
                </c:pt>
                <c:pt idx="210">
                  <c:v>45278</c:v>
                </c:pt>
                <c:pt idx="211">
                  <c:v>45279</c:v>
                </c:pt>
                <c:pt idx="212">
                  <c:v>45280</c:v>
                </c:pt>
                <c:pt idx="213">
                  <c:v>45281</c:v>
                </c:pt>
                <c:pt idx="214">
                  <c:v>45282</c:v>
                </c:pt>
                <c:pt idx="215">
                  <c:v>45287</c:v>
                </c:pt>
                <c:pt idx="216">
                  <c:v>45288</c:v>
                </c:pt>
                <c:pt idx="217">
                  <c:v>45289</c:v>
                </c:pt>
                <c:pt idx="218">
                  <c:v>45293</c:v>
                </c:pt>
                <c:pt idx="219">
                  <c:v>45294</c:v>
                </c:pt>
                <c:pt idx="220">
                  <c:v>45295</c:v>
                </c:pt>
                <c:pt idx="221">
                  <c:v>45296</c:v>
                </c:pt>
                <c:pt idx="222">
                  <c:v>45299</c:v>
                </c:pt>
                <c:pt idx="223">
                  <c:v>45300</c:v>
                </c:pt>
                <c:pt idx="224">
                  <c:v>45301</c:v>
                </c:pt>
                <c:pt idx="225">
                  <c:v>45302</c:v>
                </c:pt>
                <c:pt idx="226">
                  <c:v>45303</c:v>
                </c:pt>
                <c:pt idx="227">
                  <c:v>45306</c:v>
                </c:pt>
                <c:pt idx="228">
                  <c:v>45307</c:v>
                </c:pt>
                <c:pt idx="229">
                  <c:v>45308</c:v>
                </c:pt>
                <c:pt idx="230">
                  <c:v>45309</c:v>
                </c:pt>
                <c:pt idx="231">
                  <c:v>45310</c:v>
                </c:pt>
                <c:pt idx="232">
                  <c:v>45313</c:v>
                </c:pt>
                <c:pt idx="233">
                  <c:v>45314</c:v>
                </c:pt>
                <c:pt idx="234">
                  <c:v>45315</c:v>
                </c:pt>
                <c:pt idx="235">
                  <c:v>45316</c:v>
                </c:pt>
                <c:pt idx="236">
                  <c:v>45317</c:v>
                </c:pt>
                <c:pt idx="237">
                  <c:v>45320</c:v>
                </c:pt>
                <c:pt idx="238">
                  <c:v>45321</c:v>
                </c:pt>
                <c:pt idx="239">
                  <c:v>45322</c:v>
                </c:pt>
                <c:pt idx="240">
                  <c:v>45323</c:v>
                </c:pt>
                <c:pt idx="241">
                  <c:v>45324</c:v>
                </c:pt>
                <c:pt idx="242">
                  <c:v>45327</c:v>
                </c:pt>
                <c:pt idx="243">
                  <c:v>45328</c:v>
                </c:pt>
                <c:pt idx="244">
                  <c:v>45329</c:v>
                </c:pt>
                <c:pt idx="245">
                  <c:v>45330</c:v>
                </c:pt>
                <c:pt idx="246">
                  <c:v>45331</c:v>
                </c:pt>
                <c:pt idx="247">
                  <c:v>45334</c:v>
                </c:pt>
                <c:pt idx="248">
                  <c:v>45335</c:v>
                </c:pt>
                <c:pt idx="249">
                  <c:v>45336</c:v>
                </c:pt>
                <c:pt idx="250">
                  <c:v>45337</c:v>
                </c:pt>
                <c:pt idx="251">
                  <c:v>45338</c:v>
                </c:pt>
                <c:pt idx="252">
                  <c:v>45341</c:v>
                </c:pt>
                <c:pt idx="253">
                  <c:v>45342</c:v>
                </c:pt>
                <c:pt idx="254">
                  <c:v>45343</c:v>
                </c:pt>
                <c:pt idx="255">
                  <c:v>45344</c:v>
                </c:pt>
                <c:pt idx="256">
                  <c:v>45345</c:v>
                </c:pt>
                <c:pt idx="257">
                  <c:v>45348</c:v>
                </c:pt>
                <c:pt idx="258">
                  <c:v>45349</c:v>
                </c:pt>
                <c:pt idx="259">
                  <c:v>45350</c:v>
                </c:pt>
                <c:pt idx="260">
                  <c:v>45351</c:v>
                </c:pt>
                <c:pt idx="261">
                  <c:v>45352</c:v>
                </c:pt>
                <c:pt idx="262">
                  <c:v>45355</c:v>
                </c:pt>
                <c:pt idx="263">
                  <c:v>45356</c:v>
                </c:pt>
                <c:pt idx="264">
                  <c:v>45357</c:v>
                </c:pt>
                <c:pt idx="265">
                  <c:v>45358</c:v>
                </c:pt>
                <c:pt idx="266">
                  <c:v>45359</c:v>
                </c:pt>
                <c:pt idx="267">
                  <c:v>45362</c:v>
                </c:pt>
                <c:pt idx="268">
                  <c:v>45363</c:v>
                </c:pt>
                <c:pt idx="269">
                  <c:v>45364</c:v>
                </c:pt>
                <c:pt idx="270">
                  <c:v>45365</c:v>
                </c:pt>
                <c:pt idx="271">
                  <c:v>45366</c:v>
                </c:pt>
                <c:pt idx="272">
                  <c:v>45369</c:v>
                </c:pt>
                <c:pt idx="273">
                  <c:v>45370</c:v>
                </c:pt>
                <c:pt idx="274">
                  <c:v>45371</c:v>
                </c:pt>
                <c:pt idx="275">
                  <c:v>45372</c:v>
                </c:pt>
                <c:pt idx="276">
                  <c:v>45373</c:v>
                </c:pt>
                <c:pt idx="277">
                  <c:v>45376</c:v>
                </c:pt>
                <c:pt idx="278">
                  <c:v>45377</c:v>
                </c:pt>
                <c:pt idx="279">
                  <c:v>45378</c:v>
                </c:pt>
                <c:pt idx="280">
                  <c:v>45384</c:v>
                </c:pt>
                <c:pt idx="281">
                  <c:v>45385</c:v>
                </c:pt>
                <c:pt idx="282">
                  <c:v>45386</c:v>
                </c:pt>
                <c:pt idx="283">
                  <c:v>45387</c:v>
                </c:pt>
                <c:pt idx="284">
                  <c:v>45390</c:v>
                </c:pt>
                <c:pt idx="285">
                  <c:v>45391</c:v>
                </c:pt>
                <c:pt idx="286">
                  <c:v>45392</c:v>
                </c:pt>
                <c:pt idx="287">
                  <c:v>45393</c:v>
                </c:pt>
                <c:pt idx="288">
                  <c:v>45394</c:v>
                </c:pt>
                <c:pt idx="289">
                  <c:v>45397</c:v>
                </c:pt>
                <c:pt idx="290">
                  <c:v>45398</c:v>
                </c:pt>
                <c:pt idx="291">
                  <c:v>45399</c:v>
                </c:pt>
                <c:pt idx="292">
                  <c:v>45400</c:v>
                </c:pt>
                <c:pt idx="293">
                  <c:v>45401</c:v>
                </c:pt>
                <c:pt idx="294">
                  <c:v>45404</c:v>
                </c:pt>
                <c:pt idx="295">
                  <c:v>45405</c:v>
                </c:pt>
                <c:pt idx="296">
                  <c:v>45406</c:v>
                </c:pt>
                <c:pt idx="297">
                  <c:v>45407</c:v>
                </c:pt>
                <c:pt idx="298">
                  <c:v>45408</c:v>
                </c:pt>
                <c:pt idx="299">
                  <c:v>45411</c:v>
                </c:pt>
                <c:pt idx="300">
                  <c:v>45412</c:v>
                </c:pt>
                <c:pt idx="301">
                  <c:v>45414</c:v>
                </c:pt>
                <c:pt idx="302">
                  <c:v>45415</c:v>
                </c:pt>
                <c:pt idx="303">
                  <c:v>45418</c:v>
                </c:pt>
                <c:pt idx="304">
                  <c:v>45419</c:v>
                </c:pt>
                <c:pt idx="305">
                  <c:v>45420</c:v>
                </c:pt>
                <c:pt idx="306">
                  <c:v>45422</c:v>
                </c:pt>
                <c:pt idx="307">
                  <c:v>45425</c:v>
                </c:pt>
                <c:pt idx="308">
                  <c:v>45426</c:v>
                </c:pt>
                <c:pt idx="309">
                  <c:v>45427</c:v>
                </c:pt>
                <c:pt idx="310">
                  <c:v>45428</c:v>
                </c:pt>
                <c:pt idx="311">
                  <c:v>45429</c:v>
                </c:pt>
                <c:pt idx="312">
                  <c:v>45432</c:v>
                </c:pt>
                <c:pt idx="313">
                  <c:v>45433</c:v>
                </c:pt>
                <c:pt idx="314">
                  <c:v>45434</c:v>
                </c:pt>
                <c:pt idx="315">
                  <c:v>45435</c:v>
                </c:pt>
                <c:pt idx="316">
                  <c:v>45436</c:v>
                </c:pt>
                <c:pt idx="317">
                  <c:v>45439</c:v>
                </c:pt>
                <c:pt idx="318">
                  <c:v>45440</c:v>
                </c:pt>
                <c:pt idx="319">
                  <c:v>45441</c:v>
                </c:pt>
                <c:pt idx="320">
                  <c:v>45442</c:v>
                </c:pt>
                <c:pt idx="321">
                  <c:v>45443</c:v>
                </c:pt>
                <c:pt idx="322">
                  <c:v>45446</c:v>
                </c:pt>
                <c:pt idx="323">
                  <c:v>45447</c:v>
                </c:pt>
                <c:pt idx="324">
                  <c:v>45448</c:v>
                </c:pt>
                <c:pt idx="325">
                  <c:v>45449</c:v>
                </c:pt>
                <c:pt idx="326">
                  <c:v>45450</c:v>
                </c:pt>
                <c:pt idx="327">
                  <c:v>45453</c:v>
                </c:pt>
                <c:pt idx="328">
                  <c:v>45454</c:v>
                </c:pt>
                <c:pt idx="329">
                  <c:v>45455</c:v>
                </c:pt>
                <c:pt idx="330">
                  <c:v>45456</c:v>
                </c:pt>
                <c:pt idx="331">
                  <c:v>45460</c:v>
                </c:pt>
                <c:pt idx="332">
                  <c:v>45461</c:v>
                </c:pt>
                <c:pt idx="333">
                  <c:v>45462</c:v>
                </c:pt>
                <c:pt idx="334">
                  <c:v>45463</c:v>
                </c:pt>
                <c:pt idx="335">
                  <c:v>45464</c:v>
                </c:pt>
                <c:pt idx="336">
                  <c:v>45467</c:v>
                </c:pt>
                <c:pt idx="337">
                  <c:v>45468</c:v>
                </c:pt>
                <c:pt idx="338">
                  <c:v>45469</c:v>
                </c:pt>
                <c:pt idx="339">
                  <c:v>45470</c:v>
                </c:pt>
                <c:pt idx="340">
                  <c:v>45471</c:v>
                </c:pt>
                <c:pt idx="341">
                  <c:v>45474</c:v>
                </c:pt>
                <c:pt idx="342">
                  <c:v>45475</c:v>
                </c:pt>
                <c:pt idx="343">
                  <c:v>45476</c:v>
                </c:pt>
                <c:pt idx="344">
                  <c:v>45477</c:v>
                </c:pt>
                <c:pt idx="345">
                  <c:v>45478</c:v>
                </c:pt>
                <c:pt idx="346">
                  <c:v>45481</c:v>
                </c:pt>
                <c:pt idx="347">
                  <c:v>45482</c:v>
                </c:pt>
                <c:pt idx="348">
                  <c:v>45483</c:v>
                </c:pt>
                <c:pt idx="349">
                  <c:v>45484</c:v>
                </c:pt>
                <c:pt idx="350">
                  <c:v>45485</c:v>
                </c:pt>
                <c:pt idx="351">
                  <c:v>45488</c:v>
                </c:pt>
                <c:pt idx="352">
                  <c:v>45489</c:v>
                </c:pt>
                <c:pt idx="353">
                  <c:v>45490</c:v>
                </c:pt>
                <c:pt idx="354">
                  <c:v>45491</c:v>
                </c:pt>
                <c:pt idx="355">
                  <c:v>45492</c:v>
                </c:pt>
                <c:pt idx="356">
                  <c:v>45495</c:v>
                </c:pt>
                <c:pt idx="357">
                  <c:v>45496</c:v>
                </c:pt>
                <c:pt idx="358">
                  <c:v>45497</c:v>
                </c:pt>
                <c:pt idx="359">
                  <c:v>45498</c:v>
                </c:pt>
                <c:pt idx="360">
                  <c:v>45499</c:v>
                </c:pt>
                <c:pt idx="361">
                  <c:v>45502</c:v>
                </c:pt>
                <c:pt idx="362">
                  <c:v>45503</c:v>
                </c:pt>
                <c:pt idx="363">
                  <c:v>45504</c:v>
                </c:pt>
                <c:pt idx="364">
                  <c:v>45505</c:v>
                </c:pt>
                <c:pt idx="365">
                  <c:v>45506</c:v>
                </c:pt>
                <c:pt idx="366">
                  <c:v>45509</c:v>
                </c:pt>
                <c:pt idx="367">
                  <c:v>45510</c:v>
                </c:pt>
                <c:pt idx="368">
                  <c:v>45511</c:v>
                </c:pt>
                <c:pt idx="369">
                  <c:v>45512</c:v>
                </c:pt>
                <c:pt idx="370">
                  <c:v>45513</c:v>
                </c:pt>
                <c:pt idx="371">
                  <c:v>45516</c:v>
                </c:pt>
                <c:pt idx="372">
                  <c:v>45517</c:v>
                </c:pt>
                <c:pt idx="373">
                  <c:v>45518</c:v>
                </c:pt>
                <c:pt idx="374">
                  <c:v>45519</c:v>
                </c:pt>
                <c:pt idx="375">
                  <c:v>45520</c:v>
                </c:pt>
                <c:pt idx="376">
                  <c:v>45523</c:v>
                </c:pt>
                <c:pt idx="377">
                  <c:v>45524</c:v>
                </c:pt>
                <c:pt idx="378">
                  <c:v>45525</c:v>
                </c:pt>
                <c:pt idx="379">
                  <c:v>45526</c:v>
                </c:pt>
                <c:pt idx="380">
                  <c:v>45527</c:v>
                </c:pt>
                <c:pt idx="381">
                  <c:v>45530</c:v>
                </c:pt>
                <c:pt idx="382">
                  <c:v>45531</c:v>
                </c:pt>
                <c:pt idx="383">
                  <c:v>45532</c:v>
                </c:pt>
                <c:pt idx="384">
                  <c:v>45533</c:v>
                </c:pt>
                <c:pt idx="385">
                  <c:v>45534</c:v>
                </c:pt>
                <c:pt idx="386">
                  <c:v>45537</c:v>
                </c:pt>
                <c:pt idx="387">
                  <c:v>45538</c:v>
                </c:pt>
                <c:pt idx="388">
                  <c:v>45539</c:v>
                </c:pt>
                <c:pt idx="389">
                  <c:v>45540</c:v>
                </c:pt>
                <c:pt idx="390">
                  <c:v>45541</c:v>
                </c:pt>
                <c:pt idx="391">
                  <c:v>45544</c:v>
                </c:pt>
                <c:pt idx="392">
                  <c:v>45545</c:v>
                </c:pt>
                <c:pt idx="393">
                  <c:v>45546</c:v>
                </c:pt>
                <c:pt idx="394">
                  <c:v>45547</c:v>
                </c:pt>
                <c:pt idx="395">
                  <c:v>45548</c:v>
                </c:pt>
                <c:pt idx="396">
                  <c:v>45551</c:v>
                </c:pt>
                <c:pt idx="397">
                  <c:v>45552</c:v>
                </c:pt>
                <c:pt idx="398">
                  <c:v>45553</c:v>
                </c:pt>
              </c:numCache>
            </c:numRef>
          </c:cat>
          <c:val>
            <c:numRef>
              <c:f>Sheet1!$AH$5:$AH$403</c:f>
              <c:numCache>
                <c:formatCode>General</c:formatCode>
                <c:ptCount val="399"/>
                <c:pt idx="0">
                  <c:v>6.75</c:v>
                </c:pt>
                <c:pt idx="1">
                  <c:v>6.7</c:v>
                </c:pt>
                <c:pt idx="2">
                  <c:v>6.6</c:v>
                </c:pt>
                <c:pt idx="3">
                  <c:v>7.25</c:v>
                </c:pt>
                <c:pt idx="4">
                  <c:v>7.4</c:v>
                </c:pt>
                <c:pt idx="5">
                  <c:v>8.3000000000000007</c:v>
                </c:pt>
                <c:pt idx="6">
                  <c:v>8.4</c:v>
                </c:pt>
                <c:pt idx="7">
                  <c:v>8.3000000000000007</c:v>
                </c:pt>
                <c:pt idx="8">
                  <c:v>8.0500000000000007</c:v>
                </c:pt>
                <c:pt idx="9">
                  <c:v>7.4</c:v>
                </c:pt>
                <c:pt idx="10">
                  <c:v>7.2</c:v>
                </c:pt>
                <c:pt idx="11">
                  <c:v>7.2</c:v>
                </c:pt>
                <c:pt idx="12">
                  <c:v>6.7</c:v>
                </c:pt>
                <c:pt idx="13">
                  <c:v>6.8</c:v>
                </c:pt>
                <c:pt idx="14">
                  <c:v>6.9</c:v>
                </c:pt>
                <c:pt idx="15">
                  <c:v>7</c:v>
                </c:pt>
                <c:pt idx="16">
                  <c:v>7.15</c:v>
                </c:pt>
                <c:pt idx="17">
                  <c:v>7.65</c:v>
                </c:pt>
                <c:pt idx="18">
                  <c:v>8</c:v>
                </c:pt>
                <c:pt idx="19">
                  <c:v>8.15</c:v>
                </c:pt>
                <c:pt idx="20">
                  <c:v>7.95</c:v>
                </c:pt>
                <c:pt idx="21">
                  <c:v>7.75</c:v>
                </c:pt>
                <c:pt idx="22">
                  <c:v>7.1</c:v>
                </c:pt>
                <c:pt idx="23">
                  <c:v>7.25</c:v>
                </c:pt>
                <c:pt idx="24">
                  <c:v>7.25</c:v>
                </c:pt>
                <c:pt idx="25">
                  <c:v>7.3</c:v>
                </c:pt>
                <c:pt idx="26">
                  <c:v>7.65</c:v>
                </c:pt>
                <c:pt idx="27">
                  <c:v>7.65</c:v>
                </c:pt>
                <c:pt idx="28">
                  <c:v>7.55</c:v>
                </c:pt>
                <c:pt idx="29">
                  <c:v>7.5</c:v>
                </c:pt>
                <c:pt idx="30">
                  <c:v>7.45</c:v>
                </c:pt>
                <c:pt idx="31">
                  <c:v>7.75</c:v>
                </c:pt>
                <c:pt idx="32">
                  <c:v>7.8</c:v>
                </c:pt>
                <c:pt idx="33">
                  <c:v>7.8</c:v>
                </c:pt>
                <c:pt idx="34">
                  <c:v>7.85</c:v>
                </c:pt>
                <c:pt idx="35">
                  <c:v>7.7</c:v>
                </c:pt>
                <c:pt idx="36">
                  <c:v>7.65</c:v>
                </c:pt>
                <c:pt idx="37">
                  <c:v>7.6</c:v>
                </c:pt>
                <c:pt idx="38">
                  <c:v>7.5</c:v>
                </c:pt>
                <c:pt idx="39">
                  <c:v>7.5</c:v>
                </c:pt>
                <c:pt idx="40">
                  <c:v>7.5</c:v>
                </c:pt>
                <c:pt idx="41">
                  <c:v>7.45</c:v>
                </c:pt>
                <c:pt idx="42">
                  <c:v>7.45</c:v>
                </c:pt>
                <c:pt idx="43">
                  <c:v>7.9</c:v>
                </c:pt>
                <c:pt idx="44">
                  <c:v>7.85</c:v>
                </c:pt>
                <c:pt idx="45">
                  <c:v>7.85</c:v>
                </c:pt>
                <c:pt idx="46">
                  <c:v>7.8</c:v>
                </c:pt>
                <c:pt idx="47">
                  <c:v>7.8</c:v>
                </c:pt>
                <c:pt idx="48">
                  <c:v>7.65</c:v>
                </c:pt>
                <c:pt idx="49">
                  <c:v>7.7</c:v>
                </c:pt>
                <c:pt idx="50">
                  <c:v>7.65</c:v>
                </c:pt>
                <c:pt idx="51">
                  <c:v>7.5</c:v>
                </c:pt>
                <c:pt idx="52">
                  <c:v>7.55</c:v>
                </c:pt>
                <c:pt idx="53">
                  <c:v>7.55</c:v>
                </c:pt>
                <c:pt idx="54">
                  <c:v>7.7</c:v>
                </c:pt>
                <c:pt idx="55">
                  <c:v>7.65</c:v>
                </c:pt>
                <c:pt idx="56">
                  <c:v>7.7</c:v>
                </c:pt>
                <c:pt idx="57">
                  <c:v>7.7</c:v>
                </c:pt>
                <c:pt idx="58">
                  <c:v>7.7</c:v>
                </c:pt>
                <c:pt idx="59">
                  <c:v>7.7</c:v>
                </c:pt>
                <c:pt idx="60">
                  <c:v>7.35</c:v>
                </c:pt>
                <c:pt idx="61">
                  <c:v>7.4</c:v>
                </c:pt>
                <c:pt idx="62">
                  <c:v>7.35</c:v>
                </c:pt>
                <c:pt idx="63">
                  <c:v>7.35</c:v>
                </c:pt>
                <c:pt idx="64">
                  <c:v>7.15</c:v>
                </c:pt>
                <c:pt idx="65">
                  <c:v>6.85</c:v>
                </c:pt>
                <c:pt idx="66">
                  <c:v>6.85</c:v>
                </c:pt>
                <c:pt idx="67">
                  <c:v>6.6</c:v>
                </c:pt>
                <c:pt idx="68">
                  <c:v>6.35</c:v>
                </c:pt>
                <c:pt idx="69">
                  <c:v>6.35</c:v>
                </c:pt>
                <c:pt idx="70">
                  <c:v>6.35</c:v>
                </c:pt>
                <c:pt idx="71">
                  <c:v>6.5</c:v>
                </c:pt>
                <c:pt idx="72">
                  <c:v>6.7</c:v>
                </c:pt>
                <c:pt idx="73">
                  <c:v>6.7</c:v>
                </c:pt>
                <c:pt idx="74">
                  <c:v>6.75</c:v>
                </c:pt>
                <c:pt idx="75">
                  <c:v>6.8</c:v>
                </c:pt>
                <c:pt idx="76">
                  <c:v>6.7</c:v>
                </c:pt>
                <c:pt idx="77">
                  <c:v>6.5</c:v>
                </c:pt>
                <c:pt idx="78">
                  <c:v>6.5</c:v>
                </c:pt>
                <c:pt idx="79">
                  <c:v>6.65</c:v>
                </c:pt>
                <c:pt idx="80">
                  <c:v>6.5</c:v>
                </c:pt>
                <c:pt idx="81">
                  <c:v>6.4</c:v>
                </c:pt>
                <c:pt idx="82">
                  <c:v>6.5</c:v>
                </c:pt>
                <c:pt idx="83">
                  <c:v>6.55</c:v>
                </c:pt>
                <c:pt idx="84">
                  <c:v>6.65</c:v>
                </c:pt>
                <c:pt idx="85">
                  <c:v>6.75</c:v>
                </c:pt>
                <c:pt idx="86">
                  <c:v>6.75</c:v>
                </c:pt>
                <c:pt idx="87">
                  <c:v>6.75</c:v>
                </c:pt>
                <c:pt idx="88">
                  <c:v>6.7</c:v>
                </c:pt>
                <c:pt idx="89">
                  <c:v>6.7</c:v>
                </c:pt>
                <c:pt idx="90">
                  <c:v>6.65</c:v>
                </c:pt>
                <c:pt idx="91">
                  <c:v>6.55</c:v>
                </c:pt>
                <c:pt idx="92">
                  <c:v>6.7</c:v>
                </c:pt>
                <c:pt idx="93">
                  <c:v>6.75</c:v>
                </c:pt>
                <c:pt idx="94">
                  <c:v>6.65</c:v>
                </c:pt>
                <c:pt idx="95">
                  <c:v>6.7</c:v>
                </c:pt>
                <c:pt idx="96">
                  <c:v>6.7</c:v>
                </c:pt>
                <c:pt idx="97">
                  <c:v>6.6</c:v>
                </c:pt>
                <c:pt idx="98">
                  <c:v>6.5</c:v>
                </c:pt>
                <c:pt idx="99">
                  <c:v>6.5</c:v>
                </c:pt>
                <c:pt idx="100">
                  <c:v>6.35</c:v>
                </c:pt>
                <c:pt idx="101">
                  <c:v>6.2</c:v>
                </c:pt>
                <c:pt idx="102">
                  <c:v>6.25</c:v>
                </c:pt>
                <c:pt idx="103">
                  <c:v>6.2</c:v>
                </c:pt>
                <c:pt idx="104">
                  <c:v>6.4</c:v>
                </c:pt>
                <c:pt idx="105">
                  <c:v>6.4</c:v>
                </c:pt>
                <c:pt idx="106">
                  <c:v>6.45</c:v>
                </c:pt>
                <c:pt idx="107">
                  <c:v>6.4</c:v>
                </c:pt>
                <c:pt idx="108">
                  <c:v>6.4</c:v>
                </c:pt>
                <c:pt idx="109">
                  <c:v>6.4</c:v>
                </c:pt>
                <c:pt idx="110">
                  <c:v>6.3</c:v>
                </c:pt>
                <c:pt idx="111">
                  <c:v>6.35</c:v>
                </c:pt>
                <c:pt idx="112">
                  <c:v>6.3</c:v>
                </c:pt>
                <c:pt idx="113">
                  <c:v>6.3</c:v>
                </c:pt>
                <c:pt idx="114">
                  <c:v>6.3</c:v>
                </c:pt>
                <c:pt idx="115">
                  <c:v>6.3</c:v>
                </c:pt>
                <c:pt idx="116">
                  <c:v>6.3</c:v>
                </c:pt>
                <c:pt idx="117">
                  <c:v>6.2</c:v>
                </c:pt>
                <c:pt idx="118">
                  <c:v>6.25</c:v>
                </c:pt>
                <c:pt idx="119">
                  <c:v>6.25</c:v>
                </c:pt>
                <c:pt idx="120">
                  <c:v>5.9</c:v>
                </c:pt>
                <c:pt idx="121">
                  <c:v>5.75</c:v>
                </c:pt>
                <c:pt idx="122">
                  <c:v>5.7</c:v>
                </c:pt>
                <c:pt idx="123">
                  <c:v>5.8</c:v>
                </c:pt>
                <c:pt idx="124">
                  <c:v>5.65</c:v>
                </c:pt>
                <c:pt idx="125">
                  <c:v>5.55</c:v>
                </c:pt>
                <c:pt idx="126">
                  <c:v>5.5</c:v>
                </c:pt>
                <c:pt idx="127">
                  <c:v>5.45</c:v>
                </c:pt>
                <c:pt idx="128">
                  <c:v>5.0999999999999996</c:v>
                </c:pt>
                <c:pt idx="129">
                  <c:v>5.35</c:v>
                </c:pt>
                <c:pt idx="130">
                  <c:v>5.35</c:v>
                </c:pt>
                <c:pt idx="131">
                  <c:v>5.5</c:v>
                </c:pt>
                <c:pt idx="132">
                  <c:v>5.65</c:v>
                </c:pt>
                <c:pt idx="133">
                  <c:v>5.75</c:v>
                </c:pt>
                <c:pt idx="134">
                  <c:v>5.9</c:v>
                </c:pt>
                <c:pt idx="135">
                  <c:v>6</c:v>
                </c:pt>
                <c:pt idx="136">
                  <c:v>5.9</c:v>
                </c:pt>
                <c:pt idx="137">
                  <c:v>5.9</c:v>
                </c:pt>
                <c:pt idx="138">
                  <c:v>6</c:v>
                </c:pt>
                <c:pt idx="139">
                  <c:v>5.7</c:v>
                </c:pt>
                <c:pt idx="140">
                  <c:v>5.55</c:v>
                </c:pt>
                <c:pt idx="141">
                  <c:v>5.4</c:v>
                </c:pt>
                <c:pt idx="142">
                  <c:v>5.45</c:v>
                </c:pt>
                <c:pt idx="143">
                  <c:v>5.35</c:v>
                </c:pt>
                <c:pt idx="144">
                  <c:v>5.3</c:v>
                </c:pt>
                <c:pt idx="145">
                  <c:v>5.2</c:v>
                </c:pt>
                <c:pt idx="146">
                  <c:v>5.05</c:v>
                </c:pt>
                <c:pt idx="147">
                  <c:v>5.15</c:v>
                </c:pt>
                <c:pt idx="148">
                  <c:v>5.5</c:v>
                </c:pt>
                <c:pt idx="149">
                  <c:v>5.45</c:v>
                </c:pt>
                <c:pt idx="150">
                  <c:v>5.25</c:v>
                </c:pt>
                <c:pt idx="151">
                  <c:v>5.3</c:v>
                </c:pt>
                <c:pt idx="152">
                  <c:v>5.2</c:v>
                </c:pt>
                <c:pt idx="153">
                  <c:v>5.2</c:v>
                </c:pt>
                <c:pt idx="154">
                  <c:v>4.95</c:v>
                </c:pt>
                <c:pt idx="155">
                  <c:v>5</c:v>
                </c:pt>
                <c:pt idx="156">
                  <c:v>4.95</c:v>
                </c:pt>
                <c:pt idx="157">
                  <c:v>4.9000000000000004</c:v>
                </c:pt>
                <c:pt idx="158">
                  <c:v>4.75</c:v>
                </c:pt>
                <c:pt idx="159">
                  <c:v>4.6500000000000004</c:v>
                </c:pt>
                <c:pt idx="160">
                  <c:v>4.6500000000000004</c:v>
                </c:pt>
                <c:pt idx="161">
                  <c:v>4.5999999999999996</c:v>
                </c:pt>
                <c:pt idx="162">
                  <c:v>4.55</c:v>
                </c:pt>
                <c:pt idx="163">
                  <c:v>4.5</c:v>
                </c:pt>
                <c:pt idx="164">
                  <c:v>4.4000000000000004</c:v>
                </c:pt>
                <c:pt idx="165">
                  <c:v>4.25</c:v>
                </c:pt>
                <c:pt idx="166">
                  <c:v>3.85</c:v>
                </c:pt>
                <c:pt idx="167">
                  <c:v>3.6</c:v>
                </c:pt>
                <c:pt idx="168">
                  <c:v>3.6</c:v>
                </c:pt>
                <c:pt idx="169">
                  <c:v>3.7</c:v>
                </c:pt>
                <c:pt idx="170">
                  <c:v>3.75</c:v>
                </c:pt>
                <c:pt idx="171">
                  <c:v>3.9</c:v>
                </c:pt>
                <c:pt idx="172">
                  <c:v>3.9</c:v>
                </c:pt>
                <c:pt idx="173">
                  <c:v>3.9</c:v>
                </c:pt>
                <c:pt idx="174">
                  <c:v>3.95</c:v>
                </c:pt>
                <c:pt idx="175">
                  <c:v>3.9</c:v>
                </c:pt>
                <c:pt idx="176">
                  <c:v>3.95</c:v>
                </c:pt>
                <c:pt idx="177">
                  <c:v>4.05</c:v>
                </c:pt>
                <c:pt idx="178">
                  <c:v>4.0999999999999996</c:v>
                </c:pt>
                <c:pt idx="179">
                  <c:v>4.05</c:v>
                </c:pt>
                <c:pt idx="180">
                  <c:v>4.05</c:v>
                </c:pt>
                <c:pt idx="181">
                  <c:v>4.05</c:v>
                </c:pt>
                <c:pt idx="182">
                  <c:v>4.2</c:v>
                </c:pt>
                <c:pt idx="183">
                  <c:v>4.0999999999999996</c:v>
                </c:pt>
                <c:pt idx="184">
                  <c:v>4</c:v>
                </c:pt>
                <c:pt idx="185">
                  <c:v>3.95</c:v>
                </c:pt>
                <c:pt idx="186">
                  <c:v>3.8</c:v>
                </c:pt>
                <c:pt idx="187">
                  <c:v>3.75</c:v>
                </c:pt>
                <c:pt idx="188">
                  <c:v>3.7</c:v>
                </c:pt>
                <c:pt idx="189">
                  <c:v>3.7</c:v>
                </c:pt>
                <c:pt idx="190">
                  <c:v>3.65</c:v>
                </c:pt>
                <c:pt idx="191">
                  <c:v>3.65</c:v>
                </c:pt>
                <c:pt idx="192">
                  <c:v>3.6</c:v>
                </c:pt>
                <c:pt idx="193">
                  <c:v>3.55</c:v>
                </c:pt>
                <c:pt idx="194">
                  <c:v>3.45</c:v>
                </c:pt>
                <c:pt idx="195">
                  <c:v>3.5</c:v>
                </c:pt>
                <c:pt idx="196">
                  <c:v>3.8</c:v>
                </c:pt>
                <c:pt idx="197">
                  <c:v>3.75</c:v>
                </c:pt>
                <c:pt idx="198">
                  <c:v>3.75</c:v>
                </c:pt>
                <c:pt idx="199">
                  <c:v>3.65</c:v>
                </c:pt>
                <c:pt idx="200">
                  <c:v>3.65</c:v>
                </c:pt>
                <c:pt idx="201">
                  <c:v>3.6</c:v>
                </c:pt>
                <c:pt idx="202">
                  <c:v>3.5</c:v>
                </c:pt>
                <c:pt idx="203">
                  <c:v>3.5</c:v>
                </c:pt>
                <c:pt idx="204">
                  <c:v>3.4</c:v>
                </c:pt>
                <c:pt idx="205">
                  <c:v>3.4</c:v>
                </c:pt>
                <c:pt idx="206">
                  <c:v>3.35</c:v>
                </c:pt>
                <c:pt idx="207">
                  <c:v>3.3</c:v>
                </c:pt>
                <c:pt idx="208">
                  <c:v>3.25</c:v>
                </c:pt>
                <c:pt idx="209">
                  <c:v>3.2</c:v>
                </c:pt>
                <c:pt idx="210">
                  <c:v>3.2</c:v>
                </c:pt>
                <c:pt idx="211">
                  <c:v>3.2</c:v>
                </c:pt>
                <c:pt idx="212">
                  <c:v>3.2</c:v>
                </c:pt>
                <c:pt idx="213">
                  <c:v>3.1</c:v>
                </c:pt>
                <c:pt idx="214">
                  <c:v>3.15</c:v>
                </c:pt>
                <c:pt idx="215">
                  <c:v>3.15</c:v>
                </c:pt>
                <c:pt idx="216">
                  <c:v>3.15</c:v>
                </c:pt>
                <c:pt idx="217">
                  <c:v>3.15</c:v>
                </c:pt>
                <c:pt idx="218">
                  <c:v>3.1</c:v>
                </c:pt>
                <c:pt idx="219">
                  <c:v>3.1</c:v>
                </c:pt>
                <c:pt idx="220">
                  <c:v>3.1</c:v>
                </c:pt>
                <c:pt idx="221">
                  <c:v>3</c:v>
                </c:pt>
                <c:pt idx="222">
                  <c:v>2.85</c:v>
                </c:pt>
                <c:pt idx="223">
                  <c:v>2.75</c:v>
                </c:pt>
                <c:pt idx="224">
                  <c:v>2.85</c:v>
                </c:pt>
                <c:pt idx="225">
                  <c:v>2.7</c:v>
                </c:pt>
                <c:pt idx="226">
                  <c:v>2.5499999999999998</c:v>
                </c:pt>
                <c:pt idx="227">
                  <c:v>2.5</c:v>
                </c:pt>
                <c:pt idx="228">
                  <c:v>2.2999999999999998</c:v>
                </c:pt>
                <c:pt idx="229">
                  <c:v>1.95</c:v>
                </c:pt>
                <c:pt idx="230">
                  <c:v>1.55</c:v>
                </c:pt>
                <c:pt idx="231">
                  <c:v>1.95</c:v>
                </c:pt>
                <c:pt idx="232">
                  <c:v>1.95</c:v>
                </c:pt>
                <c:pt idx="233">
                  <c:v>1.95</c:v>
                </c:pt>
                <c:pt idx="234">
                  <c:v>1.95</c:v>
                </c:pt>
                <c:pt idx="235">
                  <c:v>1.75</c:v>
                </c:pt>
                <c:pt idx="236">
                  <c:v>1.65</c:v>
                </c:pt>
                <c:pt idx="237">
                  <c:v>1.6</c:v>
                </c:pt>
                <c:pt idx="238">
                  <c:v>1.6</c:v>
                </c:pt>
                <c:pt idx="239">
                  <c:v>1.65</c:v>
                </c:pt>
                <c:pt idx="240">
                  <c:v>1.7</c:v>
                </c:pt>
                <c:pt idx="241">
                  <c:v>1.55</c:v>
                </c:pt>
                <c:pt idx="242">
                  <c:v>1.35</c:v>
                </c:pt>
                <c:pt idx="243">
                  <c:v>1.25</c:v>
                </c:pt>
                <c:pt idx="244">
                  <c:v>1.25</c:v>
                </c:pt>
                <c:pt idx="245">
                  <c:v>1.25</c:v>
                </c:pt>
                <c:pt idx="246">
                  <c:v>1.3</c:v>
                </c:pt>
                <c:pt idx="247">
                  <c:v>1.3</c:v>
                </c:pt>
                <c:pt idx="248">
                  <c:v>1.3</c:v>
                </c:pt>
                <c:pt idx="249">
                  <c:v>1.25</c:v>
                </c:pt>
                <c:pt idx="250">
                  <c:v>1.3</c:v>
                </c:pt>
                <c:pt idx="251">
                  <c:v>1.35</c:v>
                </c:pt>
                <c:pt idx="252">
                  <c:v>1.3</c:v>
                </c:pt>
                <c:pt idx="253">
                  <c:v>1.25</c:v>
                </c:pt>
                <c:pt idx="254">
                  <c:v>1.2</c:v>
                </c:pt>
                <c:pt idx="255">
                  <c:v>1.2</c:v>
                </c:pt>
                <c:pt idx="256">
                  <c:v>1.1499999999999999</c:v>
                </c:pt>
                <c:pt idx="257">
                  <c:v>1.1499999999999999</c:v>
                </c:pt>
                <c:pt idx="258">
                  <c:v>1.1000000000000001</c:v>
                </c:pt>
                <c:pt idx="259">
                  <c:v>1.1000000000000001</c:v>
                </c:pt>
                <c:pt idx="260">
                  <c:v>1.1499999999999999</c:v>
                </c:pt>
                <c:pt idx="261">
                  <c:v>1.1499999999999999</c:v>
                </c:pt>
                <c:pt idx="262">
                  <c:v>1.1499999999999999</c:v>
                </c:pt>
                <c:pt idx="263">
                  <c:v>1.1000000000000001</c:v>
                </c:pt>
                <c:pt idx="264">
                  <c:v>1.1000000000000001</c:v>
                </c:pt>
                <c:pt idx="265">
                  <c:v>1.1499999999999999</c:v>
                </c:pt>
                <c:pt idx="266">
                  <c:v>1.1499999999999999</c:v>
                </c:pt>
                <c:pt idx="267">
                  <c:v>1.1000000000000001</c:v>
                </c:pt>
                <c:pt idx="268">
                  <c:v>1.1000000000000001</c:v>
                </c:pt>
                <c:pt idx="269">
                  <c:v>1.05</c:v>
                </c:pt>
                <c:pt idx="270">
                  <c:v>0.9</c:v>
                </c:pt>
                <c:pt idx="271">
                  <c:v>0.9</c:v>
                </c:pt>
                <c:pt idx="272">
                  <c:v>0.8</c:v>
                </c:pt>
                <c:pt idx="273">
                  <c:v>0.75</c:v>
                </c:pt>
                <c:pt idx="274">
                  <c:v>0.7</c:v>
                </c:pt>
                <c:pt idx="275">
                  <c:v>0.7</c:v>
                </c:pt>
                <c:pt idx="276">
                  <c:v>0.6</c:v>
                </c:pt>
                <c:pt idx="277">
                  <c:v>0.6</c:v>
                </c:pt>
                <c:pt idx="278">
                  <c:v>0.55000000000000004</c:v>
                </c:pt>
                <c:pt idx="279">
                  <c:v>0.55000000000000004</c:v>
                </c:pt>
                <c:pt idx="280">
                  <c:v>0.55000000000000004</c:v>
                </c:pt>
                <c:pt idx="281">
                  <c:v>0.6</c:v>
                </c:pt>
                <c:pt idx="282">
                  <c:v>0.65</c:v>
                </c:pt>
                <c:pt idx="283">
                  <c:v>0.65</c:v>
                </c:pt>
                <c:pt idx="284">
                  <c:v>0.65</c:v>
                </c:pt>
                <c:pt idx="285">
                  <c:v>0.7</c:v>
                </c:pt>
                <c:pt idx="286">
                  <c:v>0.8</c:v>
                </c:pt>
                <c:pt idx="287">
                  <c:v>0.75</c:v>
                </c:pt>
                <c:pt idx="288">
                  <c:v>0.8</c:v>
                </c:pt>
                <c:pt idx="289">
                  <c:v>0.8</c:v>
                </c:pt>
                <c:pt idx="290">
                  <c:v>0.8</c:v>
                </c:pt>
                <c:pt idx="291">
                  <c:v>0.75</c:v>
                </c:pt>
                <c:pt idx="292">
                  <c:v>0.8</c:v>
                </c:pt>
                <c:pt idx="293">
                  <c:v>0.8</c:v>
                </c:pt>
                <c:pt idx="294">
                  <c:v>0.8</c:v>
                </c:pt>
                <c:pt idx="295">
                  <c:v>0.8</c:v>
                </c:pt>
                <c:pt idx="296">
                  <c:v>0.8</c:v>
                </c:pt>
                <c:pt idx="297">
                  <c:v>0.8</c:v>
                </c:pt>
                <c:pt idx="298">
                  <c:v>0.8</c:v>
                </c:pt>
                <c:pt idx="299">
                  <c:v>0.8</c:v>
                </c:pt>
                <c:pt idx="300">
                  <c:v>0.7</c:v>
                </c:pt>
                <c:pt idx="301">
                  <c:v>0.65</c:v>
                </c:pt>
                <c:pt idx="302">
                  <c:v>0.6</c:v>
                </c:pt>
                <c:pt idx="303">
                  <c:v>0.55000000000000004</c:v>
                </c:pt>
                <c:pt idx="304">
                  <c:v>0.55000000000000004</c:v>
                </c:pt>
                <c:pt idx="305">
                  <c:v>0.5</c:v>
                </c:pt>
                <c:pt idx="306">
                  <c:v>0.5</c:v>
                </c:pt>
                <c:pt idx="307">
                  <c:v>0.45</c:v>
                </c:pt>
                <c:pt idx="308">
                  <c:v>0.45</c:v>
                </c:pt>
                <c:pt idx="309">
                  <c:v>0.4</c:v>
                </c:pt>
                <c:pt idx="310">
                  <c:v>0.3</c:v>
                </c:pt>
                <c:pt idx="311">
                  <c:v>0.35</c:v>
                </c:pt>
                <c:pt idx="312">
                  <c:v>0.35</c:v>
                </c:pt>
                <c:pt idx="313">
                  <c:v>0.45</c:v>
                </c:pt>
                <c:pt idx="314">
                  <c:v>0.45</c:v>
                </c:pt>
                <c:pt idx="315">
                  <c:v>0.45</c:v>
                </c:pt>
                <c:pt idx="316">
                  <c:v>0.5</c:v>
                </c:pt>
                <c:pt idx="317">
                  <c:v>0.5</c:v>
                </c:pt>
                <c:pt idx="318">
                  <c:v>0.45</c:v>
                </c:pt>
                <c:pt idx="319">
                  <c:v>0.45</c:v>
                </c:pt>
                <c:pt idx="320">
                  <c:v>0.45</c:v>
                </c:pt>
                <c:pt idx="321">
                  <c:v>0.4</c:v>
                </c:pt>
                <c:pt idx="322">
                  <c:v>0.5</c:v>
                </c:pt>
                <c:pt idx="323">
                  <c:v>0.5</c:v>
                </c:pt>
                <c:pt idx="324">
                  <c:v>0.52500000000000002</c:v>
                </c:pt>
                <c:pt idx="325">
                  <c:v>0.52500000000000002</c:v>
                </c:pt>
                <c:pt idx="326">
                  <c:v>0.52500000000000002</c:v>
                </c:pt>
                <c:pt idx="327">
                  <c:v>0.52500000000000002</c:v>
                </c:pt>
                <c:pt idx="328">
                  <c:v>0.52500000000000002</c:v>
                </c:pt>
                <c:pt idx="329">
                  <c:v>0.5</c:v>
                </c:pt>
                <c:pt idx="330">
                  <c:v>0.5</c:v>
                </c:pt>
                <c:pt idx="331">
                  <c:v>0.55000000000000004</c:v>
                </c:pt>
                <c:pt idx="332">
                  <c:v>0.5</c:v>
                </c:pt>
                <c:pt idx="333">
                  <c:v>0.55000000000000004</c:v>
                </c:pt>
                <c:pt idx="334">
                  <c:v>0.5</c:v>
                </c:pt>
                <c:pt idx="335">
                  <c:v>0.5</c:v>
                </c:pt>
                <c:pt idx="336">
                  <c:v>0.5</c:v>
                </c:pt>
                <c:pt idx="337">
                  <c:v>0.5</c:v>
                </c:pt>
                <c:pt idx="338">
                  <c:v>0.5</c:v>
                </c:pt>
                <c:pt idx="339">
                  <c:v>0.5</c:v>
                </c:pt>
                <c:pt idx="340">
                  <c:v>0.5</c:v>
                </c:pt>
                <c:pt idx="341">
                  <c:v>0.5</c:v>
                </c:pt>
                <c:pt idx="342">
                  <c:v>0.5</c:v>
                </c:pt>
                <c:pt idx="343">
                  <c:v>0.5</c:v>
                </c:pt>
                <c:pt idx="344">
                  <c:v>0.5</c:v>
                </c:pt>
                <c:pt idx="345">
                  <c:v>0.5</c:v>
                </c:pt>
                <c:pt idx="346">
                  <c:v>0.5</c:v>
                </c:pt>
                <c:pt idx="347">
                  <c:v>0.5</c:v>
                </c:pt>
                <c:pt idx="348">
                  <c:v>0.55000000000000004</c:v>
                </c:pt>
                <c:pt idx="349">
                  <c:v>0.55000000000000004</c:v>
                </c:pt>
                <c:pt idx="350">
                  <c:v>0.55000000000000004</c:v>
                </c:pt>
                <c:pt idx="351">
                  <c:v>0.55000000000000004</c:v>
                </c:pt>
                <c:pt idx="352">
                  <c:v>0.5</c:v>
                </c:pt>
                <c:pt idx="353">
                  <c:v>0.5</c:v>
                </c:pt>
                <c:pt idx="354">
                  <c:v>0.5</c:v>
                </c:pt>
                <c:pt idx="355">
                  <c:v>0.5</c:v>
                </c:pt>
                <c:pt idx="356">
                  <c:v>0.55000000000000004</c:v>
                </c:pt>
                <c:pt idx="357">
                  <c:v>0.55000000000000004</c:v>
                </c:pt>
                <c:pt idx="358">
                  <c:v>0.55000000000000004</c:v>
                </c:pt>
                <c:pt idx="359">
                  <c:v>0.55000000000000004</c:v>
                </c:pt>
                <c:pt idx="360">
                  <c:v>0.55000000000000004</c:v>
                </c:pt>
                <c:pt idx="361">
                  <c:v>0.6</c:v>
                </c:pt>
                <c:pt idx="362">
                  <c:v>0.6</c:v>
                </c:pt>
                <c:pt idx="363">
                  <c:v>0.6</c:v>
                </c:pt>
                <c:pt idx="364">
                  <c:v>0.6</c:v>
                </c:pt>
                <c:pt idx="365">
                  <c:v>0.55000000000000004</c:v>
                </c:pt>
                <c:pt idx="366">
                  <c:v>0.55000000000000004</c:v>
                </c:pt>
                <c:pt idx="367">
                  <c:v>0.55000000000000004</c:v>
                </c:pt>
                <c:pt idx="368">
                  <c:v>0.6</c:v>
                </c:pt>
                <c:pt idx="369">
                  <c:v>0.6</c:v>
                </c:pt>
                <c:pt idx="370">
                  <c:v>0.6</c:v>
                </c:pt>
                <c:pt idx="371">
                  <c:v>0.6</c:v>
                </c:pt>
                <c:pt idx="372">
                  <c:v>0.6</c:v>
                </c:pt>
                <c:pt idx="373">
                  <c:v>0.6</c:v>
                </c:pt>
                <c:pt idx="374">
                  <c:v>0.6</c:v>
                </c:pt>
                <c:pt idx="375">
                  <c:v>0.6</c:v>
                </c:pt>
                <c:pt idx="376">
                  <c:v>0.6</c:v>
                </c:pt>
                <c:pt idx="377">
                  <c:v>0.6</c:v>
                </c:pt>
                <c:pt idx="378">
                  <c:v>0.6</c:v>
                </c:pt>
                <c:pt idx="379">
                  <c:v>0.6</c:v>
                </c:pt>
                <c:pt idx="380">
                  <c:v>0.6</c:v>
                </c:pt>
                <c:pt idx="381">
                  <c:v>0.6</c:v>
                </c:pt>
                <c:pt idx="382">
                  <c:v>0.6</c:v>
                </c:pt>
                <c:pt idx="383">
                  <c:v>0.6</c:v>
                </c:pt>
                <c:pt idx="384">
                  <c:v>0.6</c:v>
                </c:pt>
                <c:pt idx="385">
                  <c:v>0.6</c:v>
                </c:pt>
                <c:pt idx="386">
                  <c:v>0.6</c:v>
                </c:pt>
                <c:pt idx="387">
                  <c:v>0.6</c:v>
                </c:pt>
                <c:pt idx="388">
                  <c:v>0.6</c:v>
                </c:pt>
                <c:pt idx="389">
                  <c:v>0.6</c:v>
                </c:pt>
                <c:pt idx="390">
                  <c:v>0.6</c:v>
                </c:pt>
                <c:pt idx="391">
                  <c:v>0.55000000000000004</c:v>
                </c:pt>
                <c:pt idx="392">
                  <c:v>0.55000000000000004</c:v>
                </c:pt>
                <c:pt idx="393">
                  <c:v>0.55000000000000004</c:v>
                </c:pt>
                <c:pt idx="394">
                  <c:v>0.55000000000000004</c:v>
                </c:pt>
                <c:pt idx="395">
                  <c:v>0.55000000000000004</c:v>
                </c:pt>
                <c:pt idx="396">
                  <c:v>0.55000000000000004</c:v>
                </c:pt>
                <c:pt idx="397">
                  <c:v>0.55000000000000004</c:v>
                </c:pt>
                <c:pt idx="398">
                  <c:v>0.5</c:v>
                </c:pt>
              </c:numCache>
            </c:numRef>
          </c:val>
          <c:smooth val="0"/>
          <c:extLst>
            <c:ext xmlns:c16="http://schemas.microsoft.com/office/drawing/2014/chart" uri="{C3380CC4-5D6E-409C-BE32-E72D297353CC}">
              <c16:uniqueId val="{00000000-C4AD-48A5-A644-B23C46E2CB74}"/>
            </c:ext>
          </c:extLst>
        </c:ser>
        <c:ser>
          <c:idx val="0"/>
          <c:order val="1"/>
          <c:tx>
            <c:strRef>
              <c:f>Sheet1!$B$1</c:f>
              <c:strCache>
                <c:ptCount val="1"/>
                <c:pt idx="0">
                  <c:v>MMP GO Hydro Cal-2024</c:v>
                </c:pt>
              </c:strCache>
            </c:strRef>
          </c:tx>
          <c:spPr>
            <a:ln w="28575" cap="rnd">
              <a:solidFill>
                <a:schemeClr val="accent1"/>
              </a:solidFill>
              <a:round/>
            </a:ln>
            <a:effectLst/>
          </c:spPr>
          <c:marker>
            <c:symbol val="none"/>
          </c:marker>
          <c:cat>
            <c:numRef>
              <c:f>Sheet1!$AG$5:$AG$403</c:f>
              <c:numCache>
                <c:formatCode>m/d/yyyy</c:formatCode>
                <c:ptCount val="399"/>
                <c:pt idx="0">
                  <c:v>44977</c:v>
                </c:pt>
                <c:pt idx="1">
                  <c:v>44978</c:v>
                </c:pt>
                <c:pt idx="2">
                  <c:v>44979</c:v>
                </c:pt>
                <c:pt idx="3">
                  <c:v>44980</c:v>
                </c:pt>
                <c:pt idx="4">
                  <c:v>44981</c:v>
                </c:pt>
                <c:pt idx="5">
                  <c:v>44987</c:v>
                </c:pt>
                <c:pt idx="6">
                  <c:v>44988</c:v>
                </c:pt>
                <c:pt idx="7">
                  <c:v>44991</c:v>
                </c:pt>
                <c:pt idx="8">
                  <c:v>44992</c:v>
                </c:pt>
                <c:pt idx="9">
                  <c:v>44993</c:v>
                </c:pt>
                <c:pt idx="10">
                  <c:v>44994</c:v>
                </c:pt>
                <c:pt idx="11">
                  <c:v>44995</c:v>
                </c:pt>
                <c:pt idx="12">
                  <c:v>44998</c:v>
                </c:pt>
                <c:pt idx="13">
                  <c:v>44999</c:v>
                </c:pt>
                <c:pt idx="14">
                  <c:v>45000</c:v>
                </c:pt>
                <c:pt idx="15">
                  <c:v>45001</c:v>
                </c:pt>
                <c:pt idx="16">
                  <c:v>45002</c:v>
                </c:pt>
                <c:pt idx="17">
                  <c:v>45005</c:v>
                </c:pt>
                <c:pt idx="18">
                  <c:v>45006</c:v>
                </c:pt>
                <c:pt idx="19">
                  <c:v>45007</c:v>
                </c:pt>
                <c:pt idx="20">
                  <c:v>45008</c:v>
                </c:pt>
                <c:pt idx="21">
                  <c:v>45009</c:v>
                </c:pt>
                <c:pt idx="22">
                  <c:v>45012</c:v>
                </c:pt>
                <c:pt idx="23">
                  <c:v>45013</c:v>
                </c:pt>
                <c:pt idx="24">
                  <c:v>45014</c:v>
                </c:pt>
                <c:pt idx="25">
                  <c:v>45015</c:v>
                </c:pt>
                <c:pt idx="26">
                  <c:v>45016</c:v>
                </c:pt>
                <c:pt idx="27">
                  <c:v>45019</c:v>
                </c:pt>
                <c:pt idx="28">
                  <c:v>45020</c:v>
                </c:pt>
                <c:pt idx="29">
                  <c:v>45021</c:v>
                </c:pt>
                <c:pt idx="30">
                  <c:v>45027</c:v>
                </c:pt>
                <c:pt idx="31">
                  <c:v>45028</c:v>
                </c:pt>
                <c:pt idx="32">
                  <c:v>45029</c:v>
                </c:pt>
                <c:pt idx="33">
                  <c:v>45030</c:v>
                </c:pt>
                <c:pt idx="34">
                  <c:v>45033</c:v>
                </c:pt>
                <c:pt idx="35">
                  <c:v>45034</c:v>
                </c:pt>
                <c:pt idx="36">
                  <c:v>45035</c:v>
                </c:pt>
                <c:pt idx="37">
                  <c:v>45036</c:v>
                </c:pt>
                <c:pt idx="38">
                  <c:v>45037</c:v>
                </c:pt>
                <c:pt idx="39">
                  <c:v>45040</c:v>
                </c:pt>
                <c:pt idx="40">
                  <c:v>45041</c:v>
                </c:pt>
                <c:pt idx="41">
                  <c:v>45042</c:v>
                </c:pt>
                <c:pt idx="42">
                  <c:v>45043</c:v>
                </c:pt>
                <c:pt idx="43">
                  <c:v>45044</c:v>
                </c:pt>
                <c:pt idx="44">
                  <c:v>45048</c:v>
                </c:pt>
                <c:pt idx="45">
                  <c:v>45049</c:v>
                </c:pt>
                <c:pt idx="46">
                  <c:v>45050</c:v>
                </c:pt>
                <c:pt idx="47">
                  <c:v>45051</c:v>
                </c:pt>
                <c:pt idx="48">
                  <c:v>45054</c:v>
                </c:pt>
                <c:pt idx="49">
                  <c:v>45055</c:v>
                </c:pt>
                <c:pt idx="50">
                  <c:v>45056</c:v>
                </c:pt>
                <c:pt idx="51">
                  <c:v>45057</c:v>
                </c:pt>
                <c:pt idx="52">
                  <c:v>45058</c:v>
                </c:pt>
                <c:pt idx="53">
                  <c:v>45061</c:v>
                </c:pt>
                <c:pt idx="54">
                  <c:v>45062</c:v>
                </c:pt>
                <c:pt idx="55">
                  <c:v>45063</c:v>
                </c:pt>
                <c:pt idx="56">
                  <c:v>45064</c:v>
                </c:pt>
                <c:pt idx="57">
                  <c:v>45065</c:v>
                </c:pt>
                <c:pt idx="58">
                  <c:v>45068</c:v>
                </c:pt>
                <c:pt idx="59">
                  <c:v>45069</c:v>
                </c:pt>
                <c:pt idx="60">
                  <c:v>45070</c:v>
                </c:pt>
                <c:pt idx="61">
                  <c:v>45071</c:v>
                </c:pt>
                <c:pt idx="62">
                  <c:v>45072</c:v>
                </c:pt>
                <c:pt idx="63">
                  <c:v>45075</c:v>
                </c:pt>
                <c:pt idx="64">
                  <c:v>45076</c:v>
                </c:pt>
                <c:pt idx="65">
                  <c:v>45077</c:v>
                </c:pt>
                <c:pt idx="66">
                  <c:v>45078</c:v>
                </c:pt>
                <c:pt idx="67">
                  <c:v>45079</c:v>
                </c:pt>
                <c:pt idx="68">
                  <c:v>45081</c:v>
                </c:pt>
                <c:pt idx="69">
                  <c:v>45082</c:v>
                </c:pt>
                <c:pt idx="70">
                  <c:v>45083</c:v>
                </c:pt>
                <c:pt idx="71">
                  <c:v>45084</c:v>
                </c:pt>
                <c:pt idx="72">
                  <c:v>45085</c:v>
                </c:pt>
                <c:pt idx="73">
                  <c:v>45086</c:v>
                </c:pt>
                <c:pt idx="74">
                  <c:v>45089</c:v>
                </c:pt>
                <c:pt idx="75">
                  <c:v>45090</c:v>
                </c:pt>
                <c:pt idx="76">
                  <c:v>45091</c:v>
                </c:pt>
                <c:pt idx="77">
                  <c:v>45092</c:v>
                </c:pt>
                <c:pt idx="78">
                  <c:v>45093</c:v>
                </c:pt>
                <c:pt idx="79">
                  <c:v>45096</c:v>
                </c:pt>
                <c:pt idx="80">
                  <c:v>45097</c:v>
                </c:pt>
                <c:pt idx="81">
                  <c:v>45098</c:v>
                </c:pt>
                <c:pt idx="82">
                  <c:v>45099</c:v>
                </c:pt>
                <c:pt idx="83">
                  <c:v>45100</c:v>
                </c:pt>
                <c:pt idx="84">
                  <c:v>45103</c:v>
                </c:pt>
                <c:pt idx="85">
                  <c:v>45104</c:v>
                </c:pt>
                <c:pt idx="86">
                  <c:v>45105</c:v>
                </c:pt>
                <c:pt idx="87">
                  <c:v>45106</c:v>
                </c:pt>
                <c:pt idx="88">
                  <c:v>45107</c:v>
                </c:pt>
                <c:pt idx="89">
                  <c:v>45110</c:v>
                </c:pt>
                <c:pt idx="90">
                  <c:v>45111</c:v>
                </c:pt>
                <c:pt idx="91">
                  <c:v>45112</c:v>
                </c:pt>
                <c:pt idx="92">
                  <c:v>45113</c:v>
                </c:pt>
                <c:pt idx="93">
                  <c:v>45114</c:v>
                </c:pt>
                <c:pt idx="94">
                  <c:v>45117</c:v>
                </c:pt>
                <c:pt idx="95">
                  <c:v>45118</c:v>
                </c:pt>
                <c:pt idx="96">
                  <c:v>45119</c:v>
                </c:pt>
                <c:pt idx="97">
                  <c:v>45120</c:v>
                </c:pt>
                <c:pt idx="98">
                  <c:v>45121</c:v>
                </c:pt>
                <c:pt idx="99">
                  <c:v>45124</c:v>
                </c:pt>
                <c:pt idx="100">
                  <c:v>45125</c:v>
                </c:pt>
                <c:pt idx="101">
                  <c:v>45126</c:v>
                </c:pt>
                <c:pt idx="102">
                  <c:v>45127</c:v>
                </c:pt>
                <c:pt idx="103">
                  <c:v>45128</c:v>
                </c:pt>
                <c:pt idx="104">
                  <c:v>45131</c:v>
                </c:pt>
                <c:pt idx="105">
                  <c:v>45132</c:v>
                </c:pt>
                <c:pt idx="106">
                  <c:v>45133</c:v>
                </c:pt>
                <c:pt idx="107">
                  <c:v>45134</c:v>
                </c:pt>
                <c:pt idx="108">
                  <c:v>45135</c:v>
                </c:pt>
                <c:pt idx="109">
                  <c:v>45138</c:v>
                </c:pt>
                <c:pt idx="110">
                  <c:v>45139</c:v>
                </c:pt>
                <c:pt idx="111">
                  <c:v>45140</c:v>
                </c:pt>
                <c:pt idx="112">
                  <c:v>45141</c:v>
                </c:pt>
                <c:pt idx="113">
                  <c:v>45142</c:v>
                </c:pt>
                <c:pt idx="114">
                  <c:v>45143</c:v>
                </c:pt>
                <c:pt idx="115">
                  <c:v>45145</c:v>
                </c:pt>
                <c:pt idx="116">
                  <c:v>45146</c:v>
                </c:pt>
                <c:pt idx="117">
                  <c:v>45147</c:v>
                </c:pt>
                <c:pt idx="118">
                  <c:v>45148</c:v>
                </c:pt>
                <c:pt idx="119">
                  <c:v>45149</c:v>
                </c:pt>
                <c:pt idx="120">
                  <c:v>45152</c:v>
                </c:pt>
                <c:pt idx="121">
                  <c:v>45153</c:v>
                </c:pt>
                <c:pt idx="122">
                  <c:v>45154</c:v>
                </c:pt>
                <c:pt idx="123">
                  <c:v>45155</c:v>
                </c:pt>
                <c:pt idx="124">
                  <c:v>45156</c:v>
                </c:pt>
                <c:pt idx="125">
                  <c:v>45159</c:v>
                </c:pt>
                <c:pt idx="126">
                  <c:v>45160</c:v>
                </c:pt>
                <c:pt idx="127">
                  <c:v>45161</c:v>
                </c:pt>
                <c:pt idx="128">
                  <c:v>45162</c:v>
                </c:pt>
                <c:pt idx="129">
                  <c:v>45163</c:v>
                </c:pt>
                <c:pt idx="130">
                  <c:v>45166</c:v>
                </c:pt>
                <c:pt idx="131">
                  <c:v>45167</c:v>
                </c:pt>
                <c:pt idx="132">
                  <c:v>45168</c:v>
                </c:pt>
                <c:pt idx="133">
                  <c:v>45169</c:v>
                </c:pt>
                <c:pt idx="134">
                  <c:v>45170</c:v>
                </c:pt>
                <c:pt idx="135">
                  <c:v>45173</c:v>
                </c:pt>
                <c:pt idx="136">
                  <c:v>45174</c:v>
                </c:pt>
                <c:pt idx="137">
                  <c:v>45175</c:v>
                </c:pt>
                <c:pt idx="138">
                  <c:v>45176</c:v>
                </c:pt>
                <c:pt idx="139">
                  <c:v>45177</c:v>
                </c:pt>
                <c:pt idx="140">
                  <c:v>45180</c:v>
                </c:pt>
                <c:pt idx="141">
                  <c:v>45181</c:v>
                </c:pt>
                <c:pt idx="142">
                  <c:v>45182</c:v>
                </c:pt>
                <c:pt idx="143">
                  <c:v>45183</c:v>
                </c:pt>
                <c:pt idx="144">
                  <c:v>45184</c:v>
                </c:pt>
                <c:pt idx="145">
                  <c:v>45187</c:v>
                </c:pt>
                <c:pt idx="146">
                  <c:v>45188</c:v>
                </c:pt>
                <c:pt idx="147">
                  <c:v>45189</c:v>
                </c:pt>
                <c:pt idx="148">
                  <c:v>45190</c:v>
                </c:pt>
                <c:pt idx="149">
                  <c:v>45191</c:v>
                </c:pt>
                <c:pt idx="150">
                  <c:v>45194</c:v>
                </c:pt>
                <c:pt idx="151">
                  <c:v>45195</c:v>
                </c:pt>
                <c:pt idx="152">
                  <c:v>45196</c:v>
                </c:pt>
                <c:pt idx="153">
                  <c:v>45197</c:v>
                </c:pt>
                <c:pt idx="154">
                  <c:v>45198</c:v>
                </c:pt>
                <c:pt idx="155">
                  <c:v>45201</c:v>
                </c:pt>
                <c:pt idx="156">
                  <c:v>45202</c:v>
                </c:pt>
                <c:pt idx="157">
                  <c:v>45203</c:v>
                </c:pt>
                <c:pt idx="158">
                  <c:v>45204</c:v>
                </c:pt>
                <c:pt idx="159">
                  <c:v>45205</c:v>
                </c:pt>
                <c:pt idx="160">
                  <c:v>45208</c:v>
                </c:pt>
                <c:pt idx="161">
                  <c:v>45209</c:v>
                </c:pt>
                <c:pt idx="162">
                  <c:v>45210</c:v>
                </c:pt>
                <c:pt idx="163">
                  <c:v>45211</c:v>
                </c:pt>
                <c:pt idx="164">
                  <c:v>45212</c:v>
                </c:pt>
                <c:pt idx="165">
                  <c:v>45215</c:v>
                </c:pt>
                <c:pt idx="166">
                  <c:v>45216</c:v>
                </c:pt>
                <c:pt idx="167">
                  <c:v>45217</c:v>
                </c:pt>
                <c:pt idx="168">
                  <c:v>45218</c:v>
                </c:pt>
                <c:pt idx="169">
                  <c:v>45219</c:v>
                </c:pt>
                <c:pt idx="170">
                  <c:v>45222</c:v>
                </c:pt>
                <c:pt idx="171">
                  <c:v>45223</c:v>
                </c:pt>
                <c:pt idx="172">
                  <c:v>45224</c:v>
                </c:pt>
                <c:pt idx="173">
                  <c:v>45225</c:v>
                </c:pt>
                <c:pt idx="174">
                  <c:v>45226</c:v>
                </c:pt>
                <c:pt idx="175">
                  <c:v>45229</c:v>
                </c:pt>
                <c:pt idx="176">
                  <c:v>45230</c:v>
                </c:pt>
                <c:pt idx="177">
                  <c:v>45231</c:v>
                </c:pt>
                <c:pt idx="178">
                  <c:v>45232</c:v>
                </c:pt>
                <c:pt idx="179">
                  <c:v>45233</c:v>
                </c:pt>
                <c:pt idx="180">
                  <c:v>45236</c:v>
                </c:pt>
                <c:pt idx="181">
                  <c:v>45237</c:v>
                </c:pt>
                <c:pt idx="182">
                  <c:v>45238</c:v>
                </c:pt>
                <c:pt idx="183">
                  <c:v>45239</c:v>
                </c:pt>
                <c:pt idx="184">
                  <c:v>45240</c:v>
                </c:pt>
                <c:pt idx="185">
                  <c:v>45243</c:v>
                </c:pt>
                <c:pt idx="186">
                  <c:v>45244</c:v>
                </c:pt>
                <c:pt idx="187">
                  <c:v>45245</c:v>
                </c:pt>
                <c:pt idx="188">
                  <c:v>45246</c:v>
                </c:pt>
                <c:pt idx="189">
                  <c:v>45247</c:v>
                </c:pt>
                <c:pt idx="190">
                  <c:v>45250</c:v>
                </c:pt>
                <c:pt idx="191">
                  <c:v>45251</c:v>
                </c:pt>
                <c:pt idx="192">
                  <c:v>45252</c:v>
                </c:pt>
                <c:pt idx="193">
                  <c:v>45253</c:v>
                </c:pt>
                <c:pt idx="194">
                  <c:v>45254</c:v>
                </c:pt>
                <c:pt idx="195">
                  <c:v>45257</c:v>
                </c:pt>
                <c:pt idx="196">
                  <c:v>45258</c:v>
                </c:pt>
                <c:pt idx="197">
                  <c:v>45259</c:v>
                </c:pt>
                <c:pt idx="198">
                  <c:v>45260</c:v>
                </c:pt>
                <c:pt idx="199">
                  <c:v>45261</c:v>
                </c:pt>
                <c:pt idx="200">
                  <c:v>45264</c:v>
                </c:pt>
                <c:pt idx="201">
                  <c:v>45265</c:v>
                </c:pt>
                <c:pt idx="202">
                  <c:v>45266</c:v>
                </c:pt>
                <c:pt idx="203">
                  <c:v>45267</c:v>
                </c:pt>
                <c:pt idx="204">
                  <c:v>45268</c:v>
                </c:pt>
                <c:pt idx="205">
                  <c:v>45271</c:v>
                </c:pt>
                <c:pt idx="206">
                  <c:v>45272</c:v>
                </c:pt>
                <c:pt idx="207">
                  <c:v>45273</c:v>
                </c:pt>
                <c:pt idx="208">
                  <c:v>45274</c:v>
                </c:pt>
                <c:pt idx="209">
                  <c:v>45275</c:v>
                </c:pt>
                <c:pt idx="210">
                  <c:v>45278</c:v>
                </c:pt>
                <c:pt idx="211">
                  <c:v>45279</c:v>
                </c:pt>
                <c:pt idx="212">
                  <c:v>45280</c:v>
                </c:pt>
                <c:pt idx="213">
                  <c:v>45281</c:v>
                </c:pt>
                <c:pt idx="214">
                  <c:v>45282</c:v>
                </c:pt>
                <c:pt idx="215">
                  <c:v>45287</c:v>
                </c:pt>
                <c:pt idx="216">
                  <c:v>45288</c:v>
                </c:pt>
                <c:pt idx="217">
                  <c:v>45289</c:v>
                </c:pt>
                <c:pt idx="218">
                  <c:v>45293</c:v>
                </c:pt>
                <c:pt idx="219">
                  <c:v>45294</c:v>
                </c:pt>
                <c:pt idx="220">
                  <c:v>45295</c:v>
                </c:pt>
                <c:pt idx="221">
                  <c:v>45296</c:v>
                </c:pt>
                <c:pt idx="222">
                  <c:v>45299</c:v>
                </c:pt>
                <c:pt idx="223">
                  <c:v>45300</c:v>
                </c:pt>
                <c:pt idx="224">
                  <c:v>45301</c:v>
                </c:pt>
                <c:pt idx="225">
                  <c:v>45302</c:v>
                </c:pt>
                <c:pt idx="226">
                  <c:v>45303</c:v>
                </c:pt>
                <c:pt idx="227">
                  <c:v>45306</c:v>
                </c:pt>
                <c:pt idx="228">
                  <c:v>45307</c:v>
                </c:pt>
                <c:pt idx="229">
                  <c:v>45308</c:v>
                </c:pt>
                <c:pt idx="230">
                  <c:v>45309</c:v>
                </c:pt>
                <c:pt idx="231">
                  <c:v>45310</c:v>
                </c:pt>
                <c:pt idx="232">
                  <c:v>45313</c:v>
                </c:pt>
                <c:pt idx="233">
                  <c:v>45314</c:v>
                </c:pt>
                <c:pt idx="234">
                  <c:v>45315</c:v>
                </c:pt>
                <c:pt idx="235">
                  <c:v>45316</c:v>
                </c:pt>
                <c:pt idx="236">
                  <c:v>45317</c:v>
                </c:pt>
                <c:pt idx="237">
                  <c:v>45320</c:v>
                </c:pt>
                <c:pt idx="238">
                  <c:v>45321</c:v>
                </c:pt>
                <c:pt idx="239">
                  <c:v>45322</c:v>
                </c:pt>
                <c:pt idx="240">
                  <c:v>45323</c:v>
                </c:pt>
                <c:pt idx="241">
                  <c:v>45324</c:v>
                </c:pt>
                <c:pt idx="242">
                  <c:v>45327</c:v>
                </c:pt>
                <c:pt idx="243">
                  <c:v>45328</c:v>
                </c:pt>
                <c:pt idx="244">
                  <c:v>45329</c:v>
                </c:pt>
                <c:pt idx="245">
                  <c:v>45330</c:v>
                </c:pt>
                <c:pt idx="246">
                  <c:v>45331</c:v>
                </c:pt>
                <c:pt idx="247">
                  <c:v>45334</c:v>
                </c:pt>
                <c:pt idx="248">
                  <c:v>45335</c:v>
                </c:pt>
                <c:pt idx="249">
                  <c:v>45336</c:v>
                </c:pt>
                <c:pt idx="250">
                  <c:v>45337</c:v>
                </c:pt>
                <c:pt idx="251">
                  <c:v>45338</c:v>
                </c:pt>
                <c:pt idx="252">
                  <c:v>45341</c:v>
                </c:pt>
                <c:pt idx="253">
                  <c:v>45342</c:v>
                </c:pt>
                <c:pt idx="254">
                  <c:v>45343</c:v>
                </c:pt>
                <c:pt idx="255">
                  <c:v>45344</c:v>
                </c:pt>
                <c:pt idx="256">
                  <c:v>45345</c:v>
                </c:pt>
                <c:pt idx="257">
                  <c:v>45348</c:v>
                </c:pt>
                <c:pt idx="258">
                  <c:v>45349</c:v>
                </c:pt>
                <c:pt idx="259">
                  <c:v>45350</c:v>
                </c:pt>
                <c:pt idx="260">
                  <c:v>45351</c:v>
                </c:pt>
                <c:pt idx="261">
                  <c:v>45352</c:v>
                </c:pt>
                <c:pt idx="262">
                  <c:v>45355</c:v>
                </c:pt>
                <c:pt idx="263">
                  <c:v>45356</c:v>
                </c:pt>
                <c:pt idx="264">
                  <c:v>45357</c:v>
                </c:pt>
                <c:pt idx="265">
                  <c:v>45358</c:v>
                </c:pt>
                <c:pt idx="266">
                  <c:v>45359</c:v>
                </c:pt>
                <c:pt idx="267">
                  <c:v>45362</c:v>
                </c:pt>
                <c:pt idx="268">
                  <c:v>45363</c:v>
                </c:pt>
                <c:pt idx="269">
                  <c:v>45364</c:v>
                </c:pt>
                <c:pt idx="270">
                  <c:v>45365</c:v>
                </c:pt>
                <c:pt idx="271">
                  <c:v>45366</c:v>
                </c:pt>
                <c:pt idx="272">
                  <c:v>45369</c:v>
                </c:pt>
                <c:pt idx="273">
                  <c:v>45370</c:v>
                </c:pt>
                <c:pt idx="274">
                  <c:v>45371</c:v>
                </c:pt>
                <c:pt idx="275">
                  <c:v>45372</c:v>
                </c:pt>
                <c:pt idx="276">
                  <c:v>45373</c:v>
                </c:pt>
                <c:pt idx="277">
                  <c:v>45376</c:v>
                </c:pt>
                <c:pt idx="278">
                  <c:v>45377</c:v>
                </c:pt>
                <c:pt idx="279">
                  <c:v>45378</c:v>
                </c:pt>
                <c:pt idx="280">
                  <c:v>45384</c:v>
                </c:pt>
                <c:pt idx="281">
                  <c:v>45385</c:v>
                </c:pt>
                <c:pt idx="282">
                  <c:v>45386</c:v>
                </c:pt>
                <c:pt idx="283">
                  <c:v>45387</c:v>
                </c:pt>
                <c:pt idx="284">
                  <c:v>45390</c:v>
                </c:pt>
                <c:pt idx="285">
                  <c:v>45391</c:v>
                </c:pt>
                <c:pt idx="286">
                  <c:v>45392</c:v>
                </c:pt>
                <c:pt idx="287">
                  <c:v>45393</c:v>
                </c:pt>
                <c:pt idx="288">
                  <c:v>45394</c:v>
                </c:pt>
                <c:pt idx="289">
                  <c:v>45397</c:v>
                </c:pt>
                <c:pt idx="290">
                  <c:v>45398</c:v>
                </c:pt>
                <c:pt idx="291">
                  <c:v>45399</c:v>
                </c:pt>
                <c:pt idx="292">
                  <c:v>45400</c:v>
                </c:pt>
                <c:pt idx="293">
                  <c:v>45401</c:v>
                </c:pt>
                <c:pt idx="294">
                  <c:v>45404</c:v>
                </c:pt>
                <c:pt idx="295">
                  <c:v>45405</c:v>
                </c:pt>
                <c:pt idx="296">
                  <c:v>45406</c:v>
                </c:pt>
                <c:pt idx="297">
                  <c:v>45407</c:v>
                </c:pt>
                <c:pt idx="298">
                  <c:v>45408</c:v>
                </c:pt>
                <c:pt idx="299">
                  <c:v>45411</c:v>
                </c:pt>
                <c:pt idx="300">
                  <c:v>45412</c:v>
                </c:pt>
                <c:pt idx="301">
                  <c:v>45414</c:v>
                </c:pt>
                <c:pt idx="302">
                  <c:v>45415</c:v>
                </c:pt>
                <c:pt idx="303">
                  <c:v>45418</c:v>
                </c:pt>
                <c:pt idx="304">
                  <c:v>45419</c:v>
                </c:pt>
                <c:pt idx="305">
                  <c:v>45420</c:v>
                </c:pt>
                <c:pt idx="306">
                  <c:v>45422</c:v>
                </c:pt>
                <c:pt idx="307">
                  <c:v>45425</c:v>
                </c:pt>
                <c:pt idx="308">
                  <c:v>45426</c:v>
                </c:pt>
                <c:pt idx="309">
                  <c:v>45427</c:v>
                </c:pt>
                <c:pt idx="310">
                  <c:v>45428</c:v>
                </c:pt>
                <c:pt idx="311">
                  <c:v>45429</c:v>
                </c:pt>
                <c:pt idx="312">
                  <c:v>45432</c:v>
                </c:pt>
                <c:pt idx="313">
                  <c:v>45433</c:v>
                </c:pt>
                <c:pt idx="314">
                  <c:v>45434</c:v>
                </c:pt>
                <c:pt idx="315">
                  <c:v>45435</c:v>
                </c:pt>
                <c:pt idx="316">
                  <c:v>45436</c:v>
                </c:pt>
                <c:pt idx="317">
                  <c:v>45439</c:v>
                </c:pt>
                <c:pt idx="318">
                  <c:v>45440</c:v>
                </c:pt>
                <c:pt idx="319">
                  <c:v>45441</c:v>
                </c:pt>
                <c:pt idx="320">
                  <c:v>45442</c:v>
                </c:pt>
                <c:pt idx="321">
                  <c:v>45443</c:v>
                </c:pt>
                <c:pt idx="322">
                  <c:v>45446</c:v>
                </c:pt>
                <c:pt idx="323">
                  <c:v>45447</c:v>
                </c:pt>
                <c:pt idx="324">
                  <c:v>45448</c:v>
                </c:pt>
                <c:pt idx="325">
                  <c:v>45449</c:v>
                </c:pt>
                <c:pt idx="326">
                  <c:v>45450</c:v>
                </c:pt>
                <c:pt idx="327">
                  <c:v>45453</c:v>
                </c:pt>
                <c:pt idx="328">
                  <c:v>45454</c:v>
                </c:pt>
                <c:pt idx="329">
                  <c:v>45455</c:v>
                </c:pt>
                <c:pt idx="330">
                  <c:v>45456</c:v>
                </c:pt>
                <c:pt idx="331">
                  <c:v>45460</c:v>
                </c:pt>
                <c:pt idx="332">
                  <c:v>45461</c:v>
                </c:pt>
                <c:pt idx="333">
                  <c:v>45462</c:v>
                </c:pt>
                <c:pt idx="334">
                  <c:v>45463</c:v>
                </c:pt>
                <c:pt idx="335">
                  <c:v>45464</c:v>
                </c:pt>
                <c:pt idx="336">
                  <c:v>45467</c:v>
                </c:pt>
                <c:pt idx="337">
                  <c:v>45468</c:v>
                </c:pt>
                <c:pt idx="338">
                  <c:v>45469</c:v>
                </c:pt>
                <c:pt idx="339">
                  <c:v>45470</c:v>
                </c:pt>
                <c:pt idx="340">
                  <c:v>45471</c:v>
                </c:pt>
                <c:pt idx="341">
                  <c:v>45474</c:v>
                </c:pt>
                <c:pt idx="342">
                  <c:v>45475</c:v>
                </c:pt>
                <c:pt idx="343">
                  <c:v>45476</c:v>
                </c:pt>
                <c:pt idx="344">
                  <c:v>45477</c:v>
                </c:pt>
                <c:pt idx="345">
                  <c:v>45478</c:v>
                </c:pt>
                <c:pt idx="346">
                  <c:v>45481</c:v>
                </c:pt>
                <c:pt idx="347">
                  <c:v>45482</c:v>
                </c:pt>
                <c:pt idx="348">
                  <c:v>45483</c:v>
                </c:pt>
                <c:pt idx="349">
                  <c:v>45484</c:v>
                </c:pt>
                <c:pt idx="350">
                  <c:v>45485</c:v>
                </c:pt>
                <c:pt idx="351">
                  <c:v>45488</c:v>
                </c:pt>
                <c:pt idx="352">
                  <c:v>45489</c:v>
                </c:pt>
                <c:pt idx="353">
                  <c:v>45490</c:v>
                </c:pt>
                <c:pt idx="354">
                  <c:v>45491</c:v>
                </c:pt>
                <c:pt idx="355">
                  <c:v>45492</c:v>
                </c:pt>
                <c:pt idx="356">
                  <c:v>45495</c:v>
                </c:pt>
                <c:pt idx="357">
                  <c:v>45496</c:v>
                </c:pt>
                <c:pt idx="358">
                  <c:v>45497</c:v>
                </c:pt>
                <c:pt idx="359">
                  <c:v>45498</c:v>
                </c:pt>
                <c:pt idx="360">
                  <c:v>45499</c:v>
                </c:pt>
                <c:pt idx="361">
                  <c:v>45502</c:v>
                </c:pt>
                <c:pt idx="362">
                  <c:v>45503</c:v>
                </c:pt>
                <c:pt idx="363">
                  <c:v>45504</c:v>
                </c:pt>
                <c:pt idx="364">
                  <c:v>45505</c:v>
                </c:pt>
                <c:pt idx="365">
                  <c:v>45506</c:v>
                </c:pt>
                <c:pt idx="366">
                  <c:v>45509</c:v>
                </c:pt>
                <c:pt idx="367">
                  <c:v>45510</c:v>
                </c:pt>
                <c:pt idx="368">
                  <c:v>45511</c:v>
                </c:pt>
                <c:pt idx="369">
                  <c:v>45512</c:v>
                </c:pt>
                <c:pt idx="370">
                  <c:v>45513</c:v>
                </c:pt>
                <c:pt idx="371">
                  <c:v>45516</c:v>
                </c:pt>
                <c:pt idx="372">
                  <c:v>45517</c:v>
                </c:pt>
                <c:pt idx="373">
                  <c:v>45518</c:v>
                </c:pt>
                <c:pt idx="374">
                  <c:v>45519</c:v>
                </c:pt>
                <c:pt idx="375">
                  <c:v>45520</c:v>
                </c:pt>
                <c:pt idx="376">
                  <c:v>45523</c:v>
                </c:pt>
                <c:pt idx="377">
                  <c:v>45524</c:v>
                </c:pt>
                <c:pt idx="378">
                  <c:v>45525</c:v>
                </c:pt>
                <c:pt idx="379">
                  <c:v>45526</c:v>
                </c:pt>
                <c:pt idx="380">
                  <c:v>45527</c:v>
                </c:pt>
                <c:pt idx="381">
                  <c:v>45530</c:v>
                </c:pt>
                <c:pt idx="382">
                  <c:v>45531</c:v>
                </c:pt>
                <c:pt idx="383">
                  <c:v>45532</c:v>
                </c:pt>
                <c:pt idx="384">
                  <c:v>45533</c:v>
                </c:pt>
                <c:pt idx="385">
                  <c:v>45534</c:v>
                </c:pt>
                <c:pt idx="386">
                  <c:v>45537</c:v>
                </c:pt>
                <c:pt idx="387">
                  <c:v>45538</c:v>
                </c:pt>
                <c:pt idx="388">
                  <c:v>45539</c:v>
                </c:pt>
                <c:pt idx="389">
                  <c:v>45540</c:v>
                </c:pt>
                <c:pt idx="390">
                  <c:v>45541</c:v>
                </c:pt>
                <c:pt idx="391">
                  <c:v>45544</c:v>
                </c:pt>
                <c:pt idx="392">
                  <c:v>45545</c:v>
                </c:pt>
                <c:pt idx="393">
                  <c:v>45546</c:v>
                </c:pt>
                <c:pt idx="394">
                  <c:v>45547</c:v>
                </c:pt>
                <c:pt idx="395">
                  <c:v>45548</c:v>
                </c:pt>
                <c:pt idx="396">
                  <c:v>45551</c:v>
                </c:pt>
                <c:pt idx="397">
                  <c:v>45552</c:v>
                </c:pt>
                <c:pt idx="398">
                  <c:v>45553</c:v>
                </c:pt>
              </c:numCache>
            </c:numRef>
          </c:cat>
          <c:val>
            <c:numRef>
              <c:f>Sheet1!$G$5:$G$401</c:f>
              <c:numCache>
                <c:formatCode>General</c:formatCode>
                <c:ptCount val="397"/>
                <c:pt idx="0">
                  <c:v>5.3</c:v>
                </c:pt>
                <c:pt idx="1">
                  <c:v>5.3</c:v>
                </c:pt>
                <c:pt idx="2">
                  <c:v>5.25</c:v>
                </c:pt>
                <c:pt idx="3">
                  <c:v>6.1</c:v>
                </c:pt>
                <c:pt idx="4">
                  <c:v>6.3</c:v>
                </c:pt>
                <c:pt idx="5">
                  <c:v>6.15</c:v>
                </c:pt>
                <c:pt idx="6">
                  <c:v>6</c:v>
                </c:pt>
                <c:pt idx="7">
                  <c:v>5.9</c:v>
                </c:pt>
                <c:pt idx="8">
                  <c:v>5.8</c:v>
                </c:pt>
                <c:pt idx="9">
                  <c:v>5.8</c:v>
                </c:pt>
                <c:pt idx="10">
                  <c:v>5.7</c:v>
                </c:pt>
                <c:pt idx="11">
                  <c:v>5.7</c:v>
                </c:pt>
                <c:pt idx="12">
                  <c:v>5.65</c:v>
                </c:pt>
                <c:pt idx="13">
                  <c:v>5.6</c:v>
                </c:pt>
                <c:pt idx="14">
                  <c:v>5.65</c:v>
                </c:pt>
                <c:pt idx="15">
                  <c:v>6.25</c:v>
                </c:pt>
                <c:pt idx="16">
                  <c:v>6.4</c:v>
                </c:pt>
                <c:pt idx="17">
                  <c:v>6.45</c:v>
                </c:pt>
                <c:pt idx="18">
                  <c:v>6.1</c:v>
                </c:pt>
                <c:pt idx="19">
                  <c:v>6</c:v>
                </c:pt>
                <c:pt idx="20">
                  <c:v>5.9</c:v>
                </c:pt>
                <c:pt idx="21">
                  <c:v>6.25</c:v>
                </c:pt>
                <c:pt idx="22">
                  <c:v>6.3</c:v>
                </c:pt>
                <c:pt idx="23">
                  <c:v>6.35</c:v>
                </c:pt>
                <c:pt idx="24">
                  <c:v>6.4</c:v>
                </c:pt>
                <c:pt idx="25">
                  <c:v>6.35</c:v>
                </c:pt>
                <c:pt idx="26">
                  <c:v>6.45</c:v>
                </c:pt>
                <c:pt idx="27">
                  <c:v>6.4</c:v>
                </c:pt>
                <c:pt idx="28">
                  <c:v>6.35</c:v>
                </c:pt>
                <c:pt idx="29">
                  <c:v>6.45</c:v>
                </c:pt>
                <c:pt idx="30">
                  <c:v>6.5</c:v>
                </c:pt>
                <c:pt idx="31">
                  <c:v>6.55</c:v>
                </c:pt>
                <c:pt idx="32">
                  <c:v>6.55</c:v>
                </c:pt>
                <c:pt idx="33">
                  <c:v>6.65</c:v>
                </c:pt>
                <c:pt idx="34">
                  <c:v>6.7</c:v>
                </c:pt>
                <c:pt idx="35">
                  <c:v>6.6</c:v>
                </c:pt>
                <c:pt idx="36">
                  <c:v>6.55</c:v>
                </c:pt>
                <c:pt idx="37">
                  <c:v>6.45</c:v>
                </c:pt>
                <c:pt idx="38">
                  <c:v>6.45</c:v>
                </c:pt>
                <c:pt idx="39">
                  <c:v>6.45</c:v>
                </c:pt>
                <c:pt idx="40">
                  <c:v>6.45</c:v>
                </c:pt>
                <c:pt idx="41">
                  <c:v>6.9</c:v>
                </c:pt>
                <c:pt idx="42">
                  <c:v>6.85</c:v>
                </c:pt>
                <c:pt idx="43">
                  <c:v>6.85</c:v>
                </c:pt>
                <c:pt idx="44">
                  <c:v>6.85</c:v>
                </c:pt>
                <c:pt idx="45">
                  <c:v>6.8</c:v>
                </c:pt>
                <c:pt idx="46">
                  <c:v>6.9</c:v>
                </c:pt>
                <c:pt idx="47">
                  <c:v>7.05</c:v>
                </c:pt>
                <c:pt idx="48">
                  <c:v>7.05</c:v>
                </c:pt>
                <c:pt idx="49">
                  <c:v>7.15</c:v>
                </c:pt>
                <c:pt idx="50">
                  <c:v>7.15</c:v>
                </c:pt>
                <c:pt idx="51">
                  <c:v>7.05</c:v>
                </c:pt>
                <c:pt idx="52">
                  <c:v>7.05</c:v>
                </c:pt>
                <c:pt idx="53">
                  <c:v>7.05</c:v>
                </c:pt>
                <c:pt idx="54">
                  <c:v>7.05</c:v>
                </c:pt>
                <c:pt idx="55">
                  <c:v>7.05</c:v>
                </c:pt>
                <c:pt idx="56">
                  <c:v>7.05</c:v>
                </c:pt>
                <c:pt idx="57">
                  <c:v>7.05</c:v>
                </c:pt>
                <c:pt idx="58">
                  <c:v>7</c:v>
                </c:pt>
                <c:pt idx="59">
                  <c:v>6.95</c:v>
                </c:pt>
                <c:pt idx="60">
                  <c:v>7</c:v>
                </c:pt>
                <c:pt idx="61">
                  <c:v>7</c:v>
                </c:pt>
                <c:pt idx="62">
                  <c:v>7</c:v>
                </c:pt>
                <c:pt idx="63">
                  <c:v>6.85</c:v>
                </c:pt>
                <c:pt idx="64">
                  <c:v>6.8</c:v>
                </c:pt>
                <c:pt idx="65">
                  <c:v>6.65</c:v>
                </c:pt>
                <c:pt idx="66">
                  <c:v>6.35</c:v>
                </c:pt>
                <c:pt idx="67">
                  <c:v>6.35</c:v>
                </c:pt>
                <c:pt idx="68">
                  <c:v>6.35</c:v>
                </c:pt>
                <c:pt idx="69">
                  <c:v>6.5</c:v>
                </c:pt>
                <c:pt idx="70">
                  <c:v>6.6</c:v>
                </c:pt>
                <c:pt idx="71">
                  <c:v>6.7</c:v>
                </c:pt>
                <c:pt idx="72">
                  <c:v>6.9</c:v>
                </c:pt>
                <c:pt idx="73">
                  <c:v>6.9</c:v>
                </c:pt>
                <c:pt idx="74">
                  <c:v>6.8</c:v>
                </c:pt>
                <c:pt idx="75">
                  <c:v>6.65</c:v>
                </c:pt>
                <c:pt idx="76">
                  <c:v>6.6</c:v>
                </c:pt>
                <c:pt idx="77">
                  <c:v>6.6</c:v>
                </c:pt>
                <c:pt idx="78">
                  <c:v>6.75</c:v>
                </c:pt>
                <c:pt idx="79">
                  <c:v>6.55</c:v>
                </c:pt>
                <c:pt idx="80">
                  <c:v>6.7</c:v>
                </c:pt>
                <c:pt idx="81">
                  <c:v>6.75</c:v>
                </c:pt>
                <c:pt idx="82">
                  <c:v>6.85</c:v>
                </c:pt>
                <c:pt idx="83">
                  <c:v>6.9</c:v>
                </c:pt>
                <c:pt idx="84">
                  <c:v>7</c:v>
                </c:pt>
                <c:pt idx="85">
                  <c:v>7.1</c:v>
                </c:pt>
                <c:pt idx="86">
                  <c:v>7.1</c:v>
                </c:pt>
                <c:pt idx="87">
                  <c:v>7.1</c:v>
                </c:pt>
                <c:pt idx="88">
                  <c:v>7</c:v>
                </c:pt>
                <c:pt idx="89">
                  <c:v>6.95</c:v>
                </c:pt>
                <c:pt idx="90">
                  <c:v>7.25</c:v>
                </c:pt>
                <c:pt idx="91">
                  <c:v>7.3</c:v>
                </c:pt>
                <c:pt idx="92">
                  <c:v>7.3</c:v>
                </c:pt>
                <c:pt idx="93">
                  <c:v>7.6</c:v>
                </c:pt>
                <c:pt idx="94">
                  <c:v>7.8</c:v>
                </c:pt>
                <c:pt idx="95">
                  <c:v>7.6</c:v>
                </c:pt>
                <c:pt idx="96">
                  <c:v>7.5</c:v>
                </c:pt>
                <c:pt idx="97">
                  <c:v>7.3</c:v>
                </c:pt>
                <c:pt idx="98">
                  <c:v>7.25</c:v>
                </c:pt>
                <c:pt idx="99">
                  <c:v>7.25</c:v>
                </c:pt>
                <c:pt idx="100">
                  <c:v>7.3</c:v>
                </c:pt>
                <c:pt idx="101">
                  <c:v>7.35</c:v>
                </c:pt>
                <c:pt idx="102">
                  <c:v>7.35</c:v>
                </c:pt>
                <c:pt idx="103">
                  <c:v>7.35</c:v>
                </c:pt>
                <c:pt idx="104">
                  <c:v>7.65</c:v>
                </c:pt>
                <c:pt idx="105">
                  <c:v>7.6</c:v>
                </c:pt>
                <c:pt idx="106">
                  <c:v>7.55</c:v>
                </c:pt>
                <c:pt idx="107">
                  <c:v>7.45</c:v>
                </c:pt>
                <c:pt idx="108">
                  <c:v>7.4</c:v>
                </c:pt>
                <c:pt idx="109">
                  <c:v>7.35</c:v>
                </c:pt>
                <c:pt idx="110">
                  <c:v>7.35</c:v>
                </c:pt>
                <c:pt idx="111">
                  <c:v>7.35</c:v>
                </c:pt>
                <c:pt idx="112">
                  <c:v>7.35</c:v>
                </c:pt>
                <c:pt idx="113">
                  <c:v>7.35</c:v>
                </c:pt>
                <c:pt idx="114">
                  <c:v>7.3</c:v>
                </c:pt>
                <c:pt idx="115">
                  <c:v>7.25</c:v>
                </c:pt>
                <c:pt idx="116">
                  <c:v>7.25</c:v>
                </c:pt>
                <c:pt idx="117">
                  <c:v>7.25</c:v>
                </c:pt>
                <c:pt idx="118">
                  <c:v>7</c:v>
                </c:pt>
                <c:pt idx="119">
                  <c:v>7.2</c:v>
                </c:pt>
                <c:pt idx="120">
                  <c:v>7.1</c:v>
                </c:pt>
                <c:pt idx="121">
                  <c:v>7.1</c:v>
                </c:pt>
                <c:pt idx="122">
                  <c:v>6.85</c:v>
                </c:pt>
                <c:pt idx="123">
                  <c:v>6.7</c:v>
                </c:pt>
                <c:pt idx="124">
                  <c:v>6.65</c:v>
                </c:pt>
                <c:pt idx="125">
                  <c:v>6.6</c:v>
                </c:pt>
                <c:pt idx="126">
                  <c:v>6.45</c:v>
                </c:pt>
                <c:pt idx="127">
                  <c:v>6.5</c:v>
                </c:pt>
                <c:pt idx="128">
                  <c:v>6.55</c:v>
                </c:pt>
                <c:pt idx="129">
                  <c:v>6.75</c:v>
                </c:pt>
                <c:pt idx="130">
                  <c:v>6.75</c:v>
                </c:pt>
                <c:pt idx="131">
                  <c:v>7.05</c:v>
                </c:pt>
                <c:pt idx="132">
                  <c:v>7.3</c:v>
                </c:pt>
                <c:pt idx="133">
                  <c:v>7.45</c:v>
                </c:pt>
                <c:pt idx="134">
                  <c:v>7.45</c:v>
                </c:pt>
                <c:pt idx="135">
                  <c:v>7.35</c:v>
                </c:pt>
                <c:pt idx="136">
                  <c:v>7.2</c:v>
                </c:pt>
                <c:pt idx="137">
                  <c:v>7.1</c:v>
                </c:pt>
                <c:pt idx="138">
                  <c:v>7</c:v>
                </c:pt>
                <c:pt idx="139">
                  <c:v>6.95</c:v>
                </c:pt>
                <c:pt idx="140">
                  <c:v>7.1</c:v>
                </c:pt>
                <c:pt idx="141">
                  <c:v>7</c:v>
                </c:pt>
                <c:pt idx="142">
                  <c:v>7</c:v>
                </c:pt>
                <c:pt idx="143">
                  <c:v>6.9</c:v>
                </c:pt>
                <c:pt idx="144">
                  <c:v>6.9</c:v>
                </c:pt>
                <c:pt idx="145">
                  <c:v>6.8</c:v>
                </c:pt>
                <c:pt idx="146">
                  <c:v>7.1</c:v>
                </c:pt>
                <c:pt idx="147">
                  <c:v>7.2</c:v>
                </c:pt>
                <c:pt idx="148">
                  <c:v>7.15</c:v>
                </c:pt>
                <c:pt idx="149">
                  <c:v>7.1</c:v>
                </c:pt>
                <c:pt idx="150">
                  <c:v>6.9</c:v>
                </c:pt>
                <c:pt idx="151">
                  <c:v>6.8</c:v>
                </c:pt>
                <c:pt idx="152">
                  <c:v>6.9</c:v>
                </c:pt>
                <c:pt idx="153">
                  <c:v>6.85</c:v>
                </c:pt>
                <c:pt idx="154">
                  <c:v>6.85</c:v>
                </c:pt>
                <c:pt idx="155">
                  <c:v>6.85</c:v>
                </c:pt>
                <c:pt idx="156">
                  <c:v>6.8</c:v>
                </c:pt>
                <c:pt idx="157">
                  <c:v>6.6</c:v>
                </c:pt>
                <c:pt idx="158">
                  <c:v>6.6</c:v>
                </c:pt>
                <c:pt idx="159">
                  <c:v>6.55</c:v>
                </c:pt>
                <c:pt idx="160">
                  <c:v>6.55</c:v>
                </c:pt>
                <c:pt idx="161">
                  <c:v>6.2</c:v>
                </c:pt>
                <c:pt idx="162">
                  <c:v>6.25</c:v>
                </c:pt>
                <c:pt idx="163">
                  <c:v>6.2</c:v>
                </c:pt>
                <c:pt idx="164">
                  <c:v>6</c:v>
                </c:pt>
                <c:pt idx="165">
                  <c:v>5.8</c:v>
                </c:pt>
                <c:pt idx="166">
                  <c:v>5.7</c:v>
                </c:pt>
                <c:pt idx="167">
                  <c:v>5.75</c:v>
                </c:pt>
                <c:pt idx="168">
                  <c:v>5.8</c:v>
                </c:pt>
                <c:pt idx="169">
                  <c:v>5.85</c:v>
                </c:pt>
                <c:pt idx="170">
                  <c:v>5.9</c:v>
                </c:pt>
                <c:pt idx="171">
                  <c:v>5.95</c:v>
                </c:pt>
                <c:pt idx="172">
                  <c:v>5.95</c:v>
                </c:pt>
                <c:pt idx="173">
                  <c:v>5.95</c:v>
                </c:pt>
                <c:pt idx="174">
                  <c:v>6.05</c:v>
                </c:pt>
                <c:pt idx="175">
                  <c:v>6.05</c:v>
                </c:pt>
                <c:pt idx="176">
                  <c:v>6.05</c:v>
                </c:pt>
                <c:pt idx="177">
                  <c:v>6</c:v>
                </c:pt>
                <c:pt idx="178">
                  <c:v>5.65</c:v>
                </c:pt>
                <c:pt idx="179">
                  <c:v>5.65</c:v>
                </c:pt>
                <c:pt idx="180">
                  <c:v>5.7</c:v>
                </c:pt>
                <c:pt idx="181">
                  <c:v>5.7</c:v>
                </c:pt>
                <c:pt idx="182">
                  <c:v>5.65</c:v>
                </c:pt>
                <c:pt idx="183">
                  <c:v>5.7</c:v>
                </c:pt>
                <c:pt idx="184">
                  <c:v>5.6</c:v>
                </c:pt>
                <c:pt idx="185">
                  <c:v>5.5</c:v>
                </c:pt>
                <c:pt idx="186">
                  <c:v>5.35</c:v>
                </c:pt>
                <c:pt idx="187">
                  <c:v>5.35</c:v>
                </c:pt>
                <c:pt idx="188">
                  <c:v>5.2</c:v>
                </c:pt>
                <c:pt idx="189">
                  <c:v>4.8</c:v>
                </c:pt>
                <c:pt idx="190">
                  <c:v>4.8</c:v>
                </c:pt>
                <c:pt idx="191">
                  <c:v>4.75</c:v>
                </c:pt>
                <c:pt idx="192">
                  <c:v>4.75</c:v>
                </c:pt>
                <c:pt idx="193">
                  <c:v>4.6500000000000004</c:v>
                </c:pt>
                <c:pt idx="194">
                  <c:v>5.0999999999999996</c:v>
                </c:pt>
                <c:pt idx="195">
                  <c:v>5.0999999999999996</c:v>
                </c:pt>
                <c:pt idx="196">
                  <c:v>5.0999999999999996</c:v>
                </c:pt>
                <c:pt idx="197">
                  <c:v>5</c:v>
                </c:pt>
                <c:pt idx="198">
                  <c:v>5</c:v>
                </c:pt>
                <c:pt idx="199">
                  <c:v>5</c:v>
                </c:pt>
                <c:pt idx="200">
                  <c:v>5</c:v>
                </c:pt>
                <c:pt idx="201">
                  <c:v>5.05</c:v>
                </c:pt>
                <c:pt idx="202">
                  <c:v>5</c:v>
                </c:pt>
                <c:pt idx="203">
                  <c:v>5</c:v>
                </c:pt>
                <c:pt idx="204">
                  <c:v>4.9000000000000004</c:v>
                </c:pt>
                <c:pt idx="205">
                  <c:v>4.8499999999999996</c:v>
                </c:pt>
                <c:pt idx="206">
                  <c:v>4.8</c:v>
                </c:pt>
                <c:pt idx="207">
                  <c:v>4.75</c:v>
                </c:pt>
                <c:pt idx="208">
                  <c:v>4.75</c:v>
                </c:pt>
                <c:pt idx="209">
                  <c:v>4.75</c:v>
                </c:pt>
                <c:pt idx="210">
                  <c:v>4.8</c:v>
                </c:pt>
                <c:pt idx="211">
                  <c:v>4.75</c:v>
                </c:pt>
                <c:pt idx="212">
                  <c:v>4.75</c:v>
                </c:pt>
                <c:pt idx="213">
                  <c:v>4.75</c:v>
                </c:pt>
                <c:pt idx="214">
                  <c:v>4.75</c:v>
                </c:pt>
                <c:pt idx="215">
                  <c:v>4.75</c:v>
                </c:pt>
                <c:pt idx="216">
                  <c:v>4.6500000000000004</c:v>
                </c:pt>
                <c:pt idx="217">
                  <c:v>4.6500000000000004</c:v>
                </c:pt>
                <c:pt idx="218">
                  <c:v>4.4000000000000004</c:v>
                </c:pt>
                <c:pt idx="219">
                  <c:v>4.25</c:v>
                </c:pt>
                <c:pt idx="220">
                  <c:v>4.0999999999999996</c:v>
                </c:pt>
                <c:pt idx="221">
                  <c:v>3.9</c:v>
                </c:pt>
                <c:pt idx="222">
                  <c:v>3.9</c:v>
                </c:pt>
                <c:pt idx="223">
                  <c:v>3.85</c:v>
                </c:pt>
                <c:pt idx="224">
                  <c:v>3.95</c:v>
                </c:pt>
                <c:pt idx="225">
                  <c:v>4</c:v>
                </c:pt>
                <c:pt idx="226">
                  <c:v>3.3</c:v>
                </c:pt>
                <c:pt idx="227">
                  <c:v>2.75</c:v>
                </c:pt>
                <c:pt idx="228">
                  <c:v>2.9</c:v>
                </c:pt>
                <c:pt idx="229">
                  <c:v>3.1</c:v>
                </c:pt>
                <c:pt idx="230">
                  <c:v>3.45</c:v>
                </c:pt>
                <c:pt idx="231">
                  <c:v>3.45</c:v>
                </c:pt>
                <c:pt idx="232">
                  <c:v>3.75</c:v>
                </c:pt>
                <c:pt idx="233">
                  <c:v>3.55</c:v>
                </c:pt>
                <c:pt idx="234">
                  <c:v>3.35</c:v>
                </c:pt>
                <c:pt idx="235">
                  <c:v>3.3</c:v>
                </c:pt>
                <c:pt idx="236">
                  <c:v>3.2</c:v>
                </c:pt>
                <c:pt idx="237">
                  <c:v>3.5</c:v>
                </c:pt>
                <c:pt idx="238">
                  <c:v>3.55</c:v>
                </c:pt>
                <c:pt idx="239">
                  <c:v>3.45</c:v>
                </c:pt>
                <c:pt idx="240">
                  <c:v>3</c:v>
                </c:pt>
                <c:pt idx="241">
                  <c:v>3.35</c:v>
                </c:pt>
                <c:pt idx="242">
                  <c:v>3.15</c:v>
                </c:pt>
                <c:pt idx="243">
                  <c:v>3.1</c:v>
                </c:pt>
                <c:pt idx="244">
                  <c:v>3.15</c:v>
                </c:pt>
                <c:pt idx="245">
                  <c:v>3.1</c:v>
                </c:pt>
                <c:pt idx="246">
                  <c:v>3.1</c:v>
                </c:pt>
                <c:pt idx="247">
                  <c:v>3.05</c:v>
                </c:pt>
                <c:pt idx="248">
                  <c:v>3.1</c:v>
                </c:pt>
                <c:pt idx="249">
                  <c:v>2.9</c:v>
                </c:pt>
                <c:pt idx="250">
                  <c:v>2.6</c:v>
                </c:pt>
                <c:pt idx="251">
                  <c:v>2.6</c:v>
                </c:pt>
                <c:pt idx="252">
                  <c:v>2.5499999999999998</c:v>
                </c:pt>
                <c:pt idx="253">
                  <c:v>2.5</c:v>
                </c:pt>
                <c:pt idx="254">
                  <c:v>2.0499999999999998</c:v>
                </c:pt>
                <c:pt idx="255">
                  <c:v>1.95</c:v>
                </c:pt>
                <c:pt idx="256">
                  <c:v>1.9</c:v>
                </c:pt>
                <c:pt idx="257">
                  <c:v>1.9</c:v>
                </c:pt>
                <c:pt idx="258">
                  <c:v>1.9</c:v>
                </c:pt>
                <c:pt idx="259">
                  <c:v>1.9</c:v>
                </c:pt>
                <c:pt idx="260">
                  <c:v>1.9</c:v>
                </c:pt>
                <c:pt idx="261">
                  <c:v>1.75</c:v>
                </c:pt>
                <c:pt idx="262">
                  <c:v>1.75</c:v>
                </c:pt>
                <c:pt idx="263">
                  <c:v>1.95</c:v>
                </c:pt>
                <c:pt idx="264">
                  <c:v>2</c:v>
                </c:pt>
                <c:pt idx="265">
                  <c:v>1.9</c:v>
                </c:pt>
                <c:pt idx="266">
                  <c:v>2</c:v>
                </c:pt>
                <c:pt idx="267">
                  <c:v>1.9</c:v>
                </c:pt>
                <c:pt idx="268">
                  <c:v>1.75</c:v>
                </c:pt>
                <c:pt idx="269">
                  <c:v>1.7</c:v>
                </c:pt>
                <c:pt idx="270">
                  <c:v>1.7</c:v>
                </c:pt>
                <c:pt idx="271">
                  <c:v>1.65</c:v>
                </c:pt>
                <c:pt idx="272">
                  <c:v>1.65</c:v>
                </c:pt>
                <c:pt idx="273">
                  <c:v>1.65</c:v>
                </c:pt>
                <c:pt idx="274">
                  <c:v>1.65</c:v>
                </c:pt>
                <c:pt idx="275">
                  <c:v>1.65</c:v>
                </c:pt>
                <c:pt idx="276">
                  <c:v>1.7</c:v>
                </c:pt>
                <c:pt idx="277">
                  <c:v>1.7</c:v>
                </c:pt>
                <c:pt idx="278">
                  <c:v>1.65</c:v>
                </c:pt>
                <c:pt idx="279">
                  <c:v>1.7</c:v>
                </c:pt>
                <c:pt idx="280">
                  <c:v>1.7</c:v>
                </c:pt>
                <c:pt idx="281">
                  <c:v>1.7</c:v>
                </c:pt>
                <c:pt idx="282">
                  <c:v>1.7</c:v>
                </c:pt>
                <c:pt idx="283">
                  <c:v>1.7</c:v>
                </c:pt>
                <c:pt idx="284">
                  <c:v>1.7</c:v>
                </c:pt>
                <c:pt idx="285">
                  <c:v>1.7</c:v>
                </c:pt>
                <c:pt idx="286">
                  <c:v>1.65</c:v>
                </c:pt>
                <c:pt idx="287">
                  <c:v>1.6</c:v>
                </c:pt>
                <c:pt idx="288">
                  <c:v>1.6</c:v>
                </c:pt>
                <c:pt idx="289">
                  <c:v>1.5</c:v>
                </c:pt>
                <c:pt idx="290">
                  <c:v>1.55</c:v>
                </c:pt>
                <c:pt idx="291">
                  <c:v>1.55</c:v>
                </c:pt>
                <c:pt idx="292">
                  <c:v>1.5</c:v>
                </c:pt>
                <c:pt idx="293">
                  <c:v>1.5</c:v>
                </c:pt>
                <c:pt idx="294">
                  <c:v>1.45</c:v>
                </c:pt>
                <c:pt idx="295">
                  <c:v>1.4</c:v>
                </c:pt>
                <c:pt idx="296">
                  <c:v>1.4</c:v>
                </c:pt>
                <c:pt idx="297">
                  <c:v>1.35</c:v>
                </c:pt>
                <c:pt idx="298">
                  <c:v>1.3</c:v>
                </c:pt>
                <c:pt idx="299">
                  <c:v>1.25</c:v>
                </c:pt>
                <c:pt idx="300">
                  <c:v>1.1499999999999999</c:v>
                </c:pt>
                <c:pt idx="301">
                  <c:v>1.1000000000000001</c:v>
                </c:pt>
                <c:pt idx="302">
                  <c:v>1.05</c:v>
                </c:pt>
                <c:pt idx="303">
                  <c:v>1</c:v>
                </c:pt>
                <c:pt idx="304">
                  <c:v>1</c:v>
                </c:pt>
                <c:pt idx="305">
                  <c:v>1</c:v>
                </c:pt>
                <c:pt idx="306">
                  <c:v>0.9</c:v>
                </c:pt>
                <c:pt idx="307">
                  <c:v>0.85</c:v>
                </c:pt>
                <c:pt idx="308">
                  <c:v>0.75</c:v>
                </c:pt>
                <c:pt idx="309">
                  <c:v>0.8</c:v>
                </c:pt>
                <c:pt idx="310">
                  <c:v>0.8</c:v>
                </c:pt>
                <c:pt idx="311">
                  <c:v>0.85</c:v>
                </c:pt>
                <c:pt idx="312">
                  <c:v>0.95</c:v>
                </c:pt>
                <c:pt idx="313">
                  <c:v>1.1000000000000001</c:v>
                </c:pt>
                <c:pt idx="314">
                  <c:v>1</c:v>
                </c:pt>
                <c:pt idx="315">
                  <c:v>1</c:v>
                </c:pt>
                <c:pt idx="316">
                  <c:v>1</c:v>
                </c:pt>
                <c:pt idx="317">
                  <c:v>1</c:v>
                </c:pt>
                <c:pt idx="318">
                  <c:v>1</c:v>
                </c:pt>
                <c:pt idx="319">
                  <c:v>0.95</c:v>
                </c:pt>
                <c:pt idx="320">
                  <c:v>1</c:v>
                </c:pt>
                <c:pt idx="321">
                  <c:v>1</c:v>
                </c:pt>
                <c:pt idx="322">
                  <c:v>1</c:v>
                </c:pt>
                <c:pt idx="323">
                  <c:v>0.95</c:v>
                </c:pt>
                <c:pt idx="324">
                  <c:v>1.05</c:v>
                </c:pt>
                <c:pt idx="325">
                  <c:v>1.05</c:v>
                </c:pt>
                <c:pt idx="326">
                  <c:v>1.05</c:v>
                </c:pt>
                <c:pt idx="327">
                  <c:v>1.1000000000000001</c:v>
                </c:pt>
                <c:pt idx="328">
                  <c:v>1.1000000000000001</c:v>
                </c:pt>
                <c:pt idx="329">
                  <c:v>1.1499999999999999</c:v>
                </c:pt>
                <c:pt idx="330">
                  <c:v>1.1499999999999999</c:v>
                </c:pt>
                <c:pt idx="331">
                  <c:v>1.2</c:v>
                </c:pt>
                <c:pt idx="332">
                  <c:v>1.25</c:v>
                </c:pt>
                <c:pt idx="333">
                  <c:v>1.3</c:v>
                </c:pt>
                <c:pt idx="334">
                  <c:v>1.35</c:v>
                </c:pt>
                <c:pt idx="335">
                  <c:v>1.35</c:v>
                </c:pt>
                <c:pt idx="336">
                  <c:v>1.35</c:v>
                </c:pt>
                <c:pt idx="337">
                  <c:v>1.3</c:v>
                </c:pt>
                <c:pt idx="338">
                  <c:v>1.2</c:v>
                </c:pt>
                <c:pt idx="339">
                  <c:v>1.1000000000000001</c:v>
                </c:pt>
                <c:pt idx="340">
                  <c:v>1.1000000000000001</c:v>
                </c:pt>
                <c:pt idx="341">
                  <c:v>1</c:v>
                </c:pt>
                <c:pt idx="342">
                  <c:v>1</c:v>
                </c:pt>
                <c:pt idx="343">
                  <c:v>1</c:v>
                </c:pt>
                <c:pt idx="344">
                  <c:v>1</c:v>
                </c:pt>
                <c:pt idx="345">
                  <c:v>1</c:v>
                </c:pt>
                <c:pt idx="346">
                  <c:v>0.95</c:v>
                </c:pt>
                <c:pt idx="347">
                  <c:v>0.95</c:v>
                </c:pt>
                <c:pt idx="348">
                  <c:v>0.95</c:v>
                </c:pt>
                <c:pt idx="349">
                  <c:v>0.95</c:v>
                </c:pt>
                <c:pt idx="350">
                  <c:v>0.95</c:v>
                </c:pt>
                <c:pt idx="351">
                  <c:v>0.95</c:v>
                </c:pt>
                <c:pt idx="352">
                  <c:v>0.95</c:v>
                </c:pt>
                <c:pt idx="353">
                  <c:v>0.95</c:v>
                </c:pt>
                <c:pt idx="354">
                  <c:v>0.95</c:v>
                </c:pt>
                <c:pt idx="355">
                  <c:v>0.95</c:v>
                </c:pt>
                <c:pt idx="356">
                  <c:v>0.95</c:v>
                </c:pt>
                <c:pt idx="357">
                  <c:v>0.95</c:v>
                </c:pt>
                <c:pt idx="358">
                  <c:v>0.95</c:v>
                </c:pt>
                <c:pt idx="359">
                  <c:v>1</c:v>
                </c:pt>
                <c:pt idx="360">
                  <c:v>1.05</c:v>
                </c:pt>
                <c:pt idx="361">
                  <c:v>1.05</c:v>
                </c:pt>
                <c:pt idx="362">
                  <c:v>1.05</c:v>
                </c:pt>
                <c:pt idx="363">
                  <c:v>1.05</c:v>
                </c:pt>
                <c:pt idx="364">
                  <c:v>1.05</c:v>
                </c:pt>
                <c:pt idx="365">
                  <c:v>1.1000000000000001</c:v>
                </c:pt>
                <c:pt idx="366">
                  <c:v>1.05</c:v>
                </c:pt>
                <c:pt idx="367">
                  <c:v>1.05</c:v>
                </c:pt>
                <c:pt idx="368">
                  <c:v>1.05</c:v>
                </c:pt>
                <c:pt idx="369">
                  <c:v>1</c:v>
                </c:pt>
                <c:pt idx="370">
                  <c:v>0.95</c:v>
                </c:pt>
                <c:pt idx="371">
                  <c:v>0.95</c:v>
                </c:pt>
                <c:pt idx="372">
                  <c:v>0.95</c:v>
                </c:pt>
                <c:pt idx="373">
                  <c:v>0.95</c:v>
                </c:pt>
                <c:pt idx="374">
                  <c:v>0.95</c:v>
                </c:pt>
                <c:pt idx="375">
                  <c:v>0.95</c:v>
                </c:pt>
                <c:pt idx="376">
                  <c:v>0.95</c:v>
                </c:pt>
                <c:pt idx="377">
                  <c:v>0.9</c:v>
                </c:pt>
                <c:pt idx="378">
                  <c:v>0.9</c:v>
                </c:pt>
                <c:pt idx="379">
                  <c:v>0.9</c:v>
                </c:pt>
                <c:pt idx="380">
                  <c:v>0.9</c:v>
                </c:pt>
                <c:pt idx="381">
                  <c:v>0.9</c:v>
                </c:pt>
                <c:pt idx="382">
                  <c:v>0.9</c:v>
                </c:pt>
                <c:pt idx="383">
                  <c:v>0.9</c:v>
                </c:pt>
                <c:pt idx="384">
                  <c:v>0.9</c:v>
                </c:pt>
                <c:pt idx="385">
                  <c:v>0.9</c:v>
                </c:pt>
                <c:pt idx="386">
                  <c:v>0.85</c:v>
                </c:pt>
                <c:pt idx="387">
                  <c:v>0.8</c:v>
                </c:pt>
                <c:pt idx="388">
                  <c:v>0.8</c:v>
                </c:pt>
                <c:pt idx="389">
                  <c:v>0.75</c:v>
                </c:pt>
                <c:pt idx="390">
                  <c:v>0.75</c:v>
                </c:pt>
                <c:pt idx="391">
                  <c:v>0.7</c:v>
                </c:pt>
                <c:pt idx="392">
                  <c:v>0.75</c:v>
                </c:pt>
                <c:pt idx="393">
                  <c:v>0.75</c:v>
                </c:pt>
                <c:pt idx="394">
                  <c:v>0.7</c:v>
                </c:pt>
                <c:pt idx="395">
                  <c:v>0.7</c:v>
                </c:pt>
                <c:pt idx="396">
                  <c:v>0.65</c:v>
                </c:pt>
              </c:numCache>
            </c:numRef>
          </c:val>
          <c:smooth val="0"/>
          <c:extLst>
            <c:ext xmlns:c16="http://schemas.microsoft.com/office/drawing/2014/chart" uri="{C3380CC4-5D6E-409C-BE32-E72D297353CC}">
              <c16:uniqueId val="{00000001-C4AD-48A5-A644-B23C46E2CB74}"/>
            </c:ext>
          </c:extLst>
        </c:ser>
        <c:ser>
          <c:idx val="2"/>
          <c:order val="2"/>
          <c:tx>
            <c:strRef>
              <c:f>Sheet1!$R$1</c:f>
              <c:strCache>
                <c:ptCount val="1"/>
                <c:pt idx="0">
                  <c:v>MMP GO Hydro Cal-2025</c:v>
                </c:pt>
              </c:strCache>
            </c:strRef>
          </c:tx>
          <c:spPr>
            <a:ln w="28575" cap="rnd">
              <a:solidFill>
                <a:schemeClr val="accent3"/>
              </a:solidFill>
              <a:round/>
            </a:ln>
            <a:effectLst/>
          </c:spPr>
          <c:marker>
            <c:symbol val="none"/>
          </c:marker>
          <c:cat>
            <c:numRef>
              <c:f>Sheet1!$AG$5:$AG$403</c:f>
              <c:numCache>
                <c:formatCode>m/d/yyyy</c:formatCode>
                <c:ptCount val="399"/>
                <c:pt idx="0">
                  <c:v>44977</c:v>
                </c:pt>
                <c:pt idx="1">
                  <c:v>44978</c:v>
                </c:pt>
                <c:pt idx="2">
                  <c:v>44979</c:v>
                </c:pt>
                <c:pt idx="3">
                  <c:v>44980</c:v>
                </c:pt>
                <c:pt idx="4">
                  <c:v>44981</c:v>
                </c:pt>
                <c:pt idx="5">
                  <c:v>44987</c:v>
                </c:pt>
                <c:pt idx="6">
                  <c:v>44988</c:v>
                </c:pt>
                <c:pt idx="7">
                  <c:v>44991</c:v>
                </c:pt>
                <c:pt idx="8">
                  <c:v>44992</c:v>
                </c:pt>
                <c:pt idx="9">
                  <c:v>44993</c:v>
                </c:pt>
                <c:pt idx="10">
                  <c:v>44994</c:v>
                </c:pt>
                <c:pt idx="11">
                  <c:v>44995</c:v>
                </c:pt>
                <c:pt idx="12">
                  <c:v>44998</c:v>
                </c:pt>
                <c:pt idx="13">
                  <c:v>44999</c:v>
                </c:pt>
                <c:pt idx="14">
                  <c:v>45000</c:v>
                </c:pt>
                <c:pt idx="15">
                  <c:v>45001</c:v>
                </c:pt>
                <c:pt idx="16">
                  <c:v>45002</c:v>
                </c:pt>
                <c:pt idx="17">
                  <c:v>45005</c:v>
                </c:pt>
                <c:pt idx="18">
                  <c:v>45006</c:v>
                </c:pt>
                <c:pt idx="19">
                  <c:v>45007</c:v>
                </c:pt>
                <c:pt idx="20">
                  <c:v>45008</c:v>
                </c:pt>
                <c:pt idx="21">
                  <c:v>45009</c:v>
                </c:pt>
                <c:pt idx="22">
                  <c:v>45012</c:v>
                </c:pt>
                <c:pt idx="23">
                  <c:v>45013</c:v>
                </c:pt>
                <c:pt idx="24">
                  <c:v>45014</c:v>
                </c:pt>
                <c:pt idx="25">
                  <c:v>45015</c:v>
                </c:pt>
                <c:pt idx="26">
                  <c:v>45016</c:v>
                </c:pt>
                <c:pt idx="27">
                  <c:v>45019</c:v>
                </c:pt>
                <c:pt idx="28">
                  <c:v>45020</c:v>
                </c:pt>
                <c:pt idx="29">
                  <c:v>45021</c:v>
                </c:pt>
                <c:pt idx="30">
                  <c:v>45027</c:v>
                </c:pt>
                <c:pt idx="31">
                  <c:v>45028</c:v>
                </c:pt>
                <c:pt idx="32">
                  <c:v>45029</c:v>
                </c:pt>
                <c:pt idx="33">
                  <c:v>45030</c:v>
                </c:pt>
                <c:pt idx="34">
                  <c:v>45033</c:v>
                </c:pt>
                <c:pt idx="35">
                  <c:v>45034</c:v>
                </c:pt>
                <c:pt idx="36">
                  <c:v>45035</c:v>
                </c:pt>
                <c:pt idx="37">
                  <c:v>45036</c:v>
                </c:pt>
                <c:pt idx="38">
                  <c:v>45037</c:v>
                </c:pt>
                <c:pt idx="39">
                  <c:v>45040</c:v>
                </c:pt>
                <c:pt idx="40">
                  <c:v>45041</c:v>
                </c:pt>
                <c:pt idx="41">
                  <c:v>45042</c:v>
                </c:pt>
                <c:pt idx="42">
                  <c:v>45043</c:v>
                </c:pt>
                <c:pt idx="43">
                  <c:v>45044</c:v>
                </c:pt>
                <c:pt idx="44">
                  <c:v>45048</c:v>
                </c:pt>
                <c:pt idx="45">
                  <c:v>45049</c:v>
                </c:pt>
                <c:pt idx="46">
                  <c:v>45050</c:v>
                </c:pt>
                <c:pt idx="47">
                  <c:v>45051</c:v>
                </c:pt>
                <c:pt idx="48">
                  <c:v>45054</c:v>
                </c:pt>
                <c:pt idx="49">
                  <c:v>45055</c:v>
                </c:pt>
                <c:pt idx="50">
                  <c:v>45056</c:v>
                </c:pt>
                <c:pt idx="51">
                  <c:v>45057</c:v>
                </c:pt>
                <c:pt idx="52">
                  <c:v>45058</c:v>
                </c:pt>
                <c:pt idx="53">
                  <c:v>45061</c:v>
                </c:pt>
                <c:pt idx="54">
                  <c:v>45062</c:v>
                </c:pt>
                <c:pt idx="55">
                  <c:v>45063</c:v>
                </c:pt>
                <c:pt idx="56">
                  <c:v>45064</c:v>
                </c:pt>
                <c:pt idx="57">
                  <c:v>45065</c:v>
                </c:pt>
                <c:pt idx="58">
                  <c:v>45068</c:v>
                </c:pt>
                <c:pt idx="59">
                  <c:v>45069</c:v>
                </c:pt>
                <c:pt idx="60">
                  <c:v>45070</c:v>
                </c:pt>
                <c:pt idx="61">
                  <c:v>45071</c:v>
                </c:pt>
                <c:pt idx="62">
                  <c:v>45072</c:v>
                </c:pt>
                <c:pt idx="63">
                  <c:v>45075</c:v>
                </c:pt>
                <c:pt idx="64">
                  <c:v>45076</c:v>
                </c:pt>
                <c:pt idx="65">
                  <c:v>45077</c:v>
                </c:pt>
                <c:pt idx="66">
                  <c:v>45078</c:v>
                </c:pt>
                <c:pt idx="67">
                  <c:v>45079</c:v>
                </c:pt>
                <c:pt idx="68">
                  <c:v>45081</c:v>
                </c:pt>
                <c:pt idx="69">
                  <c:v>45082</c:v>
                </c:pt>
                <c:pt idx="70">
                  <c:v>45083</c:v>
                </c:pt>
                <c:pt idx="71">
                  <c:v>45084</c:v>
                </c:pt>
                <c:pt idx="72">
                  <c:v>45085</c:v>
                </c:pt>
                <c:pt idx="73">
                  <c:v>45086</c:v>
                </c:pt>
                <c:pt idx="74">
                  <c:v>45089</c:v>
                </c:pt>
                <c:pt idx="75">
                  <c:v>45090</c:v>
                </c:pt>
                <c:pt idx="76">
                  <c:v>45091</c:v>
                </c:pt>
                <c:pt idx="77">
                  <c:v>45092</c:v>
                </c:pt>
                <c:pt idx="78">
                  <c:v>45093</c:v>
                </c:pt>
                <c:pt idx="79">
                  <c:v>45096</c:v>
                </c:pt>
                <c:pt idx="80">
                  <c:v>45097</c:v>
                </c:pt>
                <c:pt idx="81">
                  <c:v>45098</c:v>
                </c:pt>
                <c:pt idx="82">
                  <c:v>45099</c:v>
                </c:pt>
                <c:pt idx="83">
                  <c:v>45100</c:v>
                </c:pt>
                <c:pt idx="84">
                  <c:v>45103</c:v>
                </c:pt>
                <c:pt idx="85">
                  <c:v>45104</c:v>
                </c:pt>
                <c:pt idx="86">
                  <c:v>45105</c:v>
                </c:pt>
                <c:pt idx="87">
                  <c:v>45106</c:v>
                </c:pt>
                <c:pt idx="88">
                  <c:v>45107</c:v>
                </c:pt>
                <c:pt idx="89">
                  <c:v>45110</c:v>
                </c:pt>
                <c:pt idx="90">
                  <c:v>45111</c:v>
                </c:pt>
                <c:pt idx="91">
                  <c:v>45112</c:v>
                </c:pt>
                <c:pt idx="92">
                  <c:v>45113</c:v>
                </c:pt>
                <c:pt idx="93">
                  <c:v>45114</c:v>
                </c:pt>
                <c:pt idx="94">
                  <c:v>45117</c:v>
                </c:pt>
                <c:pt idx="95">
                  <c:v>45118</c:v>
                </c:pt>
                <c:pt idx="96">
                  <c:v>45119</c:v>
                </c:pt>
                <c:pt idx="97">
                  <c:v>45120</c:v>
                </c:pt>
                <c:pt idx="98">
                  <c:v>45121</c:v>
                </c:pt>
                <c:pt idx="99">
                  <c:v>45124</c:v>
                </c:pt>
                <c:pt idx="100">
                  <c:v>45125</c:v>
                </c:pt>
                <c:pt idx="101">
                  <c:v>45126</c:v>
                </c:pt>
                <c:pt idx="102">
                  <c:v>45127</c:v>
                </c:pt>
                <c:pt idx="103">
                  <c:v>45128</c:v>
                </c:pt>
                <c:pt idx="104">
                  <c:v>45131</c:v>
                </c:pt>
                <c:pt idx="105">
                  <c:v>45132</c:v>
                </c:pt>
                <c:pt idx="106">
                  <c:v>45133</c:v>
                </c:pt>
                <c:pt idx="107">
                  <c:v>45134</c:v>
                </c:pt>
                <c:pt idx="108">
                  <c:v>45135</c:v>
                </c:pt>
                <c:pt idx="109">
                  <c:v>45138</c:v>
                </c:pt>
                <c:pt idx="110">
                  <c:v>45139</c:v>
                </c:pt>
                <c:pt idx="111">
                  <c:v>45140</c:v>
                </c:pt>
                <c:pt idx="112">
                  <c:v>45141</c:v>
                </c:pt>
                <c:pt idx="113">
                  <c:v>45142</c:v>
                </c:pt>
                <c:pt idx="114">
                  <c:v>45143</c:v>
                </c:pt>
                <c:pt idx="115">
                  <c:v>45145</c:v>
                </c:pt>
                <c:pt idx="116">
                  <c:v>45146</c:v>
                </c:pt>
                <c:pt idx="117">
                  <c:v>45147</c:v>
                </c:pt>
                <c:pt idx="118">
                  <c:v>45148</c:v>
                </c:pt>
                <c:pt idx="119">
                  <c:v>45149</c:v>
                </c:pt>
                <c:pt idx="120">
                  <c:v>45152</c:v>
                </c:pt>
                <c:pt idx="121">
                  <c:v>45153</c:v>
                </c:pt>
                <c:pt idx="122">
                  <c:v>45154</c:v>
                </c:pt>
                <c:pt idx="123">
                  <c:v>45155</c:v>
                </c:pt>
                <c:pt idx="124">
                  <c:v>45156</c:v>
                </c:pt>
                <c:pt idx="125">
                  <c:v>45159</c:v>
                </c:pt>
                <c:pt idx="126">
                  <c:v>45160</c:v>
                </c:pt>
                <c:pt idx="127">
                  <c:v>45161</c:v>
                </c:pt>
                <c:pt idx="128">
                  <c:v>45162</c:v>
                </c:pt>
                <c:pt idx="129">
                  <c:v>45163</c:v>
                </c:pt>
                <c:pt idx="130">
                  <c:v>45166</c:v>
                </c:pt>
                <c:pt idx="131">
                  <c:v>45167</c:v>
                </c:pt>
                <c:pt idx="132">
                  <c:v>45168</c:v>
                </c:pt>
                <c:pt idx="133">
                  <c:v>45169</c:v>
                </c:pt>
                <c:pt idx="134">
                  <c:v>45170</c:v>
                </c:pt>
                <c:pt idx="135">
                  <c:v>45173</c:v>
                </c:pt>
                <c:pt idx="136">
                  <c:v>45174</c:v>
                </c:pt>
                <c:pt idx="137">
                  <c:v>45175</c:v>
                </c:pt>
                <c:pt idx="138">
                  <c:v>45176</c:v>
                </c:pt>
                <c:pt idx="139">
                  <c:v>45177</c:v>
                </c:pt>
                <c:pt idx="140">
                  <c:v>45180</c:v>
                </c:pt>
                <c:pt idx="141">
                  <c:v>45181</c:v>
                </c:pt>
                <c:pt idx="142">
                  <c:v>45182</c:v>
                </c:pt>
                <c:pt idx="143">
                  <c:v>45183</c:v>
                </c:pt>
                <c:pt idx="144">
                  <c:v>45184</c:v>
                </c:pt>
                <c:pt idx="145">
                  <c:v>45187</c:v>
                </c:pt>
                <c:pt idx="146">
                  <c:v>45188</c:v>
                </c:pt>
                <c:pt idx="147">
                  <c:v>45189</c:v>
                </c:pt>
                <c:pt idx="148">
                  <c:v>45190</c:v>
                </c:pt>
                <c:pt idx="149">
                  <c:v>45191</c:v>
                </c:pt>
                <c:pt idx="150">
                  <c:v>45194</c:v>
                </c:pt>
                <c:pt idx="151">
                  <c:v>45195</c:v>
                </c:pt>
                <c:pt idx="152">
                  <c:v>45196</c:v>
                </c:pt>
                <c:pt idx="153">
                  <c:v>45197</c:v>
                </c:pt>
                <c:pt idx="154">
                  <c:v>45198</c:v>
                </c:pt>
                <c:pt idx="155">
                  <c:v>45201</c:v>
                </c:pt>
                <c:pt idx="156">
                  <c:v>45202</c:v>
                </c:pt>
                <c:pt idx="157">
                  <c:v>45203</c:v>
                </c:pt>
                <c:pt idx="158">
                  <c:v>45204</c:v>
                </c:pt>
                <c:pt idx="159">
                  <c:v>45205</c:v>
                </c:pt>
                <c:pt idx="160">
                  <c:v>45208</c:v>
                </c:pt>
                <c:pt idx="161">
                  <c:v>45209</c:v>
                </c:pt>
                <c:pt idx="162">
                  <c:v>45210</c:v>
                </c:pt>
                <c:pt idx="163">
                  <c:v>45211</c:v>
                </c:pt>
                <c:pt idx="164">
                  <c:v>45212</c:v>
                </c:pt>
                <c:pt idx="165">
                  <c:v>45215</c:v>
                </c:pt>
                <c:pt idx="166">
                  <c:v>45216</c:v>
                </c:pt>
                <c:pt idx="167">
                  <c:v>45217</c:v>
                </c:pt>
                <c:pt idx="168">
                  <c:v>45218</c:v>
                </c:pt>
                <c:pt idx="169">
                  <c:v>45219</c:v>
                </c:pt>
                <c:pt idx="170">
                  <c:v>45222</c:v>
                </c:pt>
                <c:pt idx="171">
                  <c:v>45223</c:v>
                </c:pt>
                <c:pt idx="172">
                  <c:v>45224</c:v>
                </c:pt>
                <c:pt idx="173">
                  <c:v>45225</c:v>
                </c:pt>
                <c:pt idx="174">
                  <c:v>45226</c:v>
                </c:pt>
                <c:pt idx="175">
                  <c:v>45229</c:v>
                </c:pt>
                <c:pt idx="176">
                  <c:v>45230</c:v>
                </c:pt>
                <c:pt idx="177">
                  <c:v>45231</c:v>
                </c:pt>
                <c:pt idx="178">
                  <c:v>45232</c:v>
                </c:pt>
                <c:pt idx="179">
                  <c:v>45233</c:v>
                </c:pt>
                <c:pt idx="180">
                  <c:v>45236</c:v>
                </c:pt>
                <c:pt idx="181">
                  <c:v>45237</c:v>
                </c:pt>
                <c:pt idx="182">
                  <c:v>45238</c:v>
                </c:pt>
                <c:pt idx="183">
                  <c:v>45239</c:v>
                </c:pt>
                <c:pt idx="184">
                  <c:v>45240</c:v>
                </c:pt>
                <c:pt idx="185">
                  <c:v>45243</c:v>
                </c:pt>
                <c:pt idx="186">
                  <c:v>45244</c:v>
                </c:pt>
                <c:pt idx="187">
                  <c:v>45245</c:v>
                </c:pt>
                <c:pt idx="188">
                  <c:v>45246</c:v>
                </c:pt>
                <c:pt idx="189">
                  <c:v>45247</c:v>
                </c:pt>
                <c:pt idx="190">
                  <c:v>45250</c:v>
                </c:pt>
                <c:pt idx="191">
                  <c:v>45251</c:v>
                </c:pt>
                <c:pt idx="192">
                  <c:v>45252</c:v>
                </c:pt>
                <c:pt idx="193">
                  <c:v>45253</c:v>
                </c:pt>
                <c:pt idx="194">
                  <c:v>45254</c:v>
                </c:pt>
                <c:pt idx="195">
                  <c:v>45257</c:v>
                </c:pt>
                <c:pt idx="196">
                  <c:v>45258</c:v>
                </c:pt>
                <c:pt idx="197">
                  <c:v>45259</c:v>
                </c:pt>
                <c:pt idx="198">
                  <c:v>45260</c:v>
                </c:pt>
                <c:pt idx="199">
                  <c:v>45261</c:v>
                </c:pt>
                <c:pt idx="200">
                  <c:v>45264</c:v>
                </c:pt>
                <c:pt idx="201">
                  <c:v>45265</c:v>
                </c:pt>
                <c:pt idx="202">
                  <c:v>45266</c:v>
                </c:pt>
                <c:pt idx="203">
                  <c:v>45267</c:v>
                </c:pt>
                <c:pt idx="204">
                  <c:v>45268</c:v>
                </c:pt>
                <c:pt idx="205">
                  <c:v>45271</c:v>
                </c:pt>
                <c:pt idx="206">
                  <c:v>45272</c:v>
                </c:pt>
                <c:pt idx="207">
                  <c:v>45273</c:v>
                </c:pt>
                <c:pt idx="208">
                  <c:v>45274</c:v>
                </c:pt>
                <c:pt idx="209">
                  <c:v>45275</c:v>
                </c:pt>
                <c:pt idx="210">
                  <c:v>45278</c:v>
                </c:pt>
                <c:pt idx="211">
                  <c:v>45279</c:v>
                </c:pt>
                <c:pt idx="212">
                  <c:v>45280</c:v>
                </c:pt>
                <c:pt idx="213">
                  <c:v>45281</c:v>
                </c:pt>
                <c:pt idx="214">
                  <c:v>45282</c:v>
                </c:pt>
                <c:pt idx="215">
                  <c:v>45287</c:v>
                </c:pt>
                <c:pt idx="216">
                  <c:v>45288</c:v>
                </c:pt>
                <c:pt idx="217">
                  <c:v>45289</c:v>
                </c:pt>
                <c:pt idx="218">
                  <c:v>45293</c:v>
                </c:pt>
                <c:pt idx="219">
                  <c:v>45294</c:v>
                </c:pt>
                <c:pt idx="220">
                  <c:v>45295</c:v>
                </c:pt>
                <c:pt idx="221">
                  <c:v>45296</c:v>
                </c:pt>
                <c:pt idx="222">
                  <c:v>45299</c:v>
                </c:pt>
                <c:pt idx="223">
                  <c:v>45300</c:v>
                </c:pt>
                <c:pt idx="224">
                  <c:v>45301</c:v>
                </c:pt>
                <c:pt idx="225">
                  <c:v>45302</c:v>
                </c:pt>
                <c:pt idx="226">
                  <c:v>45303</c:v>
                </c:pt>
                <c:pt idx="227">
                  <c:v>45306</c:v>
                </c:pt>
                <c:pt idx="228">
                  <c:v>45307</c:v>
                </c:pt>
                <c:pt idx="229">
                  <c:v>45308</c:v>
                </c:pt>
                <c:pt idx="230">
                  <c:v>45309</c:v>
                </c:pt>
                <c:pt idx="231">
                  <c:v>45310</c:v>
                </c:pt>
                <c:pt idx="232">
                  <c:v>45313</c:v>
                </c:pt>
                <c:pt idx="233">
                  <c:v>45314</c:v>
                </c:pt>
                <c:pt idx="234">
                  <c:v>45315</c:v>
                </c:pt>
                <c:pt idx="235">
                  <c:v>45316</c:v>
                </c:pt>
                <c:pt idx="236">
                  <c:v>45317</c:v>
                </c:pt>
                <c:pt idx="237">
                  <c:v>45320</c:v>
                </c:pt>
                <c:pt idx="238">
                  <c:v>45321</c:v>
                </c:pt>
                <c:pt idx="239">
                  <c:v>45322</c:v>
                </c:pt>
                <c:pt idx="240">
                  <c:v>45323</c:v>
                </c:pt>
                <c:pt idx="241">
                  <c:v>45324</c:v>
                </c:pt>
                <c:pt idx="242">
                  <c:v>45327</c:v>
                </c:pt>
                <c:pt idx="243">
                  <c:v>45328</c:v>
                </c:pt>
                <c:pt idx="244">
                  <c:v>45329</c:v>
                </c:pt>
                <c:pt idx="245">
                  <c:v>45330</c:v>
                </c:pt>
                <c:pt idx="246">
                  <c:v>45331</c:v>
                </c:pt>
                <c:pt idx="247">
                  <c:v>45334</c:v>
                </c:pt>
                <c:pt idx="248">
                  <c:v>45335</c:v>
                </c:pt>
                <c:pt idx="249">
                  <c:v>45336</c:v>
                </c:pt>
                <c:pt idx="250">
                  <c:v>45337</c:v>
                </c:pt>
                <c:pt idx="251">
                  <c:v>45338</c:v>
                </c:pt>
                <c:pt idx="252">
                  <c:v>45341</c:v>
                </c:pt>
                <c:pt idx="253">
                  <c:v>45342</c:v>
                </c:pt>
                <c:pt idx="254">
                  <c:v>45343</c:v>
                </c:pt>
                <c:pt idx="255">
                  <c:v>45344</c:v>
                </c:pt>
                <c:pt idx="256">
                  <c:v>45345</c:v>
                </c:pt>
                <c:pt idx="257">
                  <c:v>45348</c:v>
                </c:pt>
                <c:pt idx="258">
                  <c:v>45349</c:v>
                </c:pt>
                <c:pt idx="259">
                  <c:v>45350</c:v>
                </c:pt>
                <c:pt idx="260">
                  <c:v>45351</c:v>
                </c:pt>
                <c:pt idx="261">
                  <c:v>45352</c:v>
                </c:pt>
                <c:pt idx="262">
                  <c:v>45355</c:v>
                </c:pt>
                <c:pt idx="263">
                  <c:v>45356</c:v>
                </c:pt>
                <c:pt idx="264">
                  <c:v>45357</c:v>
                </c:pt>
                <c:pt idx="265">
                  <c:v>45358</c:v>
                </c:pt>
                <c:pt idx="266">
                  <c:v>45359</c:v>
                </c:pt>
                <c:pt idx="267">
                  <c:v>45362</c:v>
                </c:pt>
                <c:pt idx="268">
                  <c:v>45363</c:v>
                </c:pt>
                <c:pt idx="269">
                  <c:v>45364</c:v>
                </c:pt>
                <c:pt idx="270">
                  <c:v>45365</c:v>
                </c:pt>
                <c:pt idx="271">
                  <c:v>45366</c:v>
                </c:pt>
                <c:pt idx="272">
                  <c:v>45369</c:v>
                </c:pt>
                <c:pt idx="273">
                  <c:v>45370</c:v>
                </c:pt>
                <c:pt idx="274">
                  <c:v>45371</c:v>
                </c:pt>
                <c:pt idx="275">
                  <c:v>45372</c:v>
                </c:pt>
                <c:pt idx="276">
                  <c:v>45373</c:v>
                </c:pt>
                <c:pt idx="277">
                  <c:v>45376</c:v>
                </c:pt>
                <c:pt idx="278">
                  <c:v>45377</c:v>
                </c:pt>
                <c:pt idx="279">
                  <c:v>45378</c:v>
                </c:pt>
                <c:pt idx="280">
                  <c:v>45384</c:v>
                </c:pt>
                <c:pt idx="281">
                  <c:v>45385</c:v>
                </c:pt>
                <c:pt idx="282">
                  <c:v>45386</c:v>
                </c:pt>
                <c:pt idx="283">
                  <c:v>45387</c:v>
                </c:pt>
                <c:pt idx="284">
                  <c:v>45390</c:v>
                </c:pt>
                <c:pt idx="285">
                  <c:v>45391</c:v>
                </c:pt>
                <c:pt idx="286">
                  <c:v>45392</c:v>
                </c:pt>
                <c:pt idx="287">
                  <c:v>45393</c:v>
                </c:pt>
                <c:pt idx="288">
                  <c:v>45394</c:v>
                </c:pt>
                <c:pt idx="289">
                  <c:v>45397</c:v>
                </c:pt>
                <c:pt idx="290">
                  <c:v>45398</c:v>
                </c:pt>
                <c:pt idx="291">
                  <c:v>45399</c:v>
                </c:pt>
                <c:pt idx="292">
                  <c:v>45400</c:v>
                </c:pt>
                <c:pt idx="293">
                  <c:v>45401</c:v>
                </c:pt>
                <c:pt idx="294">
                  <c:v>45404</c:v>
                </c:pt>
                <c:pt idx="295">
                  <c:v>45405</c:v>
                </c:pt>
                <c:pt idx="296">
                  <c:v>45406</c:v>
                </c:pt>
                <c:pt idx="297">
                  <c:v>45407</c:v>
                </c:pt>
                <c:pt idx="298">
                  <c:v>45408</c:v>
                </c:pt>
                <c:pt idx="299">
                  <c:v>45411</c:v>
                </c:pt>
                <c:pt idx="300">
                  <c:v>45412</c:v>
                </c:pt>
                <c:pt idx="301">
                  <c:v>45414</c:v>
                </c:pt>
                <c:pt idx="302">
                  <c:v>45415</c:v>
                </c:pt>
                <c:pt idx="303">
                  <c:v>45418</c:v>
                </c:pt>
                <c:pt idx="304">
                  <c:v>45419</c:v>
                </c:pt>
                <c:pt idx="305">
                  <c:v>45420</c:v>
                </c:pt>
                <c:pt idx="306">
                  <c:v>45422</c:v>
                </c:pt>
                <c:pt idx="307">
                  <c:v>45425</c:v>
                </c:pt>
                <c:pt idx="308">
                  <c:v>45426</c:v>
                </c:pt>
                <c:pt idx="309">
                  <c:v>45427</c:v>
                </c:pt>
                <c:pt idx="310">
                  <c:v>45428</c:v>
                </c:pt>
                <c:pt idx="311">
                  <c:v>45429</c:v>
                </c:pt>
                <c:pt idx="312">
                  <c:v>45432</c:v>
                </c:pt>
                <c:pt idx="313">
                  <c:v>45433</c:v>
                </c:pt>
                <c:pt idx="314">
                  <c:v>45434</c:v>
                </c:pt>
                <c:pt idx="315">
                  <c:v>45435</c:v>
                </c:pt>
                <c:pt idx="316">
                  <c:v>45436</c:v>
                </c:pt>
                <c:pt idx="317">
                  <c:v>45439</c:v>
                </c:pt>
                <c:pt idx="318">
                  <c:v>45440</c:v>
                </c:pt>
                <c:pt idx="319">
                  <c:v>45441</c:v>
                </c:pt>
                <c:pt idx="320">
                  <c:v>45442</c:v>
                </c:pt>
                <c:pt idx="321">
                  <c:v>45443</c:v>
                </c:pt>
                <c:pt idx="322">
                  <c:v>45446</c:v>
                </c:pt>
                <c:pt idx="323">
                  <c:v>45447</c:v>
                </c:pt>
                <c:pt idx="324">
                  <c:v>45448</c:v>
                </c:pt>
                <c:pt idx="325">
                  <c:v>45449</c:v>
                </c:pt>
                <c:pt idx="326">
                  <c:v>45450</c:v>
                </c:pt>
                <c:pt idx="327">
                  <c:v>45453</c:v>
                </c:pt>
                <c:pt idx="328">
                  <c:v>45454</c:v>
                </c:pt>
                <c:pt idx="329">
                  <c:v>45455</c:v>
                </c:pt>
                <c:pt idx="330">
                  <c:v>45456</c:v>
                </c:pt>
                <c:pt idx="331">
                  <c:v>45460</c:v>
                </c:pt>
                <c:pt idx="332">
                  <c:v>45461</c:v>
                </c:pt>
                <c:pt idx="333">
                  <c:v>45462</c:v>
                </c:pt>
                <c:pt idx="334">
                  <c:v>45463</c:v>
                </c:pt>
                <c:pt idx="335">
                  <c:v>45464</c:v>
                </c:pt>
                <c:pt idx="336">
                  <c:v>45467</c:v>
                </c:pt>
                <c:pt idx="337">
                  <c:v>45468</c:v>
                </c:pt>
                <c:pt idx="338">
                  <c:v>45469</c:v>
                </c:pt>
                <c:pt idx="339">
                  <c:v>45470</c:v>
                </c:pt>
                <c:pt idx="340">
                  <c:v>45471</c:v>
                </c:pt>
                <c:pt idx="341">
                  <c:v>45474</c:v>
                </c:pt>
                <c:pt idx="342">
                  <c:v>45475</c:v>
                </c:pt>
                <c:pt idx="343">
                  <c:v>45476</c:v>
                </c:pt>
                <c:pt idx="344">
                  <c:v>45477</c:v>
                </c:pt>
                <c:pt idx="345">
                  <c:v>45478</c:v>
                </c:pt>
                <c:pt idx="346">
                  <c:v>45481</c:v>
                </c:pt>
                <c:pt idx="347">
                  <c:v>45482</c:v>
                </c:pt>
                <c:pt idx="348">
                  <c:v>45483</c:v>
                </c:pt>
                <c:pt idx="349">
                  <c:v>45484</c:v>
                </c:pt>
                <c:pt idx="350">
                  <c:v>45485</c:v>
                </c:pt>
                <c:pt idx="351">
                  <c:v>45488</c:v>
                </c:pt>
                <c:pt idx="352">
                  <c:v>45489</c:v>
                </c:pt>
                <c:pt idx="353">
                  <c:v>45490</c:v>
                </c:pt>
                <c:pt idx="354">
                  <c:v>45491</c:v>
                </c:pt>
                <c:pt idx="355">
                  <c:v>45492</c:v>
                </c:pt>
                <c:pt idx="356">
                  <c:v>45495</c:v>
                </c:pt>
                <c:pt idx="357">
                  <c:v>45496</c:v>
                </c:pt>
                <c:pt idx="358">
                  <c:v>45497</c:v>
                </c:pt>
                <c:pt idx="359">
                  <c:v>45498</c:v>
                </c:pt>
                <c:pt idx="360">
                  <c:v>45499</c:v>
                </c:pt>
                <c:pt idx="361">
                  <c:v>45502</c:v>
                </c:pt>
                <c:pt idx="362">
                  <c:v>45503</c:v>
                </c:pt>
                <c:pt idx="363">
                  <c:v>45504</c:v>
                </c:pt>
                <c:pt idx="364">
                  <c:v>45505</c:v>
                </c:pt>
                <c:pt idx="365">
                  <c:v>45506</c:v>
                </c:pt>
                <c:pt idx="366">
                  <c:v>45509</c:v>
                </c:pt>
                <c:pt idx="367">
                  <c:v>45510</c:v>
                </c:pt>
                <c:pt idx="368">
                  <c:v>45511</c:v>
                </c:pt>
                <c:pt idx="369">
                  <c:v>45512</c:v>
                </c:pt>
                <c:pt idx="370">
                  <c:v>45513</c:v>
                </c:pt>
                <c:pt idx="371">
                  <c:v>45516</c:v>
                </c:pt>
                <c:pt idx="372">
                  <c:v>45517</c:v>
                </c:pt>
                <c:pt idx="373">
                  <c:v>45518</c:v>
                </c:pt>
                <c:pt idx="374">
                  <c:v>45519</c:v>
                </c:pt>
                <c:pt idx="375">
                  <c:v>45520</c:v>
                </c:pt>
                <c:pt idx="376">
                  <c:v>45523</c:v>
                </c:pt>
                <c:pt idx="377">
                  <c:v>45524</c:v>
                </c:pt>
                <c:pt idx="378">
                  <c:v>45525</c:v>
                </c:pt>
                <c:pt idx="379">
                  <c:v>45526</c:v>
                </c:pt>
                <c:pt idx="380">
                  <c:v>45527</c:v>
                </c:pt>
                <c:pt idx="381">
                  <c:v>45530</c:v>
                </c:pt>
                <c:pt idx="382">
                  <c:v>45531</c:v>
                </c:pt>
                <c:pt idx="383">
                  <c:v>45532</c:v>
                </c:pt>
                <c:pt idx="384">
                  <c:v>45533</c:v>
                </c:pt>
                <c:pt idx="385">
                  <c:v>45534</c:v>
                </c:pt>
                <c:pt idx="386">
                  <c:v>45537</c:v>
                </c:pt>
                <c:pt idx="387">
                  <c:v>45538</c:v>
                </c:pt>
                <c:pt idx="388">
                  <c:v>45539</c:v>
                </c:pt>
                <c:pt idx="389">
                  <c:v>45540</c:v>
                </c:pt>
                <c:pt idx="390">
                  <c:v>45541</c:v>
                </c:pt>
                <c:pt idx="391">
                  <c:v>45544</c:v>
                </c:pt>
                <c:pt idx="392">
                  <c:v>45545</c:v>
                </c:pt>
                <c:pt idx="393">
                  <c:v>45546</c:v>
                </c:pt>
                <c:pt idx="394">
                  <c:v>45547</c:v>
                </c:pt>
                <c:pt idx="395">
                  <c:v>45548</c:v>
                </c:pt>
                <c:pt idx="396">
                  <c:v>45551</c:v>
                </c:pt>
                <c:pt idx="397">
                  <c:v>45552</c:v>
                </c:pt>
                <c:pt idx="398">
                  <c:v>45553</c:v>
                </c:pt>
              </c:numCache>
            </c:numRef>
          </c:cat>
          <c:val>
            <c:numRef>
              <c:f>Sheet1!$R$5:$R$401</c:f>
              <c:numCache>
                <c:formatCode>General</c:formatCode>
                <c:ptCount val="397"/>
                <c:pt idx="0">
                  <c:v>4.0999999999999996</c:v>
                </c:pt>
                <c:pt idx="1">
                  <c:v>4.0999999999999996</c:v>
                </c:pt>
                <c:pt idx="2">
                  <c:v>4</c:v>
                </c:pt>
                <c:pt idx="3">
                  <c:v>5</c:v>
                </c:pt>
                <c:pt idx="4">
                  <c:v>4.8499999999999996</c:v>
                </c:pt>
                <c:pt idx="5">
                  <c:v>4.7</c:v>
                </c:pt>
                <c:pt idx="6">
                  <c:v>4.55</c:v>
                </c:pt>
                <c:pt idx="7">
                  <c:v>4.4000000000000004</c:v>
                </c:pt>
                <c:pt idx="8">
                  <c:v>4.3499999999999996</c:v>
                </c:pt>
                <c:pt idx="9">
                  <c:v>4.3499999999999996</c:v>
                </c:pt>
                <c:pt idx="10">
                  <c:v>4.3</c:v>
                </c:pt>
                <c:pt idx="11">
                  <c:v>4.3</c:v>
                </c:pt>
                <c:pt idx="12">
                  <c:v>4.3</c:v>
                </c:pt>
                <c:pt idx="13">
                  <c:v>4.25</c:v>
                </c:pt>
                <c:pt idx="14">
                  <c:v>4.3</c:v>
                </c:pt>
                <c:pt idx="15">
                  <c:v>4.55</c:v>
                </c:pt>
                <c:pt idx="16">
                  <c:v>4.6500000000000004</c:v>
                </c:pt>
                <c:pt idx="17">
                  <c:v>4.8499999999999996</c:v>
                </c:pt>
                <c:pt idx="18">
                  <c:v>4.6500000000000004</c:v>
                </c:pt>
                <c:pt idx="19">
                  <c:v>4.6500000000000004</c:v>
                </c:pt>
                <c:pt idx="20">
                  <c:v>4.6500000000000004</c:v>
                </c:pt>
                <c:pt idx="21">
                  <c:v>4.75</c:v>
                </c:pt>
                <c:pt idx="22">
                  <c:v>4.8</c:v>
                </c:pt>
                <c:pt idx="23">
                  <c:v>4.95</c:v>
                </c:pt>
                <c:pt idx="24">
                  <c:v>5.0999999999999996</c:v>
                </c:pt>
                <c:pt idx="25">
                  <c:v>5.0999999999999996</c:v>
                </c:pt>
                <c:pt idx="26">
                  <c:v>5.15</c:v>
                </c:pt>
                <c:pt idx="27">
                  <c:v>5.15</c:v>
                </c:pt>
                <c:pt idx="28">
                  <c:v>5.15</c:v>
                </c:pt>
                <c:pt idx="29">
                  <c:v>5.25</c:v>
                </c:pt>
                <c:pt idx="30">
                  <c:v>5.3</c:v>
                </c:pt>
                <c:pt idx="31">
                  <c:v>5.3</c:v>
                </c:pt>
                <c:pt idx="32">
                  <c:v>5.3</c:v>
                </c:pt>
                <c:pt idx="33">
                  <c:v>5.3</c:v>
                </c:pt>
                <c:pt idx="34">
                  <c:v>5.3</c:v>
                </c:pt>
                <c:pt idx="35">
                  <c:v>5.3</c:v>
                </c:pt>
                <c:pt idx="36">
                  <c:v>5.3</c:v>
                </c:pt>
                <c:pt idx="37">
                  <c:v>5.3</c:v>
                </c:pt>
                <c:pt idx="38">
                  <c:v>5.3</c:v>
                </c:pt>
                <c:pt idx="39">
                  <c:v>5.3</c:v>
                </c:pt>
                <c:pt idx="40">
                  <c:v>5.35</c:v>
                </c:pt>
                <c:pt idx="41">
                  <c:v>5.5</c:v>
                </c:pt>
                <c:pt idx="42">
                  <c:v>5.5</c:v>
                </c:pt>
                <c:pt idx="43">
                  <c:v>5.5</c:v>
                </c:pt>
                <c:pt idx="44">
                  <c:v>5.5</c:v>
                </c:pt>
                <c:pt idx="45">
                  <c:v>5.5</c:v>
                </c:pt>
                <c:pt idx="46">
                  <c:v>5.6</c:v>
                </c:pt>
                <c:pt idx="47">
                  <c:v>5.6</c:v>
                </c:pt>
                <c:pt idx="48">
                  <c:v>5.75</c:v>
                </c:pt>
                <c:pt idx="49">
                  <c:v>5.75</c:v>
                </c:pt>
                <c:pt idx="50">
                  <c:v>5.75</c:v>
                </c:pt>
                <c:pt idx="51">
                  <c:v>5.75</c:v>
                </c:pt>
                <c:pt idx="52">
                  <c:v>5.8</c:v>
                </c:pt>
                <c:pt idx="53">
                  <c:v>5.8</c:v>
                </c:pt>
                <c:pt idx="54">
                  <c:v>5.8</c:v>
                </c:pt>
                <c:pt idx="55">
                  <c:v>5.8</c:v>
                </c:pt>
                <c:pt idx="56">
                  <c:v>5.8</c:v>
                </c:pt>
                <c:pt idx="57">
                  <c:v>5.75</c:v>
                </c:pt>
                <c:pt idx="58">
                  <c:v>5.75</c:v>
                </c:pt>
                <c:pt idx="59">
                  <c:v>5.75</c:v>
                </c:pt>
                <c:pt idx="60">
                  <c:v>5.7</c:v>
                </c:pt>
                <c:pt idx="61">
                  <c:v>5.7</c:v>
                </c:pt>
                <c:pt idx="62">
                  <c:v>5.7</c:v>
                </c:pt>
                <c:pt idx="63">
                  <c:v>5.7</c:v>
                </c:pt>
                <c:pt idx="64">
                  <c:v>5.7</c:v>
                </c:pt>
                <c:pt idx="65">
                  <c:v>5.6</c:v>
                </c:pt>
                <c:pt idx="66">
                  <c:v>5.55</c:v>
                </c:pt>
                <c:pt idx="67">
                  <c:v>5.55</c:v>
                </c:pt>
                <c:pt idx="68">
                  <c:v>5.55</c:v>
                </c:pt>
                <c:pt idx="69">
                  <c:v>5.6</c:v>
                </c:pt>
                <c:pt idx="70">
                  <c:v>5.8</c:v>
                </c:pt>
                <c:pt idx="71">
                  <c:v>5.8</c:v>
                </c:pt>
                <c:pt idx="72">
                  <c:v>5.9</c:v>
                </c:pt>
                <c:pt idx="73">
                  <c:v>6.1</c:v>
                </c:pt>
                <c:pt idx="74">
                  <c:v>6</c:v>
                </c:pt>
                <c:pt idx="75">
                  <c:v>5.95</c:v>
                </c:pt>
                <c:pt idx="76">
                  <c:v>5.95</c:v>
                </c:pt>
                <c:pt idx="77">
                  <c:v>5.95</c:v>
                </c:pt>
                <c:pt idx="78">
                  <c:v>5.95</c:v>
                </c:pt>
                <c:pt idx="79">
                  <c:v>6.1</c:v>
                </c:pt>
                <c:pt idx="80">
                  <c:v>6.1</c:v>
                </c:pt>
                <c:pt idx="81">
                  <c:v>6.1</c:v>
                </c:pt>
                <c:pt idx="82">
                  <c:v>6.1</c:v>
                </c:pt>
                <c:pt idx="83">
                  <c:v>6.15</c:v>
                </c:pt>
                <c:pt idx="84">
                  <c:v>6.1</c:v>
                </c:pt>
                <c:pt idx="85">
                  <c:v>6.1</c:v>
                </c:pt>
                <c:pt idx="86">
                  <c:v>6.1</c:v>
                </c:pt>
                <c:pt idx="87">
                  <c:v>6.1</c:v>
                </c:pt>
                <c:pt idx="88">
                  <c:v>6.1</c:v>
                </c:pt>
                <c:pt idx="89">
                  <c:v>6.2</c:v>
                </c:pt>
                <c:pt idx="90">
                  <c:v>6.4</c:v>
                </c:pt>
                <c:pt idx="91">
                  <c:v>6.4</c:v>
                </c:pt>
                <c:pt idx="92">
                  <c:v>6.4</c:v>
                </c:pt>
                <c:pt idx="93">
                  <c:v>6.55</c:v>
                </c:pt>
                <c:pt idx="94">
                  <c:v>6.75</c:v>
                </c:pt>
                <c:pt idx="95">
                  <c:v>6.6</c:v>
                </c:pt>
                <c:pt idx="96">
                  <c:v>6.85</c:v>
                </c:pt>
                <c:pt idx="97">
                  <c:v>6.75</c:v>
                </c:pt>
                <c:pt idx="98">
                  <c:v>6.65</c:v>
                </c:pt>
                <c:pt idx="99">
                  <c:v>6.75</c:v>
                </c:pt>
                <c:pt idx="100">
                  <c:v>6.75</c:v>
                </c:pt>
                <c:pt idx="101">
                  <c:v>6.75</c:v>
                </c:pt>
                <c:pt idx="102">
                  <c:v>6.75</c:v>
                </c:pt>
                <c:pt idx="103">
                  <c:v>7</c:v>
                </c:pt>
                <c:pt idx="104">
                  <c:v>7.1</c:v>
                </c:pt>
                <c:pt idx="105">
                  <c:v>7.1</c:v>
                </c:pt>
                <c:pt idx="106">
                  <c:v>7.1</c:v>
                </c:pt>
                <c:pt idx="107">
                  <c:v>7.1</c:v>
                </c:pt>
                <c:pt idx="108">
                  <c:v>7.1</c:v>
                </c:pt>
                <c:pt idx="109">
                  <c:v>7.1</c:v>
                </c:pt>
                <c:pt idx="110">
                  <c:v>7.1</c:v>
                </c:pt>
                <c:pt idx="111">
                  <c:v>7.1</c:v>
                </c:pt>
                <c:pt idx="112">
                  <c:v>7.1</c:v>
                </c:pt>
                <c:pt idx="113">
                  <c:v>7.1</c:v>
                </c:pt>
                <c:pt idx="114">
                  <c:v>7</c:v>
                </c:pt>
                <c:pt idx="115">
                  <c:v>7</c:v>
                </c:pt>
                <c:pt idx="116">
                  <c:v>7</c:v>
                </c:pt>
                <c:pt idx="117">
                  <c:v>7</c:v>
                </c:pt>
                <c:pt idx="118">
                  <c:v>6.95</c:v>
                </c:pt>
                <c:pt idx="119">
                  <c:v>6.95</c:v>
                </c:pt>
                <c:pt idx="120">
                  <c:v>6.85</c:v>
                </c:pt>
                <c:pt idx="121">
                  <c:v>6.85</c:v>
                </c:pt>
                <c:pt idx="122">
                  <c:v>6.85</c:v>
                </c:pt>
                <c:pt idx="123">
                  <c:v>6.8</c:v>
                </c:pt>
                <c:pt idx="124">
                  <c:v>6.75</c:v>
                </c:pt>
                <c:pt idx="125">
                  <c:v>6.75</c:v>
                </c:pt>
                <c:pt idx="126">
                  <c:v>6.6</c:v>
                </c:pt>
                <c:pt idx="127">
                  <c:v>6.6</c:v>
                </c:pt>
                <c:pt idx="128">
                  <c:v>6.7</c:v>
                </c:pt>
                <c:pt idx="129">
                  <c:v>6.75</c:v>
                </c:pt>
                <c:pt idx="130">
                  <c:v>6.75</c:v>
                </c:pt>
                <c:pt idx="131">
                  <c:v>6.8</c:v>
                </c:pt>
                <c:pt idx="132">
                  <c:v>7</c:v>
                </c:pt>
                <c:pt idx="133">
                  <c:v>7.1</c:v>
                </c:pt>
                <c:pt idx="134">
                  <c:v>7.1</c:v>
                </c:pt>
                <c:pt idx="135">
                  <c:v>7.1</c:v>
                </c:pt>
                <c:pt idx="136">
                  <c:v>7.1</c:v>
                </c:pt>
                <c:pt idx="137">
                  <c:v>7.1</c:v>
                </c:pt>
                <c:pt idx="138">
                  <c:v>7</c:v>
                </c:pt>
                <c:pt idx="139">
                  <c:v>7</c:v>
                </c:pt>
                <c:pt idx="140">
                  <c:v>7</c:v>
                </c:pt>
                <c:pt idx="141">
                  <c:v>7</c:v>
                </c:pt>
                <c:pt idx="142">
                  <c:v>7</c:v>
                </c:pt>
                <c:pt idx="143">
                  <c:v>7</c:v>
                </c:pt>
                <c:pt idx="144">
                  <c:v>7.1</c:v>
                </c:pt>
                <c:pt idx="145">
                  <c:v>7.1</c:v>
                </c:pt>
                <c:pt idx="146">
                  <c:v>7.1</c:v>
                </c:pt>
                <c:pt idx="147">
                  <c:v>7.1</c:v>
                </c:pt>
                <c:pt idx="148">
                  <c:v>7.1</c:v>
                </c:pt>
                <c:pt idx="149">
                  <c:v>7.1</c:v>
                </c:pt>
                <c:pt idx="150">
                  <c:v>7.1</c:v>
                </c:pt>
                <c:pt idx="151">
                  <c:v>7</c:v>
                </c:pt>
                <c:pt idx="152">
                  <c:v>7</c:v>
                </c:pt>
                <c:pt idx="153">
                  <c:v>7</c:v>
                </c:pt>
                <c:pt idx="154">
                  <c:v>7</c:v>
                </c:pt>
                <c:pt idx="155">
                  <c:v>6.8</c:v>
                </c:pt>
                <c:pt idx="156">
                  <c:v>6.8</c:v>
                </c:pt>
                <c:pt idx="157">
                  <c:v>6.6</c:v>
                </c:pt>
                <c:pt idx="158">
                  <c:v>6.6</c:v>
                </c:pt>
                <c:pt idx="159">
                  <c:v>6.55</c:v>
                </c:pt>
                <c:pt idx="160">
                  <c:v>6.55</c:v>
                </c:pt>
                <c:pt idx="161">
                  <c:v>6.5</c:v>
                </c:pt>
                <c:pt idx="162">
                  <c:v>6.35</c:v>
                </c:pt>
                <c:pt idx="163">
                  <c:v>6.3</c:v>
                </c:pt>
                <c:pt idx="164">
                  <c:v>6.2</c:v>
                </c:pt>
                <c:pt idx="165">
                  <c:v>6.1</c:v>
                </c:pt>
                <c:pt idx="166">
                  <c:v>6.1</c:v>
                </c:pt>
                <c:pt idx="167">
                  <c:v>6.1</c:v>
                </c:pt>
                <c:pt idx="168">
                  <c:v>6.1</c:v>
                </c:pt>
                <c:pt idx="169">
                  <c:v>5.75</c:v>
                </c:pt>
                <c:pt idx="170">
                  <c:v>5.75</c:v>
                </c:pt>
                <c:pt idx="171">
                  <c:v>6</c:v>
                </c:pt>
                <c:pt idx="172">
                  <c:v>6</c:v>
                </c:pt>
                <c:pt idx="173">
                  <c:v>6</c:v>
                </c:pt>
                <c:pt idx="174">
                  <c:v>6</c:v>
                </c:pt>
                <c:pt idx="175">
                  <c:v>6</c:v>
                </c:pt>
                <c:pt idx="176">
                  <c:v>6</c:v>
                </c:pt>
                <c:pt idx="177">
                  <c:v>6</c:v>
                </c:pt>
                <c:pt idx="178">
                  <c:v>5.95</c:v>
                </c:pt>
                <c:pt idx="179">
                  <c:v>5.95</c:v>
                </c:pt>
                <c:pt idx="180">
                  <c:v>5.95</c:v>
                </c:pt>
                <c:pt idx="181">
                  <c:v>5.95</c:v>
                </c:pt>
                <c:pt idx="182">
                  <c:v>5.85</c:v>
                </c:pt>
                <c:pt idx="183">
                  <c:v>5.85</c:v>
                </c:pt>
                <c:pt idx="184">
                  <c:v>5.75</c:v>
                </c:pt>
                <c:pt idx="185">
                  <c:v>5.7</c:v>
                </c:pt>
                <c:pt idx="186">
                  <c:v>5.55</c:v>
                </c:pt>
                <c:pt idx="187">
                  <c:v>5.55</c:v>
                </c:pt>
                <c:pt idx="188">
                  <c:v>5.4</c:v>
                </c:pt>
                <c:pt idx="189">
                  <c:v>4.8</c:v>
                </c:pt>
                <c:pt idx="190">
                  <c:v>4.8</c:v>
                </c:pt>
                <c:pt idx="191">
                  <c:v>4.75</c:v>
                </c:pt>
                <c:pt idx="192">
                  <c:v>4.75</c:v>
                </c:pt>
                <c:pt idx="193">
                  <c:v>4.7</c:v>
                </c:pt>
                <c:pt idx="194">
                  <c:v>5.0999999999999996</c:v>
                </c:pt>
                <c:pt idx="195">
                  <c:v>5.0999999999999996</c:v>
                </c:pt>
                <c:pt idx="196">
                  <c:v>5.0999999999999996</c:v>
                </c:pt>
                <c:pt idx="197">
                  <c:v>5</c:v>
                </c:pt>
                <c:pt idx="198">
                  <c:v>5</c:v>
                </c:pt>
                <c:pt idx="199">
                  <c:v>5</c:v>
                </c:pt>
                <c:pt idx="200">
                  <c:v>5</c:v>
                </c:pt>
                <c:pt idx="201">
                  <c:v>5.0999999999999996</c:v>
                </c:pt>
                <c:pt idx="202">
                  <c:v>5.0999999999999996</c:v>
                </c:pt>
                <c:pt idx="203">
                  <c:v>5.0999999999999996</c:v>
                </c:pt>
                <c:pt idx="204">
                  <c:v>5</c:v>
                </c:pt>
                <c:pt idx="205">
                  <c:v>4.95</c:v>
                </c:pt>
                <c:pt idx="206">
                  <c:v>4.9000000000000004</c:v>
                </c:pt>
                <c:pt idx="207">
                  <c:v>4.8499999999999996</c:v>
                </c:pt>
                <c:pt idx="208">
                  <c:v>4.8499999999999996</c:v>
                </c:pt>
                <c:pt idx="209">
                  <c:v>4.8499999999999996</c:v>
                </c:pt>
                <c:pt idx="210">
                  <c:v>4.9000000000000004</c:v>
                </c:pt>
                <c:pt idx="211">
                  <c:v>4.8499999999999996</c:v>
                </c:pt>
                <c:pt idx="212">
                  <c:v>4.6500000000000004</c:v>
                </c:pt>
                <c:pt idx="213">
                  <c:v>4.8499999999999996</c:v>
                </c:pt>
                <c:pt idx="214">
                  <c:v>4.8499999999999996</c:v>
                </c:pt>
                <c:pt idx="215">
                  <c:v>4.8499999999999996</c:v>
                </c:pt>
                <c:pt idx="216">
                  <c:v>4.75</c:v>
                </c:pt>
                <c:pt idx="217">
                  <c:v>4.75</c:v>
                </c:pt>
                <c:pt idx="218">
                  <c:v>4.6500000000000004</c:v>
                </c:pt>
                <c:pt idx="219">
                  <c:v>4.45</c:v>
                </c:pt>
                <c:pt idx="220">
                  <c:v>4.3499999999999996</c:v>
                </c:pt>
                <c:pt idx="221">
                  <c:v>4.3</c:v>
                </c:pt>
                <c:pt idx="222">
                  <c:v>4.3</c:v>
                </c:pt>
                <c:pt idx="223">
                  <c:v>4.3</c:v>
                </c:pt>
                <c:pt idx="224">
                  <c:v>4.1500000000000004</c:v>
                </c:pt>
                <c:pt idx="225">
                  <c:v>4.1500000000000004</c:v>
                </c:pt>
                <c:pt idx="226">
                  <c:v>3.9</c:v>
                </c:pt>
                <c:pt idx="227">
                  <c:v>3.1</c:v>
                </c:pt>
                <c:pt idx="228">
                  <c:v>3</c:v>
                </c:pt>
                <c:pt idx="229">
                  <c:v>3.35</c:v>
                </c:pt>
                <c:pt idx="230">
                  <c:v>3.5</c:v>
                </c:pt>
                <c:pt idx="231">
                  <c:v>3.7</c:v>
                </c:pt>
                <c:pt idx="232">
                  <c:v>3.9</c:v>
                </c:pt>
                <c:pt idx="233">
                  <c:v>3.85</c:v>
                </c:pt>
                <c:pt idx="234">
                  <c:v>3.75</c:v>
                </c:pt>
                <c:pt idx="235">
                  <c:v>3.55</c:v>
                </c:pt>
                <c:pt idx="236">
                  <c:v>3.35</c:v>
                </c:pt>
                <c:pt idx="237">
                  <c:v>3.65</c:v>
                </c:pt>
                <c:pt idx="238">
                  <c:v>3.7</c:v>
                </c:pt>
                <c:pt idx="239">
                  <c:v>3.65</c:v>
                </c:pt>
                <c:pt idx="240">
                  <c:v>3.35</c:v>
                </c:pt>
                <c:pt idx="241">
                  <c:v>3.45</c:v>
                </c:pt>
                <c:pt idx="242">
                  <c:v>3.35</c:v>
                </c:pt>
                <c:pt idx="243">
                  <c:v>3.35</c:v>
                </c:pt>
                <c:pt idx="244">
                  <c:v>3.4</c:v>
                </c:pt>
                <c:pt idx="245">
                  <c:v>3.35</c:v>
                </c:pt>
                <c:pt idx="246">
                  <c:v>3.35</c:v>
                </c:pt>
                <c:pt idx="247">
                  <c:v>3.3</c:v>
                </c:pt>
                <c:pt idx="248">
                  <c:v>3.35</c:v>
                </c:pt>
                <c:pt idx="249">
                  <c:v>3.35</c:v>
                </c:pt>
                <c:pt idx="250">
                  <c:v>3.3</c:v>
                </c:pt>
                <c:pt idx="251">
                  <c:v>3.3</c:v>
                </c:pt>
                <c:pt idx="252">
                  <c:v>3.25</c:v>
                </c:pt>
                <c:pt idx="253">
                  <c:v>3.25</c:v>
                </c:pt>
                <c:pt idx="254">
                  <c:v>3.1</c:v>
                </c:pt>
                <c:pt idx="255">
                  <c:v>2.85</c:v>
                </c:pt>
                <c:pt idx="256">
                  <c:v>2.7</c:v>
                </c:pt>
                <c:pt idx="257">
                  <c:v>2.8</c:v>
                </c:pt>
                <c:pt idx="258">
                  <c:v>2.7</c:v>
                </c:pt>
                <c:pt idx="259">
                  <c:v>2.7</c:v>
                </c:pt>
                <c:pt idx="260">
                  <c:v>2.6</c:v>
                </c:pt>
                <c:pt idx="261">
                  <c:v>2.2000000000000002</c:v>
                </c:pt>
                <c:pt idx="262">
                  <c:v>2.2000000000000002</c:v>
                </c:pt>
                <c:pt idx="263">
                  <c:v>2.4</c:v>
                </c:pt>
                <c:pt idx="264">
                  <c:v>2.4500000000000002</c:v>
                </c:pt>
                <c:pt idx="265">
                  <c:v>2.4500000000000002</c:v>
                </c:pt>
                <c:pt idx="266">
                  <c:v>2.5</c:v>
                </c:pt>
                <c:pt idx="267">
                  <c:v>2.4</c:v>
                </c:pt>
                <c:pt idx="268">
                  <c:v>2.35</c:v>
                </c:pt>
                <c:pt idx="269">
                  <c:v>2.2999999999999998</c:v>
                </c:pt>
                <c:pt idx="270">
                  <c:v>2.2999999999999998</c:v>
                </c:pt>
                <c:pt idx="271">
                  <c:v>2.25</c:v>
                </c:pt>
                <c:pt idx="272">
                  <c:v>2.25</c:v>
                </c:pt>
                <c:pt idx="273">
                  <c:v>2.25</c:v>
                </c:pt>
                <c:pt idx="274">
                  <c:v>2.25</c:v>
                </c:pt>
                <c:pt idx="275">
                  <c:v>2.25</c:v>
                </c:pt>
                <c:pt idx="276">
                  <c:v>2.2999999999999998</c:v>
                </c:pt>
                <c:pt idx="277">
                  <c:v>2.2999999999999998</c:v>
                </c:pt>
                <c:pt idx="278">
                  <c:v>2.35</c:v>
                </c:pt>
                <c:pt idx="279">
                  <c:v>2.35</c:v>
                </c:pt>
                <c:pt idx="280">
                  <c:v>2.35</c:v>
                </c:pt>
                <c:pt idx="281">
                  <c:v>2.4</c:v>
                </c:pt>
                <c:pt idx="282">
                  <c:v>2.4</c:v>
                </c:pt>
                <c:pt idx="283">
                  <c:v>2.4</c:v>
                </c:pt>
                <c:pt idx="284">
                  <c:v>2.4500000000000002</c:v>
                </c:pt>
                <c:pt idx="285">
                  <c:v>2.4500000000000002</c:v>
                </c:pt>
                <c:pt idx="286">
                  <c:v>2.4500000000000002</c:v>
                </c:pt>
                <c:pt idx="287">
                  <c:v>2.4500000000000002</c:v>
                </c:pt>
                <c:pt idx="288">
                  <c:v>2.4500000000000002</c:v>
                </c:pt>
                <c:pt idx="289">
                  <c:v>2.4</c:v>
                </c:pt>
                <c:pt idx="290">
                  <c:v>2.4</c:v>
                </c:pt>
                <c:pt idx="291">
                  <c:v>2.4</c:v>
                </c:pt>
                <c:pt idx="292">
                  <c:v>2.35</c:v>
                </c:pt>
                <c:pt idx="293">
                  <c:v>2.35</c:v>
                </c:pt>
                <c:pt idx="294">
                  <c:v>2.2999999999999998</c:v>
                </c:pt>
                <c:pt idx="295">
                  <c:v>2.25</c:v>
                </c:pt>
                <c:pt idx="296">
                  <c:v>2.25</c:v>
                </c:pt>
                <c:pt idx="297">
                  <c:v>2.25</c:v>
                </c:pt>
                <c:pt idx="298">
                  <c:v>2.2000000000000002</c:v>
                </c:pt>
                <c:pt idx="299">
                  <c:v>2.1</c:v>
                </c:pt>
                <c:pt idx="300">
                  <c:v>2</c:v>
                </c:pt>
                <c:pt idx="301">
                  <c:v>1.85</c:v>
                </c:pt>
                <c:pt idx="302">
                  <c:v>1.8</c:v>
                </c:pt>
                <c:pt idx="303">
                  <c:v>1.8</c:v>
                </c:pt>
                <c:pt idx="304">
                  <c:v>1.8</c:v>
                </c:pt>
                <c:pt idx="305">
                  <c:v>1.75</c:v>
                </c:pt>
                <c:pt idx="306">
                  <c:v>1.7</c:v>
                </c:pt>
                <c:pt idx="307">
                  <c:v>1.65</c:v>
                </c:pt>
                <c:pt idx="308">
                  <c:v>1.5</c:v>
                </c:pt>
                <c:pt idx="309">
                  <c:v>1.55</c:v>
                </c:pt>
                <c:pt idx="310">
                  <c:v>1.55</c:v>
                </c:pt>
                <c:pt idx="311">
                  <c:v>1.65</c:v>
                </c:pt>
                <c:pt idx="312">
                  <c:v>1.9</c:v>
                </c:pt>
                <c:pt idx="313">
                  <c:v>1.95</c:v>
                </c:pt>
                <c:pt idx="314">
                  <c:v>1.9</c:v>
                </c:pt>
                <c:pt idx="315">
                  <c:v>1.9</c:v>
                </c:pt>
                <c:pt idx="316">
                  <c:v>1.9</c:v>
                </c:pt>
                <c:pt idx="317">
                  <c:v>1.85</c:v>
                </c:pt>
                <c:pt idx="318">
                  <c:v>1.85</c:v>
                </c:pt>
                <c:pt idx="319">
                  <c:v>1.8</c:v>
                </c:pt>
                <c:pt idx="320">
                  <c:v>1.85</c:v>
                </c:pt>
                <c:pt idx="321">
                  <c:v>1.85</c:v>
                </c:pt>
                <c:pt idx="322">
                  <c:v>1.85</c:v>
                </c:pt>
                <c:pt idx="323">
                  <c:v>1.85</c:v>
                </c:pt>
                <c:pt idx="324">
                  <c:v>1.9</c:v>
                </c:pt>
                <c:pt idx="325">
                  <c:v>1.9</c:v>
                </c:pt>
                <c:pt idx="326">
                  <c:v>1.85</c:v>
                </c:pt>
                <c:pt idx="327">
                  <c:v>1.95</c:v>
                </c:pt>
                <c:pt idx="328">
                  <c:v>2</c:v>
                </c:pt>
                <c:pt idx="329">
                  <c:v>2</c:v>
                </c:pt>
                <c:pt idx="330">
                  <c:v>2.15</c:v>
                </c:pt>
                <c:pt idx="331">
                  <c:v>2.15</c:v>
                </c:pt>
                <c:pt idx="332">
                  <c:v>2.15</c:v>
                </c:pt>
                <c:pt idx="333">
                  <c:v>2.25</c:v>
                </c:pt>
                <c:pt idx="334">
                  <c:v>2.35</c:v>
                </c:pt>
                <c:pt idx="335">
                  <c:v>2.35</c:v>
                </c:pt>
                <c:pt idx="336">
                  <c:v>2.35</c:v>
                </c:pt>
                <c:pt idx="337">
                  <c:v>2.4</c:v>
                </c:pt>
                <c:pt idx="338">
                  <c:v>2.35</c:v>
                </c:pt>
                <c:pt idx="339">
                  <c:v>2.2999999999999998</c:v>
                </c:pt>
                <c:pt idx="340">
                  <c:v>2.2999999999999998</c:v>
                </c:pt>
                <c:pt idx="341">
                  <c:v>2</c:v>
                </c:pt>
                <c:pt idx="342">
                  <c:v>2</c:v>
                </c:pt>
                <c:pt idx="343">
                  <c:v>1.95</c:v>
                </c:pt>
                <c:pt idx="344">
                  <c:v>1.95</c:v>
                </c:pt>
                <c:pt idx="345">
                  <c:v>1.95</c:v>
                </c:pt>
                <c:pt idx="346">
                  <c:v>1.95</c:v>
                </c:pt>
                <c:pt idx="347">
                  <c:v>1.95</c:v>
                </c:pt>
                <c:pt idx="348">
                  <c:v>1.95</c:v>
                </c:pt>
                <c:pt idx="349">
                  <c:v>2</c:v>
                </c:pt>
                <c:pt idx="350">
                  <c:v>2</c:v>
                </c:pt>
                <c:pt idx="351">
                  <c:v>2.0499999999999998</c:v>
                </c:pt>
                <c:pt idx="352">
                  <c:v>2.15</c:v>
                </c:pt>
                <c:pt idx="353">
                  <c:v>2.2000000000000002</c:v>
                </c:pt>
                <c:pt idx="354">
                  <c:v>2.2000000000000002</c:v>
                </c:pt>
                <c:pt idx="355">
                  <c:v>2.2000000000000002</c:v>
                </c:pt>
                <c:pt idx="356">
                  <c:v>2.2000000000000002</c:v>
                </c:pt>
                <c:pt idx="357">
                  <c:v>2.15</c:v>
                </c:pt>
                <c:pt idx="358">
                  <c:v>2.25</c:v>
                </c:pt>
                <c:pt idx="359">
                  <c:v>2.2999999999999998</c:v>
                </c:pt>
                <c:pt idx="360">
                  <c:v>2.25</c:v>
                </c:pt>
                <c:pt idx="361">
                  <c:v>2.25</c:v>
                </c:pt>
                <c:pt idx="362">
                  <c:v>2.2999999999999998</c:v>
                </c:pt>
                <c:pt idx="363">
                  <c:v>2.2999999999999998</c:v>
                </c:pt>
                <c:pt idx="364">
                  <c:v>2.2999999999999998</c:v>
                </c:pt>
                <c:pt idx="365">
                  <c:v>2.2999999999999998</c:v>
                </c:pt>
                <c:pt idx="366">
                  <c:v>2.2999999999999998</c:v>
                </c:pt>
                <c:pt idx="367">
                  <c:v>2.2999999999999998</c:v>
                </c:pt>
                <c:pt idx="368">
                  <c:v>2.2999999999999998</c:v>
                </c:pt>
                <c:pt idx="369">
                  <c:v>2.25</c:v>
                </c:pt>
                <c:pt idx="370">
                  <c:v>2.0499999999999998</c:v>
                </c:pt>
                <c:pt idx="371">
                  <c:v>1.95</c:v>
                </c:pt>
                <c:pt idx="372">
                  <c:v>2</c:v>
                </c:pt>
                <c:pt idx="373">
                  <c:v>2</c:v>
                </c:pt>
                <c:pt idx="374">
                  <c:v>1.9</c:v>
                </c:pt>
                <c:pt idx="375">
                  <c:v>1.9</c:v>
                </c:pt>
                <c:pt idx="376">
                  <c:v>1.9</c:v>
                </c:pt>
                <c:pt idx="377">
                  <c:v>1.85</c:v>
                </c:pt>
                <c:pt idx="378">
                  <c:v>1.85</c:v>
                </c:pt>
                <c:pt idx="379">
                  <c:v>1.85</c:v>
                </c:pt>
                <c:pt idx="380">
                  <c:v>1.8</c:v>
                </c:pt>
                <c:pt idx="381">
                  <c:v>1.8</c:v>
                </c:pt>
                <c:pt idx="382">
                  <c:v>1.8</c:v>
                </c:pt>
                <c:pt idx="383">
                  <c:v>1.8</c:v>
                </c:pt>
                <c:pt idx="384">
                  <c:v>1.85</c:v>
                </c:pt>
                <c:pt idx="385">
                  <c:v>1.75</c:v>
                </c:pt>
                <c:pt idx="386">
                  <c:v>1.75</c:v>
                </c:pt>
                <c:pt idx="387">
                  <c:v>1.7</c:v>
                </c:pt>
                <c:pt idx="388">
                  <c:v>1.8</c:v>
                </c:pt>
                <c:pt idx="389">
                  <c:v>1.75</c:v>
                </c:pt>
                <c:pt idx="390">
                  <c:v>1.6</c:v>
                </c:pt>
                <c:pt idx="391">
                  <c:v>1.6</c:v>
                </c:pt>
                <c:pt idx="392">
                  <c:v>1.65</c:v>
                </c:pt>
                <c:pt idx="393">
                  <c:v>1.65</c:v>
                </c:pt>
                <c:pt idx="394">
                  <c:v>1.65</c:v>
                </c:pt>
                <c:pt idx="395">
                  <c:v>1.65</c:v>
                </c:pt>
                <c:pt idx="396">
                  <c:v>1.55</c:v>
                </c:pt>
              </c:numCache>
            </c:numRef>
          </c:val>
          <c:smooth val="0"/>
          <c:extLst>
            <c:ext xmlns:c16="http://schemas.microsoft.com/office/drawing/2014/chart" uri="{C3380CC4-5D6E-409C-BE32-E72D297353CC}">
              <c16:uniqueId val="{00000002-C4AD-48A5-A644-B23C46E2CB74}"/>
            </c:ext>
          </c:extLst>
        </c:ser>
        <c:ser>
          <c:idx val="3"/>
          <c:order val="3"/>
          <c:tx>
            <c:strRef>
              <c:f>Sheet1!$Z$1</c:f>
              <c:strCache>
                <c:ptCount val="1"/>
                <c:pt idx="0">
                  <c:v>MMP GO Hydro Cal-2026</c:v>
                </c:pt>
              </c:strCache>
            </c:strRef>
          </c:tx>
          <c:spPr>
            <a:ln w="28575" cap="rnd">
              <a:solidFill>
                <a:schemeClr val="accent4"/>
              </a:solidFill>
              <a:round/>
            </a:ln>
            <a:effectLst/>
          </c:spPr>
          <c:marker>
            <c:symbol val="none"/>
          </c:marker>
          <c:cat>
            <c:numRef>
              <c:f>Sheet1!$AG$5:$AG$403</c:f>
              <c:numCache>
                <c:formatCode>m/d/yyyy</c:formatCode>
                <c:ptCount val="399"/>
                <c:pt idx="0">
                  <c:v>44977</c:v>
                </c:pt>
                <c:pt idx="1">
                  <c:v>44978</c:v>
                </c:pt>
                <c:pt idx="2">
                  <c:v>44979</c:v>
                </c:pt>
                <c:pt idx="3">
                  <c:v>44980</c:v>
                </c:pt>
                <c:pt idx="4">
                  <c:v>44981</c:v>
                </c:pt>
                <c:pt idx="5">
                  <c:v>44987</c:v>
                </c:pt>
                <c:pt idx="6">
                  <c:v>44988</c:v>
                </c:pt>
                <c:pt idx="7">
                  <c:v>44991</c:v>
                </c:pt>
                <c:pt idx="8">
                  <c:v>44992</c:v>
                </c:pt>
                <c:pt idx="9">
                  <c:v>44993</c:v>
                </c:pt>
                <c:pt idx="10">
                  <c:v>44994</c:v>
                </c:pt>
                <c:pt idx="11">
                  <c:v>44995</c:v>
                </c:pt>
                <c:pt idx="12">
                  <c:v>44998</c:v>
                </c:pt>
                <c:pt idx="13">
                  <c:v>44999</c:v>
                </c:pt>
                <c:pt idx="14">
                  <c:v>45000</c:v>
                </c:pt>
                <c:pt idx="15">
                  <c:v>45001</c:v>
                </c:pt>
                <c:pt idx="16">
                  <c:v>45002</c:v>
                </c:pt>
                <c:pt idx="17">
                  <c:v>45005</c:v>
                </c:pt>
                <c:pt idx="18">
                  <c:v>45006</c:v>
                </c:pt>
                <c:pt idx="19">
                  <c:v>45007</c:v>
                </c:pt>
                <c:pt idx="20">
                  <c:v>45008</c:v>
                </c:pt>
                <c:pt idx="21">
                  <c:v>45009</c:v>
                </c:pt>
                <c:pt idx="22">
                  <c:v>45012</c:v>
                </c:pt>
                <c:pt idx="23">
                  <c:v>45013</c:v>
                </c:pt>
                <c:pt idx="24">
                  <c:v>45014</c:v>
                </c:pt>
                <c:pt idx="25">
                  <c:v>45015</c:v>
                </c:pt>
                <c:pt idx="26">
                  <c:v>45016</c:v>
                </c:pt>
                <c:pt idx="27">
                  <c:v>45019</c:v>
                </c:pt>
                <c:pt idx="28">
                  <c:v>45020</c:v>
                </c:pt>
                <c:pt idx="29">
                  <c:v>45021</c:v>
                </c:pt>
                <c:pt idx="30">
                  <c:v>45027</c:v>
                </c:pt>
                <c:pt idx="31">
                  <c:v>45028</c:v>
                </c:pt>
                <c:pt idx="32">
                  <c:v>45029</c:v>
                </c:pt>
                <c:pt idx="33">
                  <c:v>45030</c:v>
                </c:pt>
                <c:pt idx="34">
                  <c:v>45033</c:v>
                </c:pt>
                <c:pt idx="35">
                  <c:v>45034</c:v>
                </c:pt>
                <c:pt idx="36">
                  <c:v>45035</c:v>
                </c:pt>
                <c:pt idx="37">
                  <c:v>45036</c:v>
                </c:pt>
                <c:pt idx="38">
                  <c:v>45037</c:v>
                </c:pt>
                <c:pt idx="39">
                  <c:v>45040</c:v>
                </c:pt>
                <c:pt idx="40">
                  <c:v>45041</c:v>
                </c:pt>
                <c:pt idx="41">
                  <c:v>45042</c:v>
                </c:pt>
                <c:pt idx="42">
                  <c:v>45043</c:v>
                </c:pt>
                <c:pt idx="43">
                  <c:v>45044</c:v>
                </c:pt>
                <c:pt idx="44">
                  <c:v>45048</c:v>
                </c:pt>
                <c:pt idx="45">
                  <c:v>45049</c:v>
                </c:pt>
                <c:pt idx="46">
                  <c:v>45050</c:v>
                </c:pt>
                <c:pt idx="47">
                  <c:v>45051</c:v>
                </c:pt>
                <c:pt idx="48">
                  <c:v>45054</c:v>
                </c:pt>
                <c:pt idx="49">
                  <c:v>45055</c:v>
                </c:pt>
                <c:pt idx="50">
                  <c:v>45056</c:v>
                </c:pt>
                <c:pt idx="51">
                  <c:v>45057</c:v>
                </c:pt>
                <c:pt idx="52">
                  <c:v>45058</c:v>
                </c:pt>
                <c:pt idx="53">
                  <c:v>45061</c:v>
                </c:pt>
                <c:pt idx="54">
                  <c:v>45062</c:v>
                </c:pt>
                <c:pt idx="55">
                  <c:v>45063</c:v>
                </c:pt>
                <c:pt idx="56">
                  <c:v>45064</c:v>
                </c:pt>
                <c:pt idx="57">
                  <c:v>45065</c:v>
                </c:pt>
                <c:pt idx="58">
                  <c:v>45068</c:v>
                </c:pt>
                <c:pt idx="59">
                  <c:v>45069</c:v>
                </c:pt>
                <c:pt idx="60">
                  <c:v>45070</c:v>
                </c:pt>
                <c:pt idx="61">
                  <c:v>45071</c:v>
                </c:pt>
                <c:pt idx="62">
                  <c:v>45072</c:v>
                </c:pt>
                <c:pt idx="63">
                  <c:v>45075</c:v>
                </c:pt>
                <c:pt idx="64">
                  <c:v>45076</c:v>
                </c:pt>
                <c:pt idx="65">
                  <c:v>45077</c:v>
                </c:pt>
                <c:pt idx="66">
                  <c:v>45078</c:v>
                </c:pt>
                <c:pt idx="67">
                  <c:v>45079</c:v>
                </c:pt>
                <c:pt idx="68">
                  <c:v>45081</c:v>
                </c:pt>
                <c:pt idx="69">
                  <c:v>45082</c:v>
                </c:pt>
                <c:pt idx="70">
                  <c:v>45083</c:v>
                </c:pt>
                <c:pt idx="71">
                  <c:v>45084</c:v>
                </c:pt>
                <c:pt idx="72">
                  <c:v>45085</c:v>
                </c:pt>
                <c:pt idx="73">
                  <c:v>45086</c:v>
                </c:pt>
                <c:pt idx="74">
                  <c:v>45089</c:v>
                </c:pt>
                <c:pt idx="75">
                  <c:v>45090</c:v>
                </c:pt>
                <c:pt idx="76">
                  <c:v>45091</c:v>
                </c:pt>
                <c:pt idx="77">
                  <c:v>45092</c:v>
                </c:pt>
                <c:pt idx="78">
                  <c:v>45093</c:v>
                </c:pt>
                <c:pt idx="79">
                  <c:v>45096</c:v>
                </c:pt>
                <c:pt idx="80">
                  <c:v>45097</c:v>
                </c:pt>
                <c:pt idx="81">
                  <c:v>45098</c:v>
                </c:pt>
                <c:pt idx="82">
                  <c:v>45099</c:v>
                </c:pt>
                <c:pt idx="83">
                  <c:v>45100</c:v>
                </c:pt>
                <c:pt idx="84">
                  <c:v>45103</c:v>
                </c:pt>
                <c:pt idx="85">
                  <c:v>45104</c:v>
                </c:pt>
                <c:pt idx="86">
                  <c:v>45105</c:v>
                </c:pt>
                <c:pt idx="87">
                  <c:v>45106</c:v>
                </c:pt>
                <c:pt idx="88">
                  <c:v>45107</c:v>
                </c:pt>
                <c:pt idx="89">
                  <c:v>45110</c:v>
                </c:pt>
                <c:pt idx="90">
                  <c:v>45111</c:v>
                </c:pt>
                <c:pt idx="91">
                  <c:v>45112</c:v>
                </c:pt>
                <c:pt idx="92">
                  <c:v>45113</c:v>
                </c:pt>
                <c:pt idx="93">
                  <c:v>45114</c:v>
                </c:pt>
                <c:pt idx="94">
                  <c:v>45117</c:v>
                </c:pt>
                <c:pt idx="95">
                  <c:v>45118</c:v>
                </c:pt>
                <c:pt idx="96">
                  <c:v>45119</c:v>
                </c:pt>
                <c:pt idx="97">
                  <c:v>45120</c:v>
                </c:pt>
                <c:pt idx="98">
                  <c:v>45121</c:v>
                </c:pt>
                <c:pt idx="99">
                  <c:v>45124</c:v>
                </c:pt>
                <c:pt idx="100">
                  <c:v>45125</c:v>
                </c:pt>
                <c:pt idx="101">
                  <c:v>45126</c:v>
                </c:pt>
                <c:pt idx="102">
                  <c:v>45127</c:v>
                </c:pt>
                <c:pt idx="103">
                  <c:v>45128</c:v>
                </c:pt>
                <c:pt idx="104">
                  <c:v>45131</c:v>
                </c:pt>
                <c:pt idx="105">
                  <c:v>45132</c:v>
                </c:pt>
                <c:pt idx="106">
                  <c:v>45133</c:v>
                </c:pt>
                <c:pt idx="107">
                  <c:v>45134</c:v>
                </c:pt>
                <c:pt idx="108">
                  <c:v>45135</c:v>
                </c:pt>
                <c:pt idx="109">
                  <c:v>45138</c:v>
                </c:pt>
                <c:pt idx="110">
                  <c:v>45139</c:v>
                </c:pt>
                <c:pt idx="111">
                  <c:v>45140</c:v>
                </c:pt>
                <c:pt idx="112">
                  <c:v>45141</c:v>
                </c:pt>
                <c:pt idx="113">
                  <c:v>45142</c:v>
                </c:pt>
                <c:pt idx="114">
                  <c:v>45143</c:v>
                </c:pt>
                <c:pt idx="115">
                  <c:v>45145</c:v>
                </c:pt>
                <c:pt idx="116">
                  <c:v>45146</c:v>
                </c:pt>
                <c:pt idx="117">
                  <c:v>45147</c:v>
                </c:pt>
                <c:pt idx="118">
                  <c:v>45148</c:v>
                </c:pt>
                <c:pt idx="119">
                  <c:v>45149</c:v>
                </c:pt>
                <c:pt idx="120">
                  <c:v>45152</c:v>
                </c:pt>
                <c:pt idx="121">
                  <c:v>45153</c:v>
                </c:pt>
                <c:pt idx="122">
                  <c:v>45154</c:v>
                </c:pt>
                <c:pt idx="123">
                  <c:v>45155</c:v>
                </c:pt>
                <c:pt idx="124">
                  <c:v>45156</c:v>
                </c:pt>
                <c:pt idx="125">
                  <c:v>45159</c:v>
                </c:pt>
                <c:pt idx="126">
                  <c:v>45160</c:v>
                </c:pt>
                <c:pt idx="127">
                  <c:v>45161</c:v>
                </c:pt>
                <c:pt idx="128">
                  <c:v>45162</c:v>
                </c:pt>
                <c:pt idx="129">
                  <c:v>45163</c:v>
                </c:pt>
                <c:pt idx="130">
                  <c:v>45166</c:v>
                </c:pt>
                <c:pt idx="131">
                  <c:v>45167</c:v>
                </c:pt>
                <c:pt idx="132">
                  <c:v>45168</c:v>
                </c:pt>
                <c:pt idx="133">
                  <c:v>45169</c:v>
                </c:pt>
                <c:pt idx="134">
                  <c:v>45170</c:v>
                </c:pt>
                <c:pt idx="135">
                  <c:v>45173</c:v>
                </c:pt>
                <c:pt idx="136">
                  <c:v>45174</c:v>
                </c:pt>
                <c:pt idx="137">
                  <c:v>45175</c:v>
                </c:pt>
                <c:pt idx="138">
                  <c:v>45176</c:v>
                </c:pt>
                <c:pt idx="139">
                  <c:v>45177</c:v>
                </c:pt>
                <c:pt idx="140">
                  <c:v>45180</c:v>
                </c:pt>
                <c:pt idx="141">
                  <c:v>45181</c:v>
                </c:pt>
                <c:pt idx="142">
                  <c:v>45182</c:v>
                </c:pt>
                <c:pt idx="143">
                  <c:v>45183</c:v>
                </c:pt>
                <c:pt idx="144">
                  <c:v>45184</c:v>
                </c:pt>
                <c:pt idx="145">
                  <c:v>45187</c:v>
                </c:pt>
                <c:pt idx="146">
                  <c:v>45188</c:v>
                </c:pt>
                <c:pt idx="147">
                  <c:v>45189</c:v>
                </c:pt>
                <c:pt idx="148">
                  <c:v>45190</c:v>
                </c:pt>
                <c:pt idx="149">
                  <c:v>45191</c:v>
                </c:pt>
                <c:pt idx="150">
                  <c:v>45194</c:v>
                </c:pt>
                <c:pt idx="151">
                  <c:v>45195</c:v>
                </c:pt>
                <c:pt idx="152">
                  <c:v>45196</c:v>
                </c:pt>
                <c:pt idx="153">
                  <c:v>45197</c:v>
                </c:pt>
                <c:pt idx="154">
                  <c:v>45198</c:v>
                </c:pt>
                <c:pt idx="155">
                  <c:v>45201</c:v>
                </c:pt>
                <c:pt idx="156">
                  <c:v>45202</c:v>
                </c:pt>
                <c:pt idx="157">
                  <c:v>45203</c:v>
                </c:pt>
                <c:pt idx="158">
                  <c:v>45204</c:v>
                </c:pt>
                <c:pt idx="159">
                  <c:v>45205</c:v>
                </c:pt>
                <c:pt idx="160">
                  <c:v>45208</c:v>
                </c:pt>
                <c:pt idx="161">
                  <c:v>45209</c:v>
                </c:pt>
                <c:pt idx="162">
                  <c:v>45210</c:v>
                </c:pt>
                <c:pt idx="163">
                  <c:v>45211</c:v>
                </c:pt>
                <c:pt idx="164">
                  <c:v>45212</c:v>
                </c:pt>
                <c:pt idx="165">
                  <c:v>45215</c:v>
                </c:pt>
                <c:pt idx="166">
                  <c:v>45216</c:v>
                </c:pt>
                <c:pt idx="167">
                  <c:v>45217</c:v>
                </c:pt>
                <c:pt idx="168">
                  <c:v>45218</c:v>
                </c:pt>
                <c:pt idx="169">
                  <c:v>45219</c:v>
                </c:pt>
                <c:pt idx="170">
                  <c:v>45222</c:v>
                </c:pt>
                <c:pt idx="171">
                  <c:v>45223</c:v>
                </c:pt>
                <c:pt idx="172">
                  <c:v>45224</c:v>
                </c:pt>
                <c:pt idx="173">
                  <c:v>45225</c:v>
                </c:pt>
                <c:pt idx="174">
                  <c:v>45226</c:v>
                </c:pt>
                <c:pt idx="175">
                  <c:v>45229</c:v>
                </c:pt>
                <c:pt idx="176">
                  <c:v>45230</c:v>
                </c:pt>
                <c:pt idx="177">
                  <c:v>45231</c:v>
                </c:pt>
                <c:pt idx="178">
                  <c:v>45232</c:v>
                </c:pt>
                <c:pt idx="179">
                  <c:v>45233</c:v>
                </c:pt>
                <c:pt idx="180">
                  <c:v>45236</c:v>
                </c:pt>
                <c:pt idx="181">
                  <c:v>45237</c:v>
                </c:pt>
                <c:pt idx="182">
                  <c:v>45238</c:v>
                </c:pt>
                <c:pt idx="183">
                  <c:v>45239</c:v>
                </c:pt>
                <c:pt idx="184">
                  <c:v>45240</c:v>
                </c:pt>
                <c:pt idx="185">
                  <c:v>45243</c:v>
                </c:pt>
                <c:pt idx="186">
                  <c:v>45244</c:v>
                </c:pt>
                <c:pt idx="187">
                  <c:v>45245</c:v>
                </c:pt>
                <c:pt idx="188">
                  <c:v>45246</c:v>
                </c:pt>
                <c:pt idx="189">
                  <c:v>45247</c:v>
                </c:pt>
                <c:pt idx="190">
                  <c:v>45250</c:v>
                </c:pt>
                <c:pt idx="191">
                  <c:v>45251</c:v>
                </c:pt>
                <c:pt idx="192">
                  <c:v>45252</c:v>
                </c:pt>
                <c:pt idx="193">
                  <c:v>45253</c:v>
                </c:pt>
                <c:pt idx="194">
                  <c:v>45254</c:v>
                </c:pt>
                <c:pt idx="195">
                  <c:v>45257</c:v>
                </c:pt>
                <c:pt idx="196">
                  <c:v>45258</c:v>
                </c:pt>
                <c:pt idx="197">
                  <c:v>45259</c:v>
                </c:pt>
                <c:pt idx="198">
                  <c:v>45260</c:v>
                </c:pt>
                <c:pt idx="199">
                  <c:v>45261</c:v>
                </c:pt>
                <c:pt idx="200">
                  <c:v>45264</c:v>
                </c:pt>
                <c:pt idx="201">
                  <c:v>45265</c:v>
                </c:pt>
                <c:pt idx="202">
                  <c:v>45266</c:v>
                </c:pt>
                <c:pt idx="203">
                  <c:v>45267</c:v>
                </c:pt>
                <c:pt idx="204">
                  <c:v>45268</c:v>
                </c:pt>
                <c:pt idx="205">
                  <c:v>45271</c:v>
                </c:pt>
                <c:pt idx="206">
                  <c:v>45272</c:v>
                </c:pt>
                <c:pt idx="207">
                  <c:v>45273</c:v>
                </c:pt>
                <c:pt idx="208">
                  <c:v>45274</c:v>
                </c:pt>
                <c:pt idx="209">
                  <c:v>45275</c:v>
                </c:pt>
                <c:pt idx="210">
                  <c:v>45278</c:v>
                </c:pt>
                <c:pt idx="211">
                  <c:v>45279</c:v>
                </c:pt>
                <c:pt idx="212">
                  <c:v>45280</c:v>
                </c:pt>
                <c:pt idx="213">
                  <c:v>45281</c:v>
                </c:pt>
                <c:pt idx="214">
                  <c:v>45282</c:v>
                </c:pt>
                <c:pt idx="215">
                  <c:v>45287</c:v>
                </c:pt>
                <c:pt idx="216">
                  <c:v>45288</c:v>
                </c:pt>
                <c:pt idx="217">
                  <c:v>45289</c:v>
                </c:pt>
                <c:pt idx="218">
                  <c:v>45293</c:v>
                </c:pt>
                <c:pt idx="219">
                  <c:v>45294</c:v>
                </c:pt>
                <c:pt idx="220">
                  <c:v>45295</c:v>
                </c:pt>
                <c:pt idx="221">
                  <c:v>45296</c:v>
                </c:pt>
                <c:pt idx="222">
                  <c:v>45299</c:v>
                </c:pt>
                <c:pt idx="223">
                  <c:v>45300</c:v>
                </c:pt>
                <c:pt idx="224">
                  <c:v>45301</c:v>
                </c:pt>
                <c:pt idx="225">
                  <c:v>45302</c:v>
                </c:pt>
                <c:pt idx="226">
                  <c:v>45303</c:v>
                </c:pt>
                <c:pt idx="227">
                  <c:v>45306</c:v>
                </c:pt>
                <c:pt idx="228">
                  <c:v>45307</c:v>
                </c:pt>
                <c:pt idx="229">
                  <c:v>45308</c:v>
                </c:pt>
                <c:pt idx="230">
                  <c:v>45309</c:v>
                </c:pt>
                <c:pt idx="231">
                  <c:v>45310</c:v>
                </c:pt>
                <c:pt idx="232">
                  <c:v>45313</c:v>
                </c:pt>
                <c:pt idx="233">
                  <c:v>45314</c:v>
                </c:pt>
                <c:pt idx="234">
                  <c:v>45315</c:v>
                </c:pt>
                <c:pt idx="235">
                  <c:v>45316</c:v>
                </c:pt>
                <c:pt idx="236">
                  <c:v>45317</c:v>
                </c:pt>
                <c:pt idx="237">
                  <c:v>45320</c:v>
                </c:pt>
                <c:pt idx="238">
                  <c:v>45321</c:v>
                </c:pt>
                <c:pt idx="239">
                  <c:v>45322</c:v>
                </c:pt>
                <c:pt idx="240">
                  <c:v>45323</c:v>
                </c:pt>
                <c:pt idx="241">
                  <c:v>45324</c:v>
                </c:pt>
                <c:pt idx="242">
                  <c:v>45327</c:v>
                </c:pt>
                <c:pt idx="243">
                  <c:v>45328</c:v>
                </c:pt>
                <c:pt idx="244">
                  <c:v>45329</c:v>
                </c:pt>
                <c:pt idx="245">
                  <c:v>45330</c:v>
                </c:pt>
                <c:pt idx="246">
                  <c:v>45331</c:v>
                </c:pt>
                <c:pt idx="247">
                  <c:v>45334</c:v>
                </c:pt>
                <c:pt idx="248">
                  <c:v>45335</c:v>
                </c:pt>
                <c:pt idx="249">
                  <c:v>45336</c:v>
                </c:pt>
                <c:pt idx="250">
                  <c:v>45337</c:v>
                </c:pt>
                <c:pt idx="251">
                  <c:v>45338</c:v>
                </c:pt>
                <c:pt idx="252">
                  <c:v>45341</c:v>
                </c:pt>
                <c:pt idx="253">
                  <c:v>45342</c:v>
                </c:pt>
                <c:pt idx="254">
                  <c:v>45343</c:v>
                </c:pt>
                <c:pt idx="255">
                  <c:v>45344</c:v>
                </c:pt>
                <c:pt idx="256">
                  <c:v>45345</c:v>
                </c:pt>
                <c:pt idx="257">
                  <c:v>45348</c:v>
                </c:pt>
                <c:pt idx="258">
                  <c:v>45349</c:v>
                </c:pt>
                <c:pt idx="259">
                  <c:v>45350</c:v>
                </c:pt>
                <c:pt idx="260">
                  <c:v>45351</c:v>
                </c:pt>
                <c:pt idx="261">
                  <c:v>45352</c:v>
                </c:pt>
                <c:pt idx="262">
                  <c:v>45355</c:v>
                </c:pt>
                <c:pt idx="263">
                  <c:v>45356</c:v>
                </c:pt>
                <c:pt idx="264">
                  <c:v>45357</c:v>
                </c:pt>
                <c:pt idx="265">
                  <c:v>45358</c:v>
                </c:pt>
                <c:pt idx="266">
                  <c:v>45359</c:v>
                </c:pt>
                <c:pt idx="267">
                  <c:v>45362</c:v>
                </c:pt>
                <c:pt idx="268">
                  <c:v>45363</c:v>
                </c:pt>
                <c:pt idx="269">
                  <c:v>45364</c:v>
                </c:pt>
                <c:pt idx="270">
                  <c:v>45365</c:v>
                </c:pt>
                <c:pt idx="271">
                  <c:v>45366</c:v>
                </c:pt>
                <c:pt idx="272">
                  <c:v>45369</c:v>
                </c:pt>
                <c:pt idx="273">
                  <c:v>45370</c:v>
                </c:pt>
                <c:pt idx="274">
                  <c:v>45371</c:v>
                </c:pt>
                <c:pt idx="275">
                  <c:v>45372</c:v>
                </c:pt>
                <c:pt idx="276">
                  <c:v>45373</c:v>
                </c:pt>
                <c:pt idx="277">
                  <c:v>45376</c:v>
                </c:pt>
                <c:pt idx="278">
                  <c:v>45377</c:v>
                </c:pt>
                <c:pt idx="279">
                  <c:v>45378</c:v>
                </c:pt>
                <c:pt idx="280">
                  <c:v>45384</c:v>
                </c:pt>
                <c:pt idx="281">
                  <c:v>45385</c:v>
                </c:pt>
                <c:pt idx="282">
                  <c:v>45386</c:v>
                </c:pt>
                <c:pt idx="283">
                  <c:v>45387</c:v>
                </c:pt>
                <c:pt idx="284">
                  <c:v>45390</c:v>
                </c:pt>
                <c:pt idx="285">
                  <c:v>45391</c:v>
                </c:pt>
                <c:pt idx="286">
                  <c:v>45392</c:v>
                </c:pt>
                <c:pt idx="287">
                  <c:v>45393</c:v>
                </c:pt>
                <c:pt idx="288">
                  <c:v>45394</c:v>
                </c:pt>
                <c:pt idx="289">
                  <c:v>45397</c:v>
                </c:pt>
                <c:pt idx="290">
                  <c:v>45398</c:v>
                </c:pt>
                <c:pt idx="291">
                  <c:v>45399</c:v>
                </c:pt>
                <c:pt idx="292">
                  <c:v>45400</c:v>
                </c:pt>
                <c:pt idx="293">
                  <c:v>45401</c:v>
                </c:pt>
                <c:pt idx="294">
                  <c:v>45404</c:v>
                </c:pt>
                <c:pt idx="295">
                  <c:v>45405</c:v>
                </c:pt>
                <c:pt idx="296">
                  <c:v>45406</c:v>
                </c:pt>
                <c:pt idx="297">
                  <c:v>45407</c:v>
                </c:pt>
                <c:pt idx="298">
                  <c:v>45408</c:v>
                </c:pt>
                <c:pt idx="299">
                  <c:v>45411</c:v>
                </c:pt>
                <c:pt idx="300">
                  <c:v>45412</c:v>
                </c:pt>
                <c:pt idx="301">
                  <c:v>45414</c:v>
                </c:pt>
                <c:pt idx="302">
                  <c:v>45415</c:v>
                </c:pt>
                <c:pt idx="303">
                  <c:v>45418</c:v>
                </c:pt>
                <c:pt idx="304">
                  <c:v>45419</c:v>
                </c:pt>
                <c:pt idx="305">
                  <c:v>45420</c:v>
                </c:pt>
                <c:pt idx="306">
                  <c:v>45422</c:v>
                </c:pt>
                <c:pt idx="307">
                  <c:v>45425</c:v>
                </c:pt>
                <c:pt idx="308">
                  <c:v>45426</c:v>
                </c:pt>
                <c:pt idx="309">
                  <c:v>45427</c:v>
                </c:pt>
                <c:pt idx="310">
                  <c:v>45428</c:v>
                </c:pt>
                <c:pt idx="311">
                  <c:v>45429</c:v>
                </c:pt>
                <c:pt idx="312">
                  <c:v>45432</c:v>
                </c:pt>
                <c:pt idx="313">
                  <c:v>45433</c:v>
                </c:pt>
                <c:pt idx="314">
                  <c:v>45434</c:v>
                </c:pt>
                <c:pt idx="315">
                  <c:v>45435</c:v>
                </c:pt>
                <c:pt idx="316">
                  <c:v>45436</c:v>
                </c:pt>
                <c:pt idx="317">
                  <c:v>45439</c:v>
                </c:pt>
                <c:pt idx="318">
                  <c:v>45440</c:v>
                </c:pt>
                <c:pt idx="319">
                  <c:v>45441</c:v>
                </c:pt>
                <c:pt idx="320">
                  <c:v>45442</c:v>
                </c:pt>
                <c:pt idx="321">
                  <c:v>45443</c:v>
                </c:pt>
                <c:pt idx="322">
                  <c:v>45446</c:v>
                </c:pt>
                <c:pt idx="323">
                  <c:v>45447</c:v>
                </c:pt>
                <c:pt idx="324">
                  <c:v>45448</c:v>
                </c:pt>
                <c:pt idx="325">
                  <c:v>45449</c:v>
                </c:pt>
                <c:pt idx="326">
                  <c:v>45450</c:v>
                </c:pt>
                <c:pt idx="327">
                  <c:v>45453</c:v>
                </c:pt>
                <c:pt idx="328">
                  <c:v>45454</c:v>
                </c:pt>
                <c:pt idx="329">
                  <c:v>45455</c:v>
                </c:pt>
                <c:pt idx="330">
                  <c:v>45456</c:v>
                </c:pt>
                <c:pt idx="331">
                  <c:v>45460</c:v>
                </c:pt>
                <c:pt idx="332">
                  <c:v>45461</c:v>
                </c:pt>
                <c:pt idx="333">
                  <c:v>45462</c:v>
                </c:pt>
                <c:pt idx="334">
                  <c:v>45463</c:v>
                </c:pt>
                <c:pt idx="335">
                  <c:v>45464</c:v>
                </c:pt>
                <c:pt idx="336">
                  <c:v>45467</c:v>
                </c:pt>
                <c:pt idx="337">
                  <c:v>45468</c:v>
                </c:pt>
                <c:pt idx="338">
                  <c:v>45469</c:v>
                </c:pt>
                <c:pt idx="339">
                  <c:v>45470</c:v>
                </c:pt>
                <c:pt idx="340">
                  <c:v>45471</c:v>
                </c:pt>
                <c:pt idx="341">
                  <c:v>45474</c:v>
                </c:pt>
                <c:pt idx="342">
                  <c:v>45475</c:v>
                </c:pt>
                <c:pt idx="343">
                  <c:v>45476</c:v>
                </c:pt>
                <c:pt idx="344">
                  <c:v>45477</c:v>
                </c:pt>
                <c:pt idx="345">
                  <c:v>45478</c:v>
                </c:pt>
                <c:pt idx="346">
                  <c:v>45481</c:v>
                </c:pt>
                <c:pt idx="347">
                  <c:v>45482</c:v>
                </c:pt>
                <c:pt idx="348">
                  <c:v>45483</c:v>
                </c:pt>
                <c:pt idx="349">
                  <c:v>45484</c:v>
                </c:pt>
                <c:pt idx="350">
                  <c:v>45485</c:v>
                </c:pt>
                <c:pt idx="351">
                  <c:v>45488</c:v>
                </c:pt>
                <c:pt idx="352">
                  <c:v>45489</c:v>
                </c:pt>
                <c:pt idx="353">
                  <c:v>45490</c:v>
                </c:pt>
                <c:pt idx="354">
                  <c:v>45491</c:v>
                </c:pt>
                <c:pt idx="355">
                  <c:v>45492</c:v>
                </c:pt>
                <c:pt idx="356">
                  <c:v>45495</c:v>
                </c:pt>
                <c:pt idx="357">
                  <c:v>45496</c:v>
                </c:pt>
                <c:pt idx="358">
                  <c:v>45497</c:v>
                </c:pt>
                <c:pt idx="359">
                  <c:v>45498</c:v>
                </c:pt>
                <c:pt idx="360">
                  <c:v>45499</c:v>
                </c:pt>
                <c:pt idx="361">
                  <c:v>45502</c:v>
                </c:pt>
                <c:pt idx="362">
                  <c:v>45503</c:v>
                </c:pt>
                <c:pt idx="363">
                  <c:v>45504</c:v>
                </c:pt>
                <c:pt idx="364">
                  <c:v>45505</c:v>
                </c:pt>
                <c:pt idx="365">
                  <c:v>45506</c:v>
                </c:pt>
                <c:pt idx="366">
                  <c:v>45509</c:v>
                </c:pt>
                <c:pt idx="367">
                  <c:v>45510</c:v>
                </c:pt>
                <c:pt idx="368">
                  <c:v>45511</c:v>
                </c:pt>
                <c:pt idx="369">
                  <c:v>45512</c:v>
                </c:pt>
                <c:pt idx="370">
                  <c:v>45513</c:v>
                </c:pt>
                <c:pt idx="371">
                  <c:v>45516</c:v>
                </c:pt>
                <c:pt idx="372">
                  <c:v>45517</c:v>
                </c:pt>
                <c:pt idx="373">
                  <c:v>45518</c:v>
                </c:pt>
                <c:pt idx="374">
                  <c:v>45519</c:v>
                </c:pt>
                <c:pt idx="375">
                  <c:v>45520</c:v>
                </c:pt>
                <c:pt idx="376">
                  <c:v>45523</c:v>
                </c:pt>
                <c:pt idx="377">
                  <c:v>45524</c:v>
                </c:pt>
                <c:pt idx="378">
                  <c:v>45525</c:v>
                </c:pt>
                <c:pt idx="379">
                  <c:v>45526</c:v>
                </c:pt>
                <c:pt idx="380">
                  <c:v>45527</c:v>
                </c:pt>
                <c:pt idx="381">
                  <c:v>45530</c:v>
                </c:pt>
                <c:pt idx="382">
                  <c:v>45531</c:v>
                </c:pt>
                <c:pt idx="383">
                  <c:v>45532</c:v>
                </c:pt>
                <c:pt idx="384">
                  <c:v>45533</c:v>
                </c:pt>
                <c:pt idx="385">
                  <c:v>45534</c:v>
                </c:pt>
                <c:pt idx="386">
                  <c:v>45537</c:v>
                </c:pt>
                <c:pt idx="387">
                  <c:v>45538</c:v>
                </c:pt>
                <c:pt idx="388">
                  <c:v>45539</c:v>
                </c:pt>
                <c:pt idx="389">
                  <c:v>45540</c:v>
                </c:pt>
                <c:pt idx="390">
                  <c:v>45541</c:v>
                </c:pt>
                <c:pt idx="391">
                  <c:v>45544</c:v>
                </c:pt>
                <c:pt idx="392">
                  <c:v>45545</c:v>
                </c:pt>
                <c:pt idx="393">
                  <c:v>45546</c:v>
                </c:pt>
                <c:pt idx="394">
                  <c:v>45547</c:v>
                </c:pt>
                <c:pt idx="395">
                  <c:v>45548</c:v>
                </c:pt>
                <c:pt idx="396">
                  <c:v>45551</c:v>
                </c:pt>
                <c:pt idx="397">
                  <c:v>45552</c:v>
                </c:pt>
                <c:pt idx="398">
                  <c:v>45553</c:v>
                </c:pt>
              </c:numCache>
            </c:numRef>
          </c:cat>
          <c:val>
            <c:numRef>
              <c:f>Sheet1!$Z$5:$Z$402</c:f>
              <c:numCache>
                <c:formatCode>General</c:formatCode>
                <c:ptCount val="398"/>
                <c:pt idx="0">
                  <c:v>3.95</c:v>
                </c:pt>
                <c:pt idx="1">
                  <c:v>3.95</c:v>
                </c:pt>
                <c:pt idx="2">
                  <c:v>3.9</c:v>
                </c:pt>
                <c:pt idx="3">
                  <c:v>4</c:v>
                </c:pt>
                <c:pt idx="4">
                  <c:v>4.7</c:v>
                </c:pt>
                <c:pt idx="5">
                  <c:v>4.55</c:v>
                </c:pt>
                <c:pt idx="6">
                  <c:v>4.4000000000000004</c:v>
                </c:pt>
                <c:pt idx="7">
                  <c:v>4.2</c:v>
                </c:pt>
                <c:pt idx="8">
                  <c:v>4.0999999999999996</c:v>
                </c:pt>
                <c:pt idx="9">
                  <c:v>4</c:v>
                </c:pt>
                <c:pt idx="10">
                  <c:v>4</c:v>
                </c:pt>
                <c:pt idx="11">
                  <c:v>4</c:v>
                </c:pt>
                <c:pt idx="12">
                  <c:v>4</c:v>
                </c:pt>
                <c:pt idx="13">
                  <c:v>4</c:v>
                </c:pt>
                <c:pt idx="14">
                  <c:v>4</c:v>
                </c:pt>
                <c:pt idx="15">
                  <c:v>4</c:v>
                </c:pt>
                <c:pt idx="16">
                  <c:v>4.0999999999999996</c:v>
                </c:pt>
                <c:pt idx="17">
                  <c:v>4.1500000000000004</c:v>
                </c:pt>
                <c:pt idx="18">
                  <c:v>4.6500000000000004</c:v>
                </c:pt>
                <c:pt idx="19">
                  <c:v>4.5</c:v>
                </c:pt>
                <c:pt idx="20">
                  <c:v>4.5</c:v>
                </c:pt>
                <c:pt idx="21">
                  <c:v>4.5</c:v>
                </c:pt>
                <c:pt idx="22">
                  <c:v>4.5</c:v>
                </c:pt>
                <c:pt idx="23">
                  <c:v>4.5</c:v>
                </c:pt>
                <c:pt idx="24">
                  <c:v>4.5</c:v>
                </c:pt>
                <c:pt idx="25">
                  <c:v>4.5</c:v>
                </c:pt>
                <c:pt idx="26">
                  <c:v>4.45</c:v>
                </c:pt>
                <c:pt idx="27">
                  <c:v>4.45</c:v>
                </c:pt>
                <c:pt idx="28">
                  <c:v>4.45</c:v>
                </c:pt>
                <c:pt idx="29">
                  <c:v>4.45</c:v>
                </c:pt>
                <c:pt idx="30">
                  <c:v>4.5</c:v>
                </c:pt>
                <c:pt idx="31">
                  <c:v>4.55</c:v>
                </c:pt>
                <c:pt idx="32">
                  <c:v>4.55</c:v>
                </c:pt>
                <c:pt idx="33">
                  <c:v>4.55</c:v>
                </c:pt>
                <c:pt idx="34">
                  <c:v>4.55</c:v>
                </c:pt>
                <c:pt idx="35">
                  <c:v>4.55</c:v>
                </c:pt>
                <c:pt idx="36">
                  <c:v>4.55</c:v>
                </c:pt>
                <c:pt idx="37">
                  <c:v>4.55</c:v>
                </c:pt>
                <c:pt idx="38">
                  <c:v>4.55</c:v>
                </c:pt>
                <c:pt idx="39">
                  <c:v>4.55</c:v>
                </c:pt>
                <c:pt idx="40">
                  <c:v>4.55</c:v>
                </c:pt>
                <c:pt idx="41">
                  <c:v>4.55</c:v>
                </c:pt>
                <c:pt idx="42">
                  <c:v>4.7</c:v>
                </c:pt>
                <c:pt idx="43">
                  <c:v>4.7</c:v>
                </c:pt>
                <c:pt idx="44">
                  <c:v>4.7</c:v>
                </c:pt>
                <c:pt idx="45">
                  <c:v>4.7</c:v>
                </c:pt>
                <c:pt idx="46">
                  <c:v>4.7</c:v>
                </c:pt>
                <c:pt idx="47">
                  <c:v>4.7</c:v>
                </c:pt>
                <c:pt idx="48">
                  <c:v>4.7</c:v>
                </c:pt>
                <c:pt idx="49">
                  <c:v>4.7</c:v>
                </c:pt>
                <c:pt idx="50">
                  <c:v>4.7</c:v>
                </c:pt>
                <c:pt idx="51">
                  <c:v>4.8</c:v>
                </c:pt>
                <c:pt idx="52">
                  <c:v>4.8</c:v>
                </c:pt>
                <c:pt idx="53">
                  <c:v>4.9000000000000004</c:v>
                </c:pt>
                <c:pt idx="54">
                  <c:v>4.9000000000000004</c:v>
                </c:pt>
                <c:pt idx="55">
                  <c:v>4.8499999999999996</c:v>
                </c:pt>
                <c:pt idx="56">
                  <c:v>4.8499999999999996</c:v>
                </c:pt>
                <c:pt idx="57">
                  <c:v>4.8499999999999996</c:v>
                </c:pt>
                <c:pt idx="58">
                  <c:v>4.8499999999999996</c:v>
                </c:pt>
                <c:pt idx="59">
                  <c:v>4.9000000000000004</c:v>
                </c:pt>
                <c:pt idx="60">
                  <c:v>4.9000000000000004</c:v>
                </c:pt>
                <c:pt idx="61">
                  <c:v>4.9000000000000004</c:v>
                </c:pt>
                <c:pt idx="62">
                  <c:v>4.9000000000000004</c:v>
                </c:pt>
                <c:pt idx="63">
                  <c:v>4.9000000000000004</c:v>
                </c:pt>
                <c:pt idx="64">
                  <c:v>4.8</c:v>
                </c:pt>
                <c:pt idx="65">
                  <c:v>4.8</c:v>
                </c:pt>
                <c:pt idx="66">
                  <c:v>4.8</c:v>
                </c:pt>
                <c:pt idx="67">
                  <c:v>4.75</c:v>
                </c:pt>
                <c:pt idx="68">
                  <c:v>4.75</c:v>
                </c:pt>
                <c:pt idx="69">
                  <c:v>4.75</c:v>
                </c:pt>
                <c:pt idx="70">
                  <c:v>4.75</c:v>
                </c:pt>
                <c:pt idx="71">
                  <c:v>4.8</c:v>
                </c:pt>
                <c:pt idx="72">
                  <c:v>4.8</c:v>
                </c:pt>
                <c:pt idx="73">
                  <c:v>4.95</c:v>
                </c:pt>
                <c:pt idx="74">
                  <c:v>4.95</c:v>
                </c:pt>
                <c:pt idx="75">
                  <c:v>4.95</c:v>
                </c:pt>
                <c:pt idx="76">
                  <c:v>4.95</c:v>
                </c:pt>
                <c:pt idx="77">
                  <c:v>4.95</c:v>
                </c:pt>
                <c:pt idx="78">
                  <c:v>4.95</c:v>
                </c:pt>
                <c:pt idx="79">
                  <c:v>5</c:v>
                </c:pt>
                <c:pt idx="80">
                  <c:v>5</c:v>
                </c:pt>
                <c:pt idx="81">
                  <c:v>5.05</c:v>
                </c:pt>
                <c:pt idx="82">
                  <c:v>5.05</c:v>
                </c:pt>
                <c:pt idx="83">
                  <c:v>5.0999999999999996</c:v>
                </c:pt>
                <c:pt idx="84">
                  <c:v>5.0999999999999996</c:v>
                </c:pt>
                <c:pt idx="85">
                  <c:v>5.0999999999999996</c:v>
                </c:pt>
                <c:pt idx="86">
                  <c:v>5.0999999999999996</c:v>
                </c:pt>
                <c:pt idx="87">
                  <c:v>5.0999999999999996</c:v>
                </c:pt>
                <c:pt idx="88">
                  <c:v>5.0999999999999996</c:v>
                </c:pt>
                <c:pt idx="89">
                  <c:v>5.0999999999999996</c:v>
                </c:pt>
                <c:pt idx="90">
                  <c:v>5.0999999999999996</c:v>
                </c:pt>
                <c:pt idx="91">
                  <c:v>5.2</c:v>
                </c:pt>
                <c:pt idx="92">
                  <c:v>5.2</c:v>
                </c:pt>
                <c:pt idx="93">
                  <c:v>5.2</c:v>
                </c:pt>
                <c:pt idx="94">
                  <c:v>5.55</c:v>
                </c:pt>
                <c:pt idx="95">
                  <c:v>5.75</c:v>
                </c:pt>
                <c:pt idx="96">
                  <c:v>5.55</c:v>
                </c:pt>
                <c:pt idx="97">
                  <c:v>5.55</c:v>
                </c:pt>
                <c:pt idx="98">
                  <c:v>5.55</c:v>
                </c:pt>
                <c:pt idx="99">
                  <c:v>5.6</c:v>
                </c:pt>
                <c:pt idx="100">
                  <c:v>5.55</c:v>
                </c:pt>
                <c:pt idx="101">
                  <c:v>5.55</c:v>
                </c:pt>
                <c:pt idx="102">
                  <c:v>5.55</c:v>
                </c:pt>
                <c:pt idx="103">
                  <c:v>5.55</c:v>
                </c:pt>
                <c:pt idx="104">
                  <c:v>6.05</c:v>
                </c:pt>
                <c:pt idx="105">
                  <c:v>6.05</c:v>
                </c:pt>
                <c:pt idx="106">
                  <c:v>6.05</c:v>
                </c:pt>
                <c:pt idx="107">
                  <c:v>6.05</c:v>
                </c:pt>
                <c:pt idx="108">
                  <c:v>6.05</c:v>
                </c:pt>
                <c:pt idx="109">
                  <c:v>6.05</c:v>
                </c:pt>
                <c:pt idx="110">
                  <c:v>6.05</c:v>
                </c:pt>
                <c:pt idx="111">
                  <c:v>6</c:v>
                </c:pt>
                <c:pt idx="112">
                  <c:v>6</c:v>
                </c:pt>
                <c:pt idx="113">
                  <c:v>6</c:v>
                </c:pt>
                <c:pt idx="114">
                  <c:v>6</c:v>
                </c:pt>
                <c:pt idx="115">
                  <c:v>5.9</c:v>
                </c:pt>
                <c:pt idx="116">
                  <c:v>5.9</c:v>
                </c:pt>
                <c:pt idx="117">
                  <c:v>5.9</c:v>
                </c:pt>
                <c:pt idx="118">
                  <c:v>5.9</c:v>
                </c:pt>
                <c:pt idx="119">
                  <c:v>5.9</c:v>
                </c:pt>
                <c:pt idx="120">
                  <c:v>5.9</c:v>
                </c:pt>
                <c:pt idx="121">
                  <c:v>5.85</c:v>
                </c:pt>
                <c:pt idx="122">
                  <c:v>5.85</c:v>
                </c:pt>
                <c:pt idx="123">
                  <c:v>5.85</c:v>
                </c:pt>
                <c:pt idx="124">
                  <c:v>5.85</c:v>
                </c:pt>
                <c:pt idx="125">
                  <c:v>5.85</c:v>
                </c:pt>
                <c:pt idx="126">
                  <c:v>5.85</c:v>
                </c:pt>
                <c:pt idx="127">
                  <c:v>5.85</c:v>
                </c:pt>
                <c:pt idx="128">
                  <c:v>5.85</c:v>
                </c:pt>
                <c:pt idx="129">
                  <c:v>5.85</c:v>
                </c:pt>
                <c:pt idx="130">
                  <c:v>5.85</c:v>
                </c:pt>
                <c:pt idx="131">
                  <c:v>5.85</c:v>
                </c:pt>
                <c:pt idx="132">
                  <c:v>5.95</c:v>
                </c:pt>
                <c:pt idx="133">
                  <c:v>6.15</c:v>
                </c:pt>
                <c:pt idx="134">
                  <c:v>6.2</c:v>
                </c:pt>
                <c:pt idx="135">
                  <c:v>6.2</c:v>
                </c:pt>
                <c:pt idx="136">
                  <c:v>6.2</c:v>
                </c:pt>
                <c:pt idx="137">
                  <c:v>6.2</c:v>
                </c:pt>
                <c:pt idx="138">
                  <c:v>6.2</c:v>
                </c:pt>
                <c:pt idx="139">
                  <c:v>6.2</c:v>
                </c:pt>
                <c:pt idx="140">
                  <c:v>6.2</c:v>
                </c:pt>
                <c:pt idx="141">
                  <c:v>6.2</c:v>
                </c:pt>
                <c:pt idx="142">
                  <c:v>6.25</c:v>
                </c:pt>
                <c:pt idx="143">
                  <c:v>6.25</c:v>
                </c:pt>
                <c:pt idx="144">
                  <c:v>6.25</c:v>
                </c:pt>
                <c:pt idx="145">
                  <c:v>6.25</c:v>
                </c:pt>
                <c:pt idx="146">
                  <c:v>6.35</c:v>
                </c:pt>
                <c:pt idx="147">
                  <c:v>6.35</c:v>
                </c:pt>
                <c:pt idx="148">
                  <c:v>6.35</c:v>
                </c:pt>
                <c:pt idx="149">
                  <c:v>6.35</c:v>
                </c:pt>
                <c:pt idx="150">
                  <c:v>6.35</c:v>
                </c:pt>
                <c:pt idx="151">
                  <c:v>6.35</c:v>
                </c:pt>
                <c:pt idx="152">
                  <c:v>6.35</c:v>
                </c:pt>
                <c:pt idx="153">
                  <c:v>6.35</c:v>
                </c:pt>
                <c:pt idx="154">
                  <c:v>6.35</c:v>
                </c:pt>
                <c:pt idx="155">
                  <c:v>6.35</c:v>
                </c:pt>
                <c:pt idx="156">
                  <c:v>6.3</c:v>
                </c:pt>
                <c:pt idx="157">
                  <c:v>6.3</c:v>
                </c:pt>
                <c:pt idx="158">
                  <c:v>6.3</c:v>
                </c:pt>
                <c:pt idx="159">
                  <c:v>6.3</c:v>
                </c:pt>
                <c:pt idx="160">
                  <c:v>6.3</c:v>
                </c:pt>
                <c:pt idx="161">
                  <c:v>6.3</c:v>
                </c:pt>
                <c:pt idx="162">
                  <c:v>6.3</c:v>
                </c:pt>
                <c:pt idx="163">
                  <c:v>6.25</c:v>
                </c:pt>
                <c:pt idx="164">
                  <c:v>6.25</c:v>
                </c:pt>
                <c:pt idx="165">
                  <c:v>6.15</c:v>
                </c:pt>
                <c:pt idx="166">
                  <c:v>6</c:v>
                </c:pt>
                <c:pt idx="167">
                  <c:v>6</c:v>
                </c:pt>
                <c:pt idx="168">
                  <c:v>6</c:v>
                </c:pt>
                <c:pt idx="169">
                  <c:v>6</c:v>
                </c:pt>
                <c:pt idx="170">
                  <c:v>6</c:v>
                </c:pt>
                <c:pt idx="171">
                  <c:v>6</c:v>
                </c:pt>
                <c:pt idx="172">
                  <c:v>6</c:v>
                </c:pt>
                <c:pt idx="173">
                  <c:v>6</c:v>
                </c:pt>
                <c:pt idx="174">
                  <c:v>6</c:v>
                </c:pt>
                <c:pt idx="175">
                  <c:v>6</c:v>
                </c:pt>
                <c:pt idx="176">
                  <c:v>6</c:v>
                </c:pt>
                <c:pt idx="177">
                  <c:v>6</c:v>
                </c:pt>
                <c:pt idx="178">
                  <c:v>6</c:v>
                </c:pt>
                <c:pt idx="179">
                  <c:v>6</c:v>
                </c:pt>
                <c:pt idx="180">
                  <c:v>6</c:v>
                </c:pt>
                <c:pt idx="181">
                  <c:v>6</c:v>
                </c:pt>
                <c:pt idx="182">
                  <c:v>6</c:v>
                </c:pt>
                <c:pt idx="183">
                  <c:v>5.75</c:v>
                </c:pt>
                <c:pt idx="184">
                  <c:v>5.75</c:v>
                </c:pt>
                <c:pt idx="185">
                  <c:v>5.7</c:v>
                </c:pt>
                <c:pt idx="186">
                  <c:v>5.7</c:v>
                </c:pt>
                <c:pt idx="187">
                  <c:v>5.55</c:v>
                </c:pt>
                <c:pt idx="188">
                  <c:v>5.55</c:v>
                </c:pt>
                <c:pt idx="189">
                  <c:v>5.35</c:v>
                </c:pt>
                <c:pt idx="190">
                  <c:v>5</c:v>
                </c:pt>
                <c:pt idx="191">
                  <c:v>4.9000000000000004</c:v>
                </c:pt>
                <c:pt idx="192">
                  <c:v>5</c:v>
                </c:pt>
                <c:pt idx="193">
                  <c:v>4.9000000000000004</c:v>
                </c:pt>
                <c:pt idx="194">
                  <c:v>4.6500000000000004</c:v>
                </c:pt>
                <c:pt idx="195">
                  <c:v>4.8499999999999996</c:v>
                </c:pt>
                <c:pt idx="196">
                  <c:v>4.8499999999999996</c:v>
                </c:pt>
                <c:pt idx="197">
                  <c:v>4.8499999999999996</c:v>
                </c:pt>
                <c:pt idx="198">
                  <c:v>5</c:v>
                </c:pt>
                <c:pt idx="199">
                  <c:v>5</c:v>
                </c:pt>
                <c:pt idx="200">
                  <c:v>5</c:v>
                </c:pt>
                <c:pt idx="201">
                  <c:v>5</c:v>
                </c:pt>
                <c:pt idx="202">
                  <c:v>5</c:v>
                </c:pt>
                <c:pt idx="203">
                  <c:v>5</c:v>
                </c:pt>
                <c:pt idx="204">
                  <c:v>5</c:v>
                </c:pt>
                <c:pt idx="205">
                  <c:v>4.9000000000000004</c:v>
                </c:pt>
                <c:pt idx="206">
                  <c:v>4.9000000000000004</c:v>
                </c:pt>
                <c:pt idx="207">
                  <c:v>4.8499999999999996</c:v>
                </c:pt>
                <c:pt idx="208">
                  <c:v>4.8</c:v>
                </c:pt>
                <c:pt idx="209">
                  <c:v>4.8</c:v>
                </c:pt>
                <c:pt idx="210">
                  <c:v>4.8</c:v>
                </c:pt>
                <c:pt idx="211">
                  <c:v>4.8</c:v>
                </c:pt>
                <c:pt idx="212">
                  <c:v>4.8</c:v>
                </c:pt>
                <c:pt idx="213">
                  <c:v>4.8</c:v>
                </c:pt>
                <c:pt idx="214">
                  <c:v>4.8</c:v>
                </c:pt>
                <c:pt idx="215">
                  <c:v>4.8</c:v>
                </c:pt>
                <c:pt idx="216">
                  <c:v>4.8</c:v>
                </c:pt>
                <c:pt idx="217">
                  <c:v>4.75</c:v>
                </c:pt>
                <c:pt idx="218">
                  <c:v>4.75</c:v>
                </c:pt>
                <c:pt idx="219">
                  <c:v>4.7</c:v>
                </c:pt>
                <c:pt idx="220">
                  <c:v>4.5</c:v>
                </c:pt>
                <c:pt idx="221">
                  <c:v>4.4000000000000004</c:v>
                </c:pt>
                <c:pt idx="222">
                  <c:v>4.3499999999999996</c:v>
                </c:pt>
                <c:pt idx="223">
                  <c:v>4.3499999999999996</c:v>
                </c:pt>
                <c:pt idx="224">
                  <c:v>4.3499999999999996</c:v>
                </c:pt>
                <c:pt idx="225">
                  <c:v>4.3</c:v>
                </c:pt>
                <c:pt idx="226">
                  <c:v>4.25</c:v>
                </c:pt>
                <c:pt idx="227">
                  <c:v>4.05</c:v>
                </c:pt>
                <c:pt idx="228">
                  <c:v>3.25</c:v>
                </c:pt>
                <c:pt idx="229">
                  <c:v>3.15</c:v>
                </c:pt>
                <c:pt idx="230">
                  <c:v>3.55</c:v>
                </c:pt>
                <c:pt idx="231">
                  <c:v>3.6</c:v>
                </c:pt>
                <c:pt idx="232">
                  <c:v>3.75</c:v>
                </c:pt>
                <c:pt idx="233">
                  <c:v>3.9</c:v>
                </c:pt>
                <c:pt idx="234">
                  <c:v>3.9</c:v>
                </c:pt>
                <c:pt idx="235">
                  <c:v>3.75</c:v>
                </c:pt>
                <c:pt idx="236">
                  <c:v>3.65</c:v>
                </c:pt>
                <c:pt idx="237">
                  <c:v>3.55</c:v>
                </c:pt>
                <c:pt idx="238">
                  <c:v>3.75</c:v>
                </c:pt>
                <c:pt idx="239">
                  <c:v>3.75</c:v>
                </c:pt>
                <c:pt idx="240">
                  <c:v>3.75</c:v>
                </c:pt>
                <c:pt idx="241">
                  <c:v>3.45</c:v>
                </c:pt>
                <c:pt idx="242">
                  <c:v>3.5</c:v>
                </c:pt>
                <c:pt idx="243">
                  <c:v>3.45</c:v>
                </c:pt>
                <c:pt idx="244">
                  <c:v>3.45</c:v>
                </c:pt>
                <c:pt idx="245">
                  <c:v>3.5</c:v>
                </c:pt>
                <c:pt idx="246">
                  <c:v>3.45</c:v>
                </c:pt>
                <c:pt idx="247">
                  <c:v>3.45</c:v>
                </c:pt>
                <c:pt idx="248">
                  <c:v>3.4</c:v>
                </c:pt>
                <c:pt idx="249">
                  <c:v>3.45</c:v>
                </c:pt>
                <c:pt idx="250">
                  <c:v>3.45</c:v>
                </c:pt>
                <c:pt idx="251">
                  <c:v>3.4</c:v>
                </c:pt>
                <c:pt idx="252">
                  <c:v>3.4</c:v>
                </c:pt>
                <c:pt idx="253">
                  <c:v>3.35</c:v>
                </c:pt>
                <c:pt idx="254">
                  <c:v>3.35</c:v>
                </c:pt>
                <c:pt idx="255">
                  <c:v>3.2</c:v>
                </c:pt>
                <c:pt idx="256">
                  <c:v>3</c:v>
                </c:pt>
                <c:pt idx="257">
                  <c:v>2.9</c:v>
                </c:pt>
                <c:pt idx="258">
                  <c:v>2.95</c:v>
                </c:pt>
                <c:pt idx="259">
                  <c:v>2.85</c:v>
                </c:pt>
                <c:pt idx="260">
                  <c:v>2.85</c:v>
                </c:pt>
                <c:pt idx="261">
                  <c:v>2.8</c:v>
                </c:pt>
                <c:pt idx="262">
                  <c:v>2.2999999999999998</c:v>
                </c:pt>
                <c:pt idx="263">
                  <c:v>2.2999999999999998</c:v>
                </c:pt>
                <c:pt idx="264">
                  <c:v>2.4500000000000002</c:v>
                </c:pt>
                <c:pt idx="265">
                  <c:v>2.5</c:v>
                </c:pt>
                <c:pt idx="266">
                  <c:v>2.5</c:v>
                </c:pt>
                <c:pt idx="267">
                  <c:v>2.5499999999999998</c:v>
                </c:pt>
                <c:pt idx="268">
                  <c:v>2.4500000000000002</c:v>
                </c:pt>
                <c:pt idx="269">
                  <c:v>2.4</c:v>
                </c:pt>
                <c:pt idx="270">
                  <c:v>2.35</c:v>
                </c:pt>
                <c:pt idx="271">
                  <c:v>2.35</c:v>
                </c:pt>
                <c:pt idx="272">
                  <c:v>2.2999999999999998</c:v>
                </c:pt>
                <c:pt idx="273">
                  <c:v>2.2999999999999998</c:v>
                </c:pt>
                <c:pt idx="274">
                  <c:v>2.2999999999999998</c:v>
                </c:pt>
                <c:pt idx="275">
                  <c:v>2.2999999999999998</c:v>
                </c:pt>
                <c:pt idx="276">
                  <c:v>2.2999999999999998</c:v>
                </c:pt>
                <c:pt idx="277">
                  <c:v>2.35</c:v>
                </c:pt>
                <c:pt idx="278">
                  <c:v>2.35</c:v>
                </c:pt>
                <c:pt idx="279">
                  <c:v>2.4</c:v>
                </c:pt>
                <c:pt idx="280">
                  <c:v>2.4</c:v>
                </c:pt>
                <c:pt idx="281">
                  <c:v>2.4</c:v>
                </c:pt>
                <c:pt idx="282">
                  <c:v>2.4500000000000002</c:v>
                </c:pt>
                <c:pt idx="283">
                  <c:v>2.4500000000000002</c:v>
                </c:pt>
                <c:pt idx="284">
                  <c:v>2.4500000000000002</c:v>
                </c:pt>
                <c:pt idx="285">
                  <c:v>2.5</c:v>
                </c:pt>
                <c:pt idx="286">
                  <c:v>2.5</c:v>
                </c:pt>
                <c:pt idx="287">
                  <c:v>2.5</c:v>
                </c:pt>
                <c:pt idx="288">
                  <c:v>2.5</c:v>
                </c:pt>
                <c:pt idx="289">
                  <c:v>2.5</c:v>
                </c:pt>
                <c:pt idx="290">
                  <c:v>2.4500000000000002</c:v>
                </c:pt>
                <c:pt idx="291">
                  <c:v>2.4500000000000002</c:v>
                </c:pt>
                <c:pt idx="292">
                  <c:v>2.4500000000000002</c:v>
                </c:pt>
                <c:pt idx="293">
                  <c:v>2.4</c:v>
                </c:pt>
                <c:pt idx="294">
                  <c:v>2.4</c:v>
                </c:pt>
                <c:pt idx="295">
                  <c:v>2.35</c:v>
                </c:pt>
                <c:pt idx="296">
                  <c:v>2.2999999999999998</c:v>
                </c:pt>
                <c:pt idx="297">
                  <c:v>2.2999999999999998</c:v>
                </c:pt>
                <c:pt idx="298">
                  <c:v>2.2999999999999998</c:v>
                </c:pt>
                <c:pt idx="299">
                  <c:v>2.25</c:v>
                </c:pt>
                <c:pt idx="300">
                  <c:v>2.15</c:v>
                </c:pt>
                <c:pt idx="301">
                  <c:v>2.1</c:v>
                </c:pt>
                <c:pt idx="302">
                  <c:v>1.9</c:v>
                </c:pt>
                <c:pt idx="303">
                  <c:v>1.85</c:v>
                </c:pt>
                <c:pt idx="304">
                  <c:v>1.85</c:v>
                </c:pt>
                <c:pt idx="305">
                  <c:v>1.85</c:v>
                </c:pt>
                <c:pt idx="306">
                  <c:v>1.85</c:v>
                </c:pt>
                <c:pt idx="307">
                  <c:v>1.8</c:v>
                </c:pt>
                <c:pt idx="308">
                  <c:v>1.8</c:v>
                </c:pt>
                <c:pt idx="309">
                  <c:v>1.6</c:v>
                </c:pt>
                <c:pt idx="310">
                  <c:v>1.65</c:v>
                </c:pt>
                <c:pt idx="311">
                  <c:v>1.65</c:v>
                </c:pt>
                <c:pt idx="312">
                  <c:v>1.75</c:v>
                </c:pt>
                <c:pt idx="313">
                  <c:v>2</c:v>
                </c:pt>
                <c:pt idx="314">
                  <c:v>2.0499999999999998</c:v>
                </c:pt>
                <c:pt idx="315">
                  <c:v>2</c:v>
                </c:pt>
                <c:pt idx="316">
                  <c:v>2</c:v>
                </c:pt>
                <c:pt idx="317">
                  <c:v>2</c:v>
                </c:pt>
                <c:pt idx="318">
                  <c:v>2</c:v>
                </c:pt>
                <c:pt idx="319">
                  <c:v>2</c:v>
                </c:pt>
                <c:pt idx="320">
                  <c:v>1.95</c:v>
                </c:pt>
                <c:pt idx="321">
                  <c:v>2</c:v>
                </c:pt>
                <c:pt idx="322">
                  <c:v>2</c:v>
                </c:pt>
                <c:pt idx="323">
                  <c:v>2</c:v>
                </c:pt>
                <c:pt idx="324">
                  <c:v>1.95</c:v>
                </c:pt>
                <c:pt idx="325">
                  <c:v>2</c:v>
                </c:pt>
                <c:pt idx="326">
                  <c:v>2</c:v>
                </c:pt>
                <c:pt idx="327">
                  <c:v>1.95</c:v>
                </c:pt>
                <c:pt idx="328">
                  <c:v>2.0499999999999998</c:v>
                </c:pt>
                <c:pt idx="329">
                  <c:v>2.15</c:v>
                </c:pt>
                <c:pt idx="330">
                  <c:v>2.15</c:v>
                </c:pt>
                <c:pt idx="331">
                  <c:v>2.2000000000000002</c:v>
                </c:pt>
                <c:pt idx="332">
                  <c:v>2.2000000000000002</c:v>
                </c:pt>
                <c:pt idx="333">
                  <c:v>2.2000000000000002</c:v>
                </c:pt>
                <c:pt idx="334">
                  <c:v>2.4500000000000002</c:v>
                </c:pt>
                <c:pt idx="335">
                  <c:v>2.4500000000000002</c:v>
                </c:pt>
                <c:pt idx="336">
                  <c:v>2.4500000000000002</c:v>
                </c:pt>
                <c:pt idx="337">
                  <c:v>2.4500000000000002</c:v>
                </c:pt>
                <c:pt idx="338">
                  <c:v>2.5499999999999998</c:v>
                </c:pt>
                <c:pt idx="339">
                  <c:v>2.5499999999999998</c:v>
                </c:pt>
                <c:pt idx="340">
                  <c:v>2.5</c:v>
                </c:pt>
                <c:pt idx="341">
                  <c:v>2.5</c:v>
                </c:pt>
                <c:pt idx="342">
                  <c:v>2.4500000000000002</c:v>
                </c:pt>
                <c:pt idx="343">
                  <c:v>2.4500000000000002</c:v>
                </c:pt>
                <c:pt idx="344">
                  <c:v>2.35</c:v>
                </c:pt>
                <c:pt idx="345">
                  <c:v>2.2999999999999998</c:v>
                </c:pt>
                <c:pt idx="346">
                  <c:v>2.2999999999999998</c:v>
                </c:pt>
                <c:pt idx="347">
                  <c:v>2.35</c:v>
                </c:pt>
                <c:pt idx="348">
                  <c:v>2.35</c:v>
                </c:pt>
                <c:pt idx="349">
                  <c:v>2.35</c:v>
                </c:pt>
                <c:pt idx="350">
                  <c:v>2.35</c:v>
                </c:pt>
                <c:pt idx="351">
                  <c:v>2.4</c:v>
                </c:pt>
                <c:pt idx="352">
                  <c:v>2.4500000000000002</c:v>
                </c:pt>
                <c:pt idx="353">
                  <c:v>2.5</c:v>
                </c:pt>
                <c:pt idx="354">
                  <c:v>2.5499999999999998</c:v>
                </c:pt>
                <c:pt idx="355">
                  <c:v>2.5499999999999998</c:v>
                </c:pt>
                <c:pt idx="356">
                  <c:v>2.5499999999999998</c:v>
                </c:pt>
                <c:pt idx="357">
                  <c:v>2.5499999999999998</c:v>
                </c:pt>
                <c:pt idx="358">
                  <c:v>2.5</c:v>
                </c:pt>
                <c:pt idx="359">
                  <c:v>2.5499999999999998</c:v>
                </c:pt>
                <c:pt idx="360">
                  <c:v>2.6</c:v>
                </c:pt>
                <c:pt idx="361">
                  <c:v>2.5499999999999998</c:v>
                </c:pt>
                <c:pt idx="362">
                  <c:v>2.5499999999999998</c:v>
                </c:pt>
                <c:pt idx="363">
                  <c:v>2.6</c:v>
                </c:pt>
                <c:pt idx="364">
                  <c:v>2.6</c:v>
                </c:pt>
                <c:pt idx="365">
                  <c:v>2.6</c:v>
                </c:pt>
                <c:pt idx="366">
                  <c:v>2.6</c:v>
                </c:pt>
                <c:pt idx="367">
                  <c:v>2.6</c:v>
                </c:pt>
                <c:pt idx="368">
                  <c:v>2.6</c:v>
                </c:pt>
                <c:pt idx="369">
                  <c:v>2.6</c:v>
                </c:pt>
                <c:pt idx="370">
                  <c:v>2.6</c:v>
                </c:pt>
                <c:pt idx="371">
                  <c:v>2.5499999999999998</c:v>
                </c:pt>
                <c:pt idx="372">
                  <c:v>2.4500000000000002</c:v>
                </c:pt>
                <c:pt idx="373">
                  <c:v>2.5</c:v>
                </c:pt>
                <c:pt idx="374">
                  <c:v>2.5</c:v>
                </c:pt>
                <c:pt idx="375">
                  <c:v>2.4500000000000002</c:v>
                </c:pt>
                <c:pt idx="376">
                  <c:v>2.4500000000000002</c:v>
                </c:pt>
                <c:pt idx="377">
                  <c:v>2.4500000000000002</c:v>
                </c:pt>
                <c:pt idx="378">
                  <c:v>2.4500000000000002</c:v>
                </c:pt>
                <c:pt idx="379">
                  <c:v>2.4500000000000002</c:v>
                </c:pt>
                <c:pt idx="380">
                  <c:v>2.4500000000000002</c:v>
                </c:pt>
                <c:pt idx="381">
                  <c:v>2.4</c:v>
                </c:pt>
                <c:pt idx="382">
                  <c:v>2.4</c:v>
                </c:pt>
                <c:pt idx="383">
                  <c:v>2.4</c:v>
                </c:pt>
                <c:pt idx="384">
                  <c:v>2.4</c:v>
                </c:pt>
                <c:pt idx="385">
                  <c:v>2.4</c:v>
                </c:pt>
                <c:pt idx="386">
                  <c:v>2.35</c:v>
                </c:pt>
                <c:pt idx="387">
                  <c:v>2.2999999999999998</c:v>
                </c:pt>
                <c:pt idx="388">
                  <c:v>2.2999999999999998</c:v>
                </c:pt>
                <c:pt idx="389">
                  <c:v>2.35</c:v>
                </c:pt>
                <c:pt idx="390">
                  <c:v>2.2999999999999998</c:v>
                </c:pt>
                <c:pt idx="391">
                  <c:v>2.15</c:v>
                </c:pt>
                <c:pt idx="392">
                  <c:v>2.0499999999999998</c:v>
                </c:pt>
                <c:pt idx="393">
                  <c:v>2</c:v>
                </c:pt>
                <c:pt idx="394">
                  <c:v>2.0499999999999998</c:v>
                </c:pt>
                <c:pt idx="395">
                  <c:v>2.0499999999999998</c:v>
                </c:pt>
                <c:pt idx="396">
                  <c:v>2</c:v>
                </c:pt>
                <c:pt idx="397">
                  <c:v>2</c:v>
                </c:pt>
              </c:numCache>
            </c:numRef>
          </c:val>
          <c:smooth val="0"/>
          <c:extLst>
            <c:ext xmlns:c16="http://schemas.microsoft.com/office/drawing/2014/chart" uri="{C3380CC4-5D6E-409C-BE32-E72D297353CC}">
              <c16:uniqueId val="{00000003-C4AD-48A5-A644-B23C46E2CB74}"/>
            </c:ext>
          </c:extLst>
        </c:ser>
        <c:dLbls>
          <c:showLegendKey val="0"/>
          <c:showVal val="0"/>
          <c:showCatName val="0"/>
          <c:showSerName val="0"/>
          <c:showPercent val="0"/>
          <c:showBubbleSize val="0"/>
        </c:dLbls>
        <c:smooth val="0"/>
        <c:axId val="1839103295"/>
        <c:axId val="1839105215"/>
      </c:lineChart>
      <c:dateAx>
        <c:axId val="1839103295"/>
        <c:scaling>
          <c:orientation val="minMax"/>
        </c:scaling>
        <c:delete val="0"/>
        <c:axPos val="b"/>
        <c:numFmt formatCode="m/d/yy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9105215"/>
        <c:crosses val="autoZero"/>
        <c:auto val="1"/>
        <c:lblOffset val="100"/>
        <c:baseTimeUnit val="days"/>
      </c:dateAx>
      <c:valAx>
        <c:axId val="183910521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a:t>Euro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3910329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278320874065552E-2"/>
          <c:y val="0.11790182868142444"/>
          <c:w val="0.91316848763657277"/>
          <c:h val="0.76419634263715108"/>
        </c:manualLayout>
      </c:layout>
      <c:doughnutChart>
        <c:varyColors val="0"/>
        <c:ser>
          <c:idx val="0"/>
          <c:order val="0"/>
          <c:dPt>
            <c:idx val="0"/>
            <c:bubble3D val="0"/>
            <c:spPr>
              <a:solidFill>
                <a:srgbClr val="FFC000"/>
              </a:solidFill>
              <a:ln>
                <a:noFill/>
              </a:ln>
            </c:spPr>
            <c:extLst>
              <c:ext xmlns:c16="http://schemas.microsoft.com/office/drawing/2014/chart" uri="{C3380CC4-5D6E-409C-BE32-E72D297353CC}">
                <c16:uniqueId val="{00000000-A6CA-433B-87BA-259AB31140C4}"/>
              </c:ext>
            </c:extLst>
          </c:dPt>
          <c:dPt>
            <c:idx val="1"/>
            <c:bubble3D val="0"/>
            <c:spPr>
              <a:solidFill>
                <a:schemeClr val="accent2"/>
              </a:solidFill>
              <a:ln>
                <a:noFill/>
              </a:ln>
            </c:spPr>
            <c:extLst>
              <c:ext xmlns:c16="http://schemas.microsoft.com/office/drawing/2014/chart" uri="{C3380CC4-5D6E-409C-BE32-E72D297353CC}">
                <c16:uniqueId val="{00000001-A6CA-433B-87BA-259AB31140C4}"/>
              </c:ext>
            </c:extLst>
          </c:dPt>
          <c:dPt>
            <c:idx val="2"/>
            <c:bubble3D val="0"/>
            <c:spPr>
              <a:solidFill>
                <a:srgbClr val="6F8DB9"/>
              </a:solidFill>
              <a:ln>
                <a:noFill/>
              </a:ln>
            </c:spPr>
            <c:extLst>
              <c:ext xmlns:c16="http://schemas.microsoft.com/office/drawing/2014/chart" uri="{C3380CC4-5D6E-409C-BE32-E72D297353CC}">
                <c16:uniqueId val="{00000002-A6CA-433B-87BA-259AB31140C4}"/>
              </c:ext>
            </c:extLst>
          </c:dPt>
          <c:dPt>
            <c:idx val="3"/>
            <c:bubble3D val="0"/>
            <c:spPr>
              <a:solidFill>
                <a:schemeClr val="accent4"/>
              </a:solidFill>
              <a:ln>
                <a:noFill/>
              </a:ln>
            </c:spPr>
            <c:extLst>
              <c:ext xmlns:c16="http://schemas.microsoft.com/office/drawing/2014/chart" uri="{C3380CC4-5D6E-409C-BE32-E72D297353CC}">
                <c16:uniqueId val="{00000003-A6CA-433B-87BA-259AB31140C4}"/>
              </c:ext>
            </c:extLst>
          </c:dPt>
          <c:dPt>
            <c:idx val="4"/>
            <c:bubble3D val="0"/>
            <c:spPr>
              <a:solidFill>
                <a:schemeClr val="accent5"/>
              </a:solidFill>
              <a:ln>
                <a:noFill/>
              </a:ln>
            </c:spPr>
            <c:extLst>
              <c:ext xmlns:c16="http://schemas.microsoft.com/office/drawing/2014/chart" uri="{C3380CC4-5D6E-409C-BE32-E72D297353CC}">
                <c16:uniqueId val="{00000004-A6CA-433B-87BA-259AB31140C4}"/>
              </c:ext>
            </c:extLst>
          </c:dPt>
          <c:dPt>
            <c:idx val="5"/>
            <c:bubble3D val="0"/>
            <c:spPr>
              <a:solidFill>
                <a:schemeClr val="accent1"/>
              </a:solidFill>
              <a:ln w="28575" cmpd="sng" algn="ctr">
                <a:solidFill>
                  <a:schemeClr val="tx1"/>
                </a:solidFill>
                <a:prstDash val="solid"/>
              </a:ln>
            </c:spPr>
            <c:extLst>
              <c:ext xmlns:c16="http://schemas.microsoft.com/office/drawing/2014/chart" uri="{C3380CC4-5D6E-409C-BE32-E72D297353CC}">
                <c16:uniqueId val="{00000005-A6CA-433B-87BA-259AB31140C4}"/>
              </c:ext>
            </c:extLst>
          </c:dPt>
          <c:dLbls>
            <c:dLbl>
              <c:idx val="0"/>
              <c:layout>
                <c:manualLayout>
                  <c:x val="-3.5077630822311676E-2"/>
                  <c:y val="9.6246390760346492E-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CA-433B-87BA-259AB31140C4}"/>
                </c:ext>
              </c:extLst>
            </c:dLbl>
            <c:dLbl>
              <c:idx val="1"/>
              <c:layout>
                <c:manualLayout>
                  <c:x val="-1.5526164462334674E-2"/>
                  <c:y val="-3.7054860442733401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CA-433B-87BA-259AB31140C4}"/>
                </c:ext>
              </c:extLst>
            </c:dLbl>
            <c:dLbl>
              <c:idx val="2"/>
              <c:layout>
                <c:manualLayout>
                  <c:x val="2.2426682001150087E-2"/>
                  <c:y val="-1.203079884504331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CA-433B-87BA-259AB31140C4}"/>
                </c:ext>
              </c:extLst>
            </c:dLbl>
            <c:dLbl>
              <c:idx val="3"/>
              <c:layout>
                <c:manualLayout>
                  <c:x val="2.7027027027027029E-2"/>
                  <c:y val="1.8768046198267566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CA-433B-87BA-259AB31140C4}"/>
                </c:ext>
              </c:extLst>
            </c:dLbl>
            <c:dLbl>
              <c:idx val="4"/>
              <c:layout>
                <c:manualLayout>
                  <c:x val="7.4755606670500289E-3"/>
                  <c:y val="4.619826756496631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CA-433B-87BA-259AB31140C4}"/>
                </c:ext>
              </c:extLst>
            </c:dLbl>
            <c:dLbl>
              <c:idx val="5"/>
              <c:layout>
                <c:manualLayout>
                  <c:x val="-1.9551466359977E-2"/>
                  <c:y val="3.0798845043310877E-2"/>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6CA-433B-87BA-259AB31140C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8.000000000000004</c:v>
                </c:pt>
                <c:pt idx="1">
                  <c:v>9</c:v>
                </c:pt>
                <c:pt idx="2">
                  <c:v>28.999999999999996</c:v>
                </c:pt>
                <c:pt idx="3">
                  <c:v>12</c:v>
                </c:pt>
                <c:pt idx="4">
                  <c:v>14.000000000000002</c:v>
                </c:pt>
                <c:pt idx="5">
                  <c:v>8</c:v>
                </c:pt>
              </c:numCache>
            </c:numRef>
          </c:val>
          <c:extLst>
            <c:ext xmlns:c16="http://schemas.microsoft.com/office/drawing/2014/chart" uri="{C3380CC4-5D6E-409C-BE32-E72D297353CC}">
              <c16:uniqueId val="{00000006-A6CA-433B-87BA-259AB31140C4}"/>
            </c:ext>
          </c:extLst>
        </c:ser>
        <c:dLbls>
          <c:showLegendKey val="0"/>
          <c:showVal val="0"/>
          <c:showCatName val="0"/>
          <c:showSerName val="0"/>
          <c:showPercent val="0"/>
          <c:showBubbleSize val="0"/>
          <c:showLeaderLines val="1"/>
        </c:dLbls>
        <c:firstSliceAng val="227"/>
        <c:holeSize val="50"/>
      </c:doughnutChart>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image" Target="../media/image103.jpeg"/><Relationship Id="rId4" Type="http://schemas.openxmlformats.org/officeDocument/2006/relationships/image" Target="../media/image106.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image" Target="../media/image103.jpeg"/><Relationship Id="rId4" Type="http://schemas.openxmlformats.org/officeDocument/2006/relationships/image" Target="../media/image106.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E94FCC-700F-4539-8D8A-80D820C2C62A}" type="doc">
      <dgm:prSet loTypeId="urn:microsoft.com/office/officeart/2005/8/layout/hProcess11" loCatId="process" qsTypeId="urn:microsoft.com/office/officeart/2005/8/quickstyle/simple1" qsCatId="simple" csTypeId="urn:microsoft.com/office/officeart/2005/8/colors/accent1_2" csCatId="accent1" phldr="1"/>
      <dgm:spPr/>
    </dgm:pt>
    <dgm:pt modelId="{D30B3667-1E51-41F2-A39F-224CBEFC7990}">
      <dgm:prSet phldrT="[Text]"/>
      <dgm:spPr/>
      <dgm:t>
        <a:bodyPr/>
        <a:lstStyle/>
        <a:p>
          <a:r>
            <a:rPr lang="fi-FI" err="1"/>
            <a:t>Issuance</a:t>
          </a:r>
          <a:endParaRPr lang="en-FI"/>
        </a:p>
      </dgm:t>
    </dgm:pt>
    <dgm:pt modelId="{BE8A38B2-8161-4EF5-9F4D-6D4B93502D61}" type="parTrans" cxnId="{976B22ED-7D72-47EE-9CA7-363DA185106D}">
      <dgm:prSet/>
      <dgm:spPr/>
      <dgm:t>
        <a:bodyPr/>
        <a:lstStyle/>
        <a:p>
          <a:endParaRPr lang="en-FI"/>
        </a:p>
      </dgm:t>
    </dgm:pt>
    <dgm:pt modelId="{D964FB29-A662-4195-9435-E5E8C6D13D76}" type="sibTrans" cxnId="{976B22ED-7D72-47EE-9CA7-363DA185106D}">
      <dgm:prSet/>
      <dgm:spPr/>
      <dgm:t>
        <a:bodyPr/>
        <a:lstStyle/>
        <a:p>
          <a:endParaRPr lang="en-FI"/>
        </a:p>
      </dgm:t>
    </dgm:pt>
    <dgm:pt modelId="{BD58EFB5-121C-477F-AF98-455909A42B88}">
      <dgm:prSet phldrT="[Text]"/>
      <dgm:spPr/>
      <dgm:t>
        <a:bodyPr/>
        <a:lstStyle/>
        <a:p>
          <a:r>
            <a:rPr lang="fi-FI" err="1"/>
            <a:t>Transfers</a:t>
          </a:r>
          <a:r>
            <a:rPr lang="fi-FI"/>
            <a:t> / </a:t>
          </a:r>
        </a:p>
        <a:p>
          <a:r>
            <a:rPr lang="fi-FI"/>
            <a:t>Trading</a:t>
          </a:r>
          <a:endParaRPr lang="en-FI"/>
        </a:p>
      </dgm:t>
    </dgm:pt>
    <dgm:pt modelId="{8DA5C3C9-24B5-4F55-AC1D-B7B72EFD06A4}" type="parTrans" cxnId="{EEC580DA-E254-4013-9754-0842187F42C7}">
      <dgm:prSet/>
      <dgm:spPr/>
      <dgm:t>
        <a:bodyPr/>
        <a:lstStyle/>
        <a:p>
          <a:endParaRPr lang="en-FI"/>
        </a:p>
      </dgm:t>
    </dgm:pt>
    <dgm:pt modelId="{F768E4A0-7298-46AC-A284-E72C5F891652}" type="sibTrans" cxnId="{EEC580DA-E254-4013-9754-0842187F42C7}">
      <dgm:prSet/>
      <dgm:spPr/>
      <dgm:t>
        <a:bodyPr/>
        <a:lstStyle/>
        <a:p>
          <a:endParaRPr lang="en-FI"/>
        </a:p>
      </dgm:t>
    </dgm:pt>
    <dgm:pt modelId="{942A54C3-D654-46CE-B4B1-F7E0ADAE9A21}">
      <dgm:prSet phldrT="[Text]"/>
      <dgm:spPr/>
      <dgm:t>
        <a:bodyPr/>
        <a:lstStyle/>
        <a:p>
          <a:r>
            <a:rPr lang="fi-FI" err="1"/>
            <a:t>Cancellation</a:t>
          </a:r>
          <a:r>
            <a:rPr lang="fi-FI"/>
            <a:t> </a:t>
          </a:r>
          <a:r>
            <a:rPr lang="fi-FI" err="1"/>
            <a:t>or</a:t>
          </a:r>
          <a:r>
            <a:rPr lang="fi-FI"/>
            <a:t> </a:t>
          </a:r>
        </a:p>
        <a:p>
          <a:r>
            <a:rPr lang="fi-FI" err="1"/>
            <a:t>Expiry</a:t>
          </a:r>
          <a:endParaRPr lang="en-FI"/>
        </a:p>
      </dgm:t>
    </dgm:pt>
    <dgm:pt modelId="{91150DDD-03F0-4508-A64F-B436318F2089}" type="parTrans" cxnId="{71F4687B-A00F-44FC-BC47-0F014CC9CA1E}">
      <dgm:prSet/>
      <dgm:spPr/>
      <dgm:t>
        <a:bodyPr/>
        <a:lstStyle/>
        <a:p>
          <a:endParaRPr lang="en-FI"/>
        </a:p>
      </dgm:t>
    </dgm:pt>
    <dgm:pt modelId="{3A27E5C3-5D03-4BA6-9771-52A1E673F903}" type="sibTrans" cxnId="{71F4687B-A00F-44FC-BC47-0F014CC9CA1E}">
      <dgm:prSet/>
      <dgm:spPr/>
      <dgm:t>
        <a:bodyPr/>
        <a:lstStyle/>
        <a:p>
          <a:endParaRPr lang="en-FI"/>
        </a:p>
      </dgm:t>
    </dgm:pt>
    <dgm:pt modelId="{A814B3B9-1082-424F-AA9D-4B3A0E827FCC}">
      <dgm:prSet phldrT="[Text]"/>
      <dgm:spPr/>
      <dgm:t>
        <a:bodyPr/>
        <a:lstStyle/>
        <a:p>
          <a:r>
            <a:rPr lang="fi-FI"/>
            <a:t>(Trading)</a:t>
          </a:r>
          <a:endParaRPr lang="en-FI"/>
        </a:p>
      </dgm:t>
    </dgm:pt>
    <dgm:pt modelId="{987AC397-5FC3-47EA-96E7-9F793336ACB6}" type="parTrans" cxnId="{90FE093A-AF55-419D-A3A2-359D5FC8FBAF}">
      <dgm:prSet/>
      <dgm:spPr/>
      <dgm:t>
        <a:bodyPr/>
        <a:lstStyle/>
        <a:p>
          <a:endParaRPr lang="en-FI"/>
        </a:p>
      </dgm:t>
    </dgm:pt>
    <dgm:pt modelId="{7D9DBEC5-C5BC-4C04-9123-AFC34896C12D}" type="sibTrans" cxnId="{90FE093A-AF55-419D-A3A2-359D5FC8FBAF}">
      <dgm:prSet/>
      <dgm:spPr/>
      <dgm:t>
        <a:bodyPr/>
        <a:lstStyle/>
        <a:p>
          <a:endParaRPr lang="en-FI"/>
        </a:p>
      </dgm:t>
    </dgm:pt>
    <dgm:pt modelId="{DB311EEE-9482-43D9-8249-876218D44434}" type="pres">
      <dgm:prSet presAssocID="{D8E94FCC-700F-4539-8D8A-80D820C2C62A}" presName="Name0" presStyleCnt="0">
        <dgm:presLayoutVars>
          <dgm:dir/>
          <dgm:resizeHandles val="exact"/>
        </dgm:presLayoutVars>
      </dgm:prSet>
      <dgm:spPr/>
    </dgm:pt>
    <dgm:pt modelId="{8FF0EBE3-9B50-4857-81C8-289E730E560C}" type="pres">
      <dgm:prSet presAssocID="{D8E94FCC-700F-4539-8D8A-80D820C2C62A}" presName="arrow" presStyleLbl="bgShp" presStyleIdx="0" presStyleCnt="1"/>
      <dgm:spPr/>
    </dgm:pt>
    <dgm:pt modelId="{12EFD7FA-DC72-4F43-90BC-9D4DAD2BC882}" type="pres">
      <dgm:prSet presAssocID="{D8E94FCC-700F-4539-8D8A-80D820C2C62A}" presName="points" presStyleCnt="0"/>
      <dgm:spPr/>
    </dgm:pt>
    <dgm:pt modelId="{24A02DF6-BECB-45B9-B7AE-4DFD4060C7AD}" type="pres">
      <dgm:prSet presAssocID="{A814B3B9-1082-424F-AA9D-4B3A0E827FCC}" presName="compositeA" presStyleCnt="0"/>
      <dgm:spPr/>
    </dgm:pt>
    <dgm:pt modelId="{B9B40EDB-61BF-45EF-9C38-6A400471EFA0}" type="pres">
      <dgm:prSet presAssocID="{A814B3B9-1082-424F-AA9D-4B3A0E827FCC}" presName="textA" presStyleLbl="revTx" presStyleIdx="0" presStyleCnt="4">
        <dgm:presLayoutVars>
          <dgm:bulletEnabled val="1"/>
        </dgm:presLayoutVars>
      </dgm:prSet>
      <dgm:spPr/>
    </dgm:pt>
    <dgm:pt modelId="{D457FAA5-D577-4931-8408-51744E95B53A}" type="pres">
      <dgm:prSet presAssocID="{A814B3B9-1082-424F-AA9D-4B3A0E827FCC}" presName="circleA" presStyleLbl="node1" presStyleIdx="0" presStyleCnt="4"/>
      <dgm:spPr>
        <a:blipFill dpi="0" rotWithShape="0">
          <a:blip xmlns:r="http://schemas.openxmlformats.org/officeDocument/2006/relationships" r:embed="rId1">
            <a:alphaModFix amt="50000"/>
          </a:blip>
          <a:srcRect/>
          <a:stretch>
            <a:fillRect/>
          </a:stretch>
        </a:blipFill>
      </dgm:spPr>
    </dgm:pt>
    <dgm:pt modelId="{07B15412-FB2A-4A1A-923F-C1DAEC891449}" type="pres">
      <dgm:prSet presAssocID="{A814B3B9-1082-424F-AA9D-4B3A0E827FCC}" presName="spaceA" presStyleCnt="0"/>
      <dgm:spPr/>
    </dgm:pt>
    <dgm:pt modelId="{DCD4A7C8-FE20-4073-9615-95F7F93321BB}" type="pres">
      <dgm:prSet presAssocID="{7D9DBEC5-C5BC-4C04-9123-AFC34896C12D}" presName="space" presStyleCnt="0"/>
      <dgm:spPr/>
    </dgm:pt>
    <dgm:pt modelId="{F2231B96-51E4-4530-997A-3A543B42B5EC}" type="pres">
      <dgm:prSet presAssocID="{D30B3667-1E51-41F2-A39F-224CBEFC7990}" presName="compositeB" presStyleCnt="0"/>
      <dgm:spPr/>
    </dgm:pt>
    <dgm:pt modelId="{3DF48775-A4BB-4C7D-9EFE-29E95515FA4D}" type="pres">
      <dgm:prSet presAssocID="{D30B3667-1E51-41F2-A39F-224CBEFC7990}" presName="textB" presStyleLbl="revTx" presStyleIdx="1" presStyleCnt="4">
        <dgm:presLayoutVars>
          <dgm:bulletEnabled val="1"/>
        </dgm:presLayoutVars>
      </dgm:prSet>
      <dgm:spPr/>
    </dgm:pt>
    <dgm:pt modelId="{D5AF678C-A634-474E-BAB8-123F84D6BE84}" type="pres">
      <dgm:prSet presAssocID="{D30B3667-1E51-41F2-A39F-224CBEFC7990}" presName="circleB" presStyleLbl="node1" presStyleIdx="1" presStyleCnt="4"/>
      <dgm:spPr>
        <a:blipFill rotWithShape="0">
          <a:blip xmlns:r="http://schemas.openxmlformats.org/officeDocument/2006/relationships" r:embed="rId2">
            <a:alphaModFix amt="50000"/>
          </a:blip>
          <a:stretch>
            <a:fillRect/>
          </a:stretch>
        </a:blipFill>
      </dgm:spPr>
    </dgm:pt>
    <dgm:pt modelId="{F9CCEA63-5E09-41EF-8E4A-2D79FC97AB66}" type="pres">
      <dgm:prSet presAssocID="{D30B3667-1E51-41F2-A39F-224CBEFC7990}" presName="spaceB" presStyleCnt="0"/>
      <dgm:spPr/>
    </dgm:pt>
    <dgm:pt modelId="{87D80762-BCC2-4257-BCDE-0B412DA26E0B}" type="pres">
      <dgm:prSet presAssocID="{D964FB29-A662-4195-9435-E5E8C6D13D76}" presName="space" presStyleCnt="0"/>
      <dgm:spPr/>
    </dgm:pt>
    <dgm:pt modelId="{A1A95E62-5025-44D7-A633-7F2BC59C3D5C}" type="pres">
      <dgm:prSet presAssocID="{BD58EFB5-121C-477F-AF98-455909A42B88}" presName="compositeA" presStyleCnt="0"/>
      <dgm:spPr/>
    </dgm:pt>
    <dgm:pt modelId="{01CEF92E-A470-490E-BCB4-48081C27FFAF}" type="pres">
      <dgm:prSet presAssocID="{BD58EFB5-121C-477F-AF98-455909A42B88}" presName="textA" presStyleLbl="revTx" presStyleIdx="2" presStyleCnt="4">
        <dgm:presLayoutVars>
          <dgm:bulletEnabled val="1"/>
        </dgm:presLayoutVars>
      </dgm:prSet>
      <dgm:spPr/>
    </dgm:pt>
    <dgm:pt modelId="{DD5872F4-D95C-411F-BAF9-B02DDBDFA96A}" type="pres">
      <dgm:prSet presAssocID="{BD58EFB5-121C-477F-AF98-455909A42B88}" presName="circleA" presStyleLbl="node1" presStyleIdx="2" presStyleCnt="4"/>
      <dgm:spPr>
        <a:blipFill rotWithShape="0">
          <a:blip xmlns:r="http://schemas.openxmlformats.org/officeDocument/2006/relationships" r:embed="rId3">
            <a:alphaModFix amt="50000"/>
          </a:blip>
          <a:stretch>
            <a:fillRect/>
          </a:stretch>
        </a:blipFill>
      </dgm:spPr>
    </dgm:pt>
    <dgm:pt modelId="{8D36158E-AF7F-49CF-9480-318AD27C1607}" type="pres">
      <dgm:prSet presAssocID="{BD58EFB5-121C-477F-AF98-455909A42B88}" presName="spaceA" presStyleCnt="0"/>
      <dgm:spPr/>
    </dgm:pt>
    <dgm:pt modelId="{2932EAB1-4CF1-41CC-958F-9AA84A7848AF}" type="pres">
      <dgm:prSet presAssocID="{F768E4A0-7298-46AC-A284-E72C5F891652}" presName="space" presStyleCnt="0"/>
      <dgm:spPr/>
    </dgm:pt>
    <dgm:pt modelId="{E11A5B40-7027-4F84-BA1D-136AE27969A4}" type="pres">
      <dgm:prSet presAssocID="{942A54C3-D654-46CE-B4B1-F7E0ADAE9A21}" presName="compositeB" presStyleCnt="0"/>
      <dgm:spPr/>
    </dgm:pt>
    <dgm:pt modelId="{EDB9277F-A870-4ACB-A05C-5E2AC0D0DB53}" type="pres">
      <dgm:prSet presAssocID="{942A54C3-D654-46CE-B4B1-F7E0ADAE9A21}" presName="textB" presStyleLbl="revTx" presStyleIdx="3" presStyleCnt="4" custScaleX="113286" custScaleY="102393" custLinFactNeighborX="-6779" custLinFactNeighborY="-598">
        <dgm:presLayoutVars>
          <dgm:bulletEnabled val="1"/>
        </dgm:presLayoutVars>
      </dgm:prSet>
      <dgm:spPr/>
    </dgm:pt>
    <dgm:pt modelId="{5189A8E9-757B-4540-A430-F24612BCBD3E}" type="pres">
      <dgm:prSet presAssocID="{942A54C3-D654-46CE-B4B1-F7E0ADAE9A21}" presName="circleB" presStyleLbl="node1" presStyleIdx="3" presStyleCnt="4"/>
      <dgm:spPr>
        <a:blipFill rotWithShape="0">
          <a:blip xmlns:r="http://schemas.openxmlformats.org/officeDocument/2006/relationships" r:embed="rId4">
            <a:alphaModFix amt="50000"/>
          </a:blip>
          <a:stretch>
            <a:fillRect/>
          </a:stretch>
        </a:blipFill>
      </dgm:spPr>
    </dgm:pt>
    <dgm:pt modelId="{39969D61-97BB-405E-A998-F79898605F38}" type="pres">
      <dgm:prSet presAssocID="{942A54C3-D654-46CE-B4B1-F7E0ADAE9A21}" presName="spaceB" presStyleCnt="0"/>
      <dgm:spPr/>
    </dgm:pt>
  </dgm:ptLst>
  <dgm:cxnLst>
    <dgm:cxn modelId="{A9456721-4E8B-4A5D-BDD4-58A806F7CBD3}" type="presOf" srcId="{942A54C3-D654-46CE-B4B1-F7E0ADAE9A21}" destId="{EDB9277F-A870-4ACB-A05C-5E2AC0D0DB53}" srcOrd="0" destOrd="0" presId="urn:microsoft.com/office/officeart/2005/8/layout/hProcess11"/>
    <dgm:cxn modelId="{90FE093A-AF55-419D-A3A2-359D5FC8FBAF}" srcId="{D8E94FCC-700F-4539-8D8A-80D820C2C62A}" destId="{A814B3B9-1082-424F-AA9D-4B3A0E827FCC}" srcOrd="0" destOrd="0" parTransId="{987AC397-5FC3-47EA-96E7-9F793336ACB6}" sibTransId="{7D9DBEC5-C5BC-4C04-9123-AFC34896C12D}"/>
    <dgm:cxn modelId="{959F4143-F3E0-47A8-B43F-48C05A0410FB}" type="presOf" srcId="{D30B3667-1E51-41F2-A39F-224CBEFC7990}" destId="{3DF48775-A4BB-4C7D-9EFE-29E95515FA4D}" srcOrd="0" destOrd="0" presId="urn:microsoft.com/office/officeart/2005/8/layout/hProcess11"/>
    <dgm:cxn modelId="{71F4687B-A00F-44FC-BC47-0F014CC9CA1E}" srcId="{D8E94FCC-700F-4539-8D8A-80D820C2C62A}" destId="{942A54C3-D654-46CE-B4B1-F7E0ADAE9A21}" srcOrd="3" destOrd="0" parTransId="{91150DDD-03F0-4508-A64F-B436318F2089}" sibTransId="{3A27E5C3-5D03-4BA6-9771-52A1E673F903}"/>
    <dgm:cxn modelId="{58016F8B-A797-4CCD-88E4-4D5F9DD796E6}" type="presOf" srcId="{A814B3B9-1082-424F-AA9D-4B3A0E827FCC}" destId="{B9B40EDB-61BF-45EF-9C38-6A400471EFA0}" srcOrd="0" destOrd="0" presId="urn:microsoft.com/office/officeart/2005/8/layout/hProcess11"/>
    <dgm:cxn modelId="{CDE8D08C-887C-4D24-AF57-44B0B090D7A1}" type="presOf" srcId="{D8E94FCC-700F-4539-8D8A-80D820C2C62A}" destId="{DB311EEE-9482-43D9-8249-876218D44434}" srcOrd="0" destOrd="0" presId="urn:microsoft.com/office/officeart/2005/8/layout/hProcess11"/>
    <dgm:cxn modelId="{EEC580DA-E254-4013-9754-0842187F42C7}" srcId="{D8E94FCC-700F-4539-8D8A-80D820C2C62A}" destId="{BD58EFB5-121C-477F-AF98-455909A42B88}" srcOrd="2" destOrd="0" parTransId="{8DA5C3C9-24B5-4F55-AC1D-B7B72EFD06A4}" sibTransId="{F768E4A0-7298-46AC-A284-E72C5F891652}"/>
    <dgm:cxn modelId="{976B22ED-7D72-47EE-9CA7-363DA185106D}" srcId="{D8E94FCC-700F-4539-8D8A-80D820C2C62A}" destId="{D30B3667-1E51-41F2-A39F-224CBEFC7990}" srcOrd="1" destOrd="0" parTransId="{BE8A38B2-8161-4EF5-9F4D-6D4B93502D61}" sibTransId="{D964FB29-A662-4195-9435-E5E8C6D13D76}"/>
    <dgm:cxn modelId="{EC2ECBF4-7FB2-4672-9E7E-A42861D98892}" type="presOf" srcId="{BD58EFB5-121C-477F-AF98-455909A42B88}" destId="{01CEF92E-A470-490E-BCB4-48081C27FFAF}" srcOrd="0" destOrd="0" presId="urn:microsoft.com/office/officeart/2005/8/layout/hProcess11"/>
    <dgm:cxn modelId="{2C953D37-756C-4968-90AB-C72C653984DA}" type="presParOf" srcId="{DB311EEE-9482-43D9-8249-876218D44434}" destId="{8FF0EBE3-9B50-4857-81C8-289E730E560C}" srcOrd="0" destOrd="0" presId="urn:microsoft.com/office/officeart/2005/8/layout/hProcess11"/>
    <dgm:cxn modelId="{CD72A29A-5DC8-488D-BD9E-8CA8416D878E}" type="presParOf" srcId="{DB311EEE-9482-43D9-8249-876218D44434}" destId="{12EFD7FA-DC72-4F43-90BC-9D4DAD2BC882}" srcOrd="1" destOrd="0" presId="urn:microsoft.com/office/officeart/2005/8/layout/hProcess11"/>
    <dgm:cxn modelId="{711144AA-EA68-4958-AE44-5E63F69DF58C}" type="presParOf" srcId="{12EFD7FA-DC72-4F43-90BC-9D4DAD2BC882}" destId="{24A02DF6-BECB-45B9-B7AE-4DFD4060C7AD}" srcOrd="0" destOrd="0" presId="urn:microsoft.com/office/officeart/2005/8/layout/hProcess11"/>
    <dgm:cxn modelId="{0C0EB531-CF95-41C1-B1F2-CE75CC72A1DA}" type="presParOf" srcId="{24A02DF6-BECB-45B9-B7AE-4DFD4060C7AD}" destId="{B9B40EDB-61BF-45EF-9C38-6A400471EFA0}" srcOrd="0" destOrd="0" presId="urn:microsoft.com/office/officeart/2005/8/layout/hProcess11"/>
    <dgm:cxn modelId="{681FCC3E-16B4-48D0-B396-16B295C00669}" type="presParOf" srcId="{24A02DF6-BECB-45B9-B7AE-4DFD4060C7AD}" destId="{D457FAA5-D577-4931-8408-51744E95B53A}" srcOrd="1" destOrd="0" presId="urn:microsoft.com/office/officeart/2005/8/layout/hProcess11"/>
    <dgm:cxn modelId="{804BA076-E490-4586-8BE7-E0399F91722B}" type="presParOf" srcId="{24A02DF6-BECB-45B9-B7AE-4DFD4060C7AD}" destId="{07B15412-FB2A-4A1A-923F-C1DAEC891449}" srcOrd="2" destOrd="0" presId="urn:microsoft.com/office/officeart/2005/8/layout/hProcess11"/>
    <dgm:cxn modelId="{277561C0-65FF-47BC-81A6-A8B07A6A2A16}" type="presParOf" srcId="{12EFD7FA-DC72-4F43-90BC-9D4DAD2BC882}" destId="{DCD4A7C8-FE20-4073-9615-95F7F93321BB}" srcOrd="1" destOrd="0" presId="urn:microsoft.com/office/officeart/2005/8/layout/hProcess11"/>
    <dgm:cxn modelId="{092E0108-EB62-4752-A252-D51193AAD6EF}" type="presParOf" srcId="{12EFD7FA-DC72-4F43-90BC-9D4DAD2BC882}" destId="{F2231B96-51E4-4530-997A-3A543B42B5EC}" srcOrd="2" destOrd="0" presId="urn:microsoft.com/office/officeart/2005/8/layout/hProcess11"/>
    <dgm:cxn modelId="{41830F08-7A7E-4200-83BA-45A358D9A53E}" type="presParOf" srcId="{F2231B96-51E4-4530-997A-3A543B42B5EC}" destId="{3DF48775-A4BB-4C7D-9EFE-29E95515FA4D}" srcOrd="0" destOrd="0" presId="urn:microsoft.com/office/officeart/2005/8/layout/hProcess11"/>
    <dgm:cxn modelId="{44561E7B-6BCA-43AE-9E87-DDD68DA0D669}" type="presParOf" srcId="{F2231B96-51E4-4530-997A-3A543B42B5EC}" destId="{D5AF678C-A634-474E-BAB8-123F84D6BE84}" srcOrd="1" destOrd="0" presId="urn:microsoft.com/office/officeart/2005/8/layout/hProcess11"/>
    <dgm:cxn modelId="{4E66D1BB-0E41-4CC1-B3AC-4282A8835A57}" type="presParOf" srcId="{F2231B96-51E4-4530-997A-3A543B42B5EC}" destId="{F9CCEA63-5E09-41EF-8E4A-2D79FC97AB66}" srcOrd="2" destOrd="0" presId="urn:microsoft.com/office/officeart/2005/8/layout/hProcess11"/>
    <dgm:cxn modelId="{2C5784C1-5DD7-4FFA-A0ED-879F621DA556}" type="presParOf" srcId="{12EFD7FA-DC72-4F43-90BC-9D4DAD2BC882}" destId="{87D80762-BCC2-4257-BCDE-0B412DA26E0B}" srcOrd="3" destOrd="0" presId="urn:microsoft.com/office/officeart/2005/8/layout/hProcess11"/>
    <dgm:cxn modelId="{5F15CB90-3C47-4CC1-BA7F-8A443A2FAE83}" type="presParOf" srcId="{12EFD7FA-DC72-4F43-90BC-9D4DAD2BC882}" destId="{A1A95E62-5025-44D7-A633-7F2BC59C3D5C}" srcOrd="4" destOrd="0" presId="urn:microsoft.com/office/officeart/2005/8/layout/hProcess11"/>
    <dgm:cxn modelId="{C26D89C3-DDD0-4DF1-90A5-D7BE4A937B6A}" type="presParOf" srcId="{A1A95E62-5025-44D7-A633-7F2BC59C3D5C}" destId="{01CEF92E-A470-490E-BCB4-48081C27FFAF}" srcOrd="0" destOrd="0" presId="urn:microsoft.com/office/officeart/2005/8/layout/hProcess11"/>
    <dgm:cxn modelId="{5304A3C6-4F15-4AC5-A812-E8E6C8D017E6}" type="presParOf" srcId="{A1A95E62-5025-44D7-A633-7F2BC59C3D5C}" destId="{DD5872F4-D95C-411F-BAF9-B02DDBDFA96A}" srcOrd="1" destOrd="0" presId="urn:microsoft.com/office/officeart/2005/8/layout/hProcess11"/>
    <dgm:cxn modelId="{F655393F-5822-4FBE-9152-84EF2571AC0E}" type="presParOf" srcId="{A1A95E62-5025-44D7-A633-7F2BC59C3D5C}" destId="{8D36158E-AF7F-49CF-9480-318AD27C1607}" srcOrd="2" destOrd="0" presId="urn:microsoft.com/office/officeart/2005/8/layout/hProcess11"/>
    <dgm:cxn modelId="{5E2B6FAE-711D-4710-B3D5-CD28C33523AA}" type="presParOf" srcId="{12EFD7FA-DC72-4F43-90BC-9D4DAD2BC882}" destId="{2932EAB1-4CF1-41CC-958F-9AA84A7848AF}" srcOrd="5" destOrd="0" presId="urn:microsoft.com/office/officeart/2005/8/layout/hProcess11"/>
    <dgm:cxn modelId="{154965C6-1F62-476C-97CA-3C8AC68FCF7F}" type="presParOf" srcId="{12EFD7FA-DC72-4F43-90BC-9D4DAD2BC882}" destId="{E11A5B40-7027-4F84-BA1D-136AE27969A4}" srcOrd="6" destOrd="0" presId="urn:microsoft.com/office/officeart/2005/8/layout/hProcess11"/>
    <dgm:cxn modelId="{5644C632-79D2-43CE-A97F-EB3510B7AE6D}" type="presParOf" srcId="{E11A5B40-7027-4F84-BA1D-136AE27969A4}" destId="{EDB9277F-A870-4ACB-A05C-5E2AC0D0DB53}" srcOrd="0" destOrd="0" presId="urn:microsoft.com/office/officeart/2005/8/layout/hProcess11"/>
    <dgm:cxn modelId="{90C3213E-D19D-4BC0-B4C9-6BB1F6C82AE0}" type="presParOf" srcId="{E11A5B40-7027-4F84-BA1D-136AE27969A4}" destId="{5189A8E9-757B-4540-A430-F24612BCBD3E}" srcOrd="1" destOrd="0" presId="urn:microsoft.com/office/officeart/2005/8/layout/hProcess11"/>
    <dgm:cxn modelId="{BA054772-248F-4107-A687-4BE587685B13}" type="presParOf" srcId="{E11A5B40-7027-4F84-BA1D-136AE27969A4}" destId="{39969D61-97BB-405E-A998-F79898605F38}"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F0EBE3-9B50-4857-81C8-289E730E560C}">
      <dsp:nvSpPr>
        <dsp:cNvPr id="0" name=""/>
        <dsp:cNvSpPr/>
      </dsp:nvSpPr>
      <dsp:spPr>
        <a:xfrm>
          <a:off x="0" y="1625600"/>
          <a:ext cx="8128000" cy="2167466"/>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B40EDB-61BF-45EF-9C38-6A400471EFA0}">
      <dsp:nvSpPr>
        <dsp:cNvPr id="0" name=""/>
        <dsp:cNvSpPr/>
      </dsp:nvSpPr>
      <dsp:spPr>
        <a:xfrm>
          <a:off x="1416" y="0"/>
          <a:ext cx="1707356" cy="21674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b" anchorCtr="0">
          <a:noAutofit/>
        </a:bodyPr>
        <a:lstStyle/>
        <a:p>
          <a:pPr marL="0" lvl="0" indent="0" algn="ctr" defTabSz="1066800">
            <a:lnSpc>
              <a:spcPct val="90000"/>
            </a:lnSpc>
            <a:spcBef>
              <a:spcPct val="0"/>
            </a:spcBef>
            <a:spcAft>
              <a:spcPct val="35000"/>
            </a:spcAft>
            <a:buNone/>
          </a:pPr>
          <a:r>
            <a:rPr lang="fi-FI" sz="2400" kern="1200"/>
            <a:t>(Trading)</a:t>
          </a:r>
          <a:endParaRPr lang="en-FI" sz="2400" kern="1200"/>
        </a:p>
      </dsp:txBody>
      <dsp:txXfrm>
        <a:off x="1416" y="0"/>
        <a:ext cx="1707356" cy="2167466"/>
      </dsp:txXfrm>
    </dsp:sp>
    <dsp:sp modelId="{D457FAA5-D577-4931-8408-51744E95B53A}">
      <dsp:nvSpPr>
        <dsp:cNvPr id="0" name=""/>
        <dsp:cNvSpPr/>
      </dsp:nvSpPr>
      <dsp:spPr>
        <a:xfrm>
          <a:off x="584160" y="2438400"/>
          <a:ext cx="541866" cy="541866"/>
        </a:xfrm>
        <a:prstGeom prst="ellipse">
          <a:avLst/>
        </a:prstGeom>
        <a:blipFill dpi="0" rotWithShape="0">
          <a:blip xmlns:r="http://schemas.openxmlformats.org/officeDocument/2006/relationships" r:embed="rId1">
            <a:alphaModFix amt="50000"/>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F48775-A4BB-4C7D-9EFE-29E95515FA4D}">
      <dsp:nvSpPr>
        <dsp:cNvPr id="0" name=""/>
        <dsp:cNvSpPr/>
      </dsp:nvSpPr>
      <dsp:spPr>
        <a:xfrm>
          <a:off x="1794140" y="3251200"/>
          <a:ext cx="1707356" cy="21674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t" anchorCtr="0">
          <a:noAutofit/>
        </a:bodyPr>
        <a:lstStyle/>
        <a:p>
          <a:pPr marL="0" lvl="0" indent="0" algn="ctr" defTabSz="1066800">
            <a:lnSpc>
              <a:spcPct val="90000"/>
            </a:lnSpc>
            <a:spcBef>
              <a:spcPct val="0"/>
            </a:spcBef>
            <a:spcAft>
              <a:spcPct val="35000"/>
            </a:spcAft>
            <a:buNone/>
          </a:pPr>
          <a:r>
            <a:rPr lang="fi-FI" sz="2400" kern="1200" err="1"/>
            <a:t>Issuance</a:t>
          </a:r>
          <a:endParaRPr lang="en-FI" sz="2400" kern="1200"/>
        </a:p>
      </dsp:txBody>
      <dsp:txXfrm>
        <a:off x="1794140" y="3251200"/>
        <a:ext cx="1707356" cy="2167466"/>
      </dsp:txXfrm>
    </dsp:sp>
    <dsp:sp modelId="{D5AF678C-A634-474E-BAB8-123F84D6BE84}">
      <dsp:nvSpPr>
        <dsp:cNvPr id="0" name=""/>
        <dsp:cNvSpPr/>
      </dsp:nvSpPr>
      <dsp:spPr>
        <a:xfrm>
          <a:off x="2376884" y="2438400"/>
          <a:ext cx="541866" cy="541866"/>
        </a:xfrm>
        <a:prstGeom prst="ellipse">
          <a:avLst/>
        </a:prstGeom>
        <a:blipFill rotWithShape="0">
          <a:blip xmlns:r="http://schemas.openxmlformats.org/officeDocument/2006/relationships" r:embed="rId2">
            <a:alphaModFix amt="50000"/>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CEF92E-A470-490E-BCB4-48081C27FFAF}">
      <dsp:nvSpPr>
        <dsp:cNvPr id="0" name=""/>
        <dsp:cNvSpPr/>
      </dsp:nvSpPr>
      <dsp:spPr>
        <a:xfrm>
          <a:off x="3586864" y="0"/>
          <a:ext cx="1707356" cy="21674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b" anchorCtr="0">
          <a:noAutofit/>
        </a:bodyPr>
        <a:lstStyle/>
        <a:p>
          <a:pPr marL="0" lvl="0" indent="0" algn="ctr" defTabSz="1066800">
            <a:lnSpc>
              <a:spcPct val="90000"/>
            </a:lnSpc>
            <a:spcBef>
              <a:spcPct val="0"/>
            </a:spcBef>
            <a:spcAft>
              <a:spcPct val="35000"/>
            </a:spcAft>
            <a:buNone/>
          </a:pPr>
          <a:r>
            <a:rPr lang="fi-FI" sz="2400" kern="1200" err="1"/>
            <a:t>Transfers</a:t>
          </a:r>
          <a:r>
            <a:rPr lang="fi-FI" sz="2400" kern="1200"/>
            <a:t> / </a:t>
          </a:r>
        </a:p>
        <a:p>
          <a:pPr marL="0" lvl="0" indent="0" algn="ctr" defTabSz="1066800">
            <a:lnSpc>
              <a:spcPct val="90000"/>
            </a:lnSpc>
            <a:spcBef>
              <a:spcPct val="0"/>
            </a:spcBef>
            <a:spcAft>
              <a:spcPct val="35000"/>
            </a:spcAft>
            <a:buNone/>
          </a:pPr>
          <a:r>
            <a:rPr lang="fi-FI" sz="2400" kern="1200"/>
            <a:t>Trading</a:t>
          </a:r>
          <a:endParaRPr lang="en-FI" sz="2400" kern="1200"/>
        </a:p>
      </dsp:txBody>
      <dsp:txXfrm>
        <a:off x="3586864" y="0"/>
        <a:ext cx="1707356" cy="2167466"/>
      </dsp:txXfrm>
    </dsp:sp>
    <dsp:sp modelId="{DD5872F4-D95C-411F-BAF9-B02DDBDFA96A}">
      <dsp:nvSpPr>
        <dsp:cNvPr id="0" name=""/>
        <dsp:cNvSpPr/>
      </dsp:nvSpPr>
      <dsp:spPr>
        <a:xfrm>
          <a:off x="4169609" y="2438400"/>
          <a:ext cx="541866" cy="541866"/>
        </a:xfrm>
        <a:prstGeom prst="ellipse">
          <a:avLst/>
        </a:prstGeom>
        <a:blipFill rotWithShape="0">
          <a:blip xmlns:r="http://schemas.openxmlformats.org/officeDocument/2006/relationships" r:embed="rId3">
            <a:alphaModFix amt="50000"/>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B9277F-A870-4ACB-A05C-5E2AC0D0DB53}">
      <dsp:nvSpPr>
        <dsp:cNvPr id="0" name=""/>
        <dsp:cNvSpPr/>
      </dsp:nvSpPr>
      <dsp:spPr>
        <a:xfrm>
          <a:off x="5263846" y="3199338"/>
          <a:ext cx="1934195" cy="22193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170688" rIns="170688" bIns="170688" numCol="1" spcCol="1270" anchor="t" anchorCtr="0">
          <a:noAutofit/>
        </a:bodyPr>
        <a:lstStyle/>
        <a:p>
          <a:pPr marL="0" lvl="0" indent="0" algn="ctr" defTabSz="1066800">
            <a:lnSpc>
              <a:spcPct val="90000"/>
            </a:lnSpc>
            <a:spcBef>
              <a:spcPct val="0"/>
            </a:spcBef>
            <a:spcAft>
              <a:spcPct val="35000"/>
            </a:spcAft>
            <a:buNone/>
          </a:pPr>
          <a:r>
            <a:rPr lang="fi-FI" sz="2400" kern="1200" err="1"/>
            <a:t>Cancellation</a:t>
          </a:r>
          <a:r>
            <a:rPr lang="fi-FI" sz="2400" kern="1200"/>
            <a:t> </a:t>
          </a:r>
          <a:r>
            <a:rPr lang="fi-FI" sz="2400" kern="1200" err="1"/>
            <a:t>or</a:t>
          </a:r>
          <a:r>
            <a:rPr lang="fi-FI" sz="2400" kern="1200"/>
            <a:t> </a:t>
          </a:r>
        </a:p>
        <a:p>
          <a:pPr marL="0" lvl="0" indent="0" algn="ctr" defTabSz="1066800">
            <a:lnSpc>
              <a:spcPct val="90000"/>
            </a:lnSpc>
            <a:spcBef>
              <a:spcPct val="0"/>
            </a:spcBef>
            <a:spcAft>
              <a:spcPct val="35000"/>
            </a:spcAft>
            <a:buNone/>
          </a:pPr>
          <a:r>
            <a:rPr lang="fi-FI" sz="2400" kern="1200" err="1"/>
            <a:t>Expiry</a:t>
          </a:r>
          <a:endParaRPr lang="en-FI" sz="2400" kern="1200"/>
        </a:p>
      </dsp:txBody>
      <dsp:txXfrm>
        <a:off x="5263846" y="3199338"/>
        <a:ext cx="1934195" cy="2219334"/>
      </dsp:txXfrm>
    </dsp:sp>
    <dsp:sp modelId="{5189A8E9-757B-4540-A430-F24612BCBD3E}">
      <dsp:nvSpPr>
        <dsp:cNvPr id="0" name=""/>
        <dsp:cNvSpPr/>
      </dsp:nvSpPr>
      <dsp:spPr>
        <a:xfrm>
          <a:off x="6075752" y="2425433"/>
          <a:ext cx="541866" cy="541866"/>
        </a:xfrm>
        <a:prstGeom prst="ellipse">
          <a:avLst/>
        </a:prstGeom>
        <a:blipFill rotWithShape="0">
          <a:blip xmlns:r="http://schemas.openxmlformats.org/officeDocument/2006/relationships" r:embed="rId4">
            <a:alphaModFix amt="50000"/>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cdr:x>
      <cdr:y>0.03069</cdr:y>
    </cdr:from>
    <cdr:to>
      <cdr:x>0.05545</cdr:x>
      <cdr:y>0.10997</cdr:y>
    </cdr:to>
    <cdr:sp macro="" textlink="">
      <cdr:nvSpPr>
        <cdr:cNvPr id="2" name="TextBox 1">
          <a:extLst xmlns:a="http://schemas.openxmlformats.org/drawingml/2006/main">
            <a:ext uri="{FF2B5EF4-FFF2-40B4-BE49-F238E27FC236}">
              <a16:creationId xmlns:a16="http://schemas.microsoft.com/office/drawing/2014/main" id="{105D51CE-E82E-D61B-BFA7-FBC4075A7CA8}"/>
            </a:ext>
          </a:extLst>
        </cdr:cNvPr>
        <cdr:cNvSpPr txBox="1"/>
      </cdr:nvSpPr>
      <cdr:spPr>
        <a:xfrm xmlns:a="http://schemas.openxmlformats.org/drawingml/2006/main">
          <a:off x="0" y="174171"/>
          <a:ext cx="607566" cy="44994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fi-FI" sz="1600" dirty="0" err="1"/>
            <a:t>TWh</a:t>
          </a:r>
          <a:endParaRPr lang="en-FI" sz="16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04D1B4-8C55-8749-80B6-457D2C8B54D6}" type="datetimeFigureOut">
              <a:rPr lang="nb-NO" smtClean="0"/>
              <a:t>31.10.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847843-BD54-8F40-848A-64886B8FA44C}" type="slidenum">
              <a:rPr lang="nb-NO" smtClean="0"/>
              <a:t>‹#›</a:t>
            </a:fld>
            <a:endParaRPr lang="nb-NO"/>
          </a:p>
        </p:txBody>
      </p:sp>
    </p:spTree>
    <p:extLst>
      <p:ext uri="{BB962C8B-B14F-4D97-AF65-F5344CB8AC3E}">
        <p14:creationId xmlns:p14="http://schemas.microsoft.com/office/powerpoint/2010/main" val="16258294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ecohz.com/standards-and-initiatives/greenhouse-gas-protocol-scope2-guidance"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err="1"/>
              <a:t>Pre</a:t>
            </a:r>
            <a:r>
              <a:rPr lang="de-DE"/>
              <a:t>-Austrian Energy Day: </a:t>
            </a:r>
            <a:r>
              <a:rPr lang="de-DE" err="1"/>
              <a:t>How</a:t>
            </a:r>
            <a:r>
              <a:rPr lang="de-DE"/>
              <a:t> </a:t>
            </a:r>
            <a:r>
              <a:rPr lang="de-DE" err="1"/>
              <a:t>Corporates</a:t>
            </a:r>
            <a:r>
              <a:rPr lang="de-DE"/>
              <a:t> </a:t>
            </a:r>
            <a:r>
              <a:rPr lang="de-DE" err="1"/>
              <a:t>can</a:t>
            </a:r>
            <a:r>
              <a:rPr lang="de-DE"/>
              <a:t> </a:t>
            </a:r>
            <a:r>
              <a:rPr lang="de-DE" err="1"/>
              <a:t>go</a:t>
            </a:r>
            <a:r>
              <a:rPr lang="de-DE"/>
              <a:t> </a:t>
            </a:r>
            <a:r>
              <a:rPr lang="de-DE" err="1"/>
              <a:t>green</a:t>
            </a:r>
            <a:r>
              <a:rPr lang="de-DE"/>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inherit"/>
              </a:rPr>
              <a:t>10:40 – 11:30 </a:t>
            </a:r>
            <a:endParaRPr lang="en-US" b="0" i="0">
              <a:solidFill>
                <a:srgbClr val="000000"/>
              </a:solidFill>
              <a:effectLst/>
              <a:latin typeface="Segoe UI" panose="020B0502040204020203" pitchFamily="34" charset="0"/>
            </a:endParaRPr>
          </a:p>
          <a:p>
            <a:endParaRPr lang="nb-NO"/>
          </a:p>
        </p:txBody>
      </p:sp>
      <p:sp>
        <p:nvSpPr>
          <p:cNvPr id="4" name="Plassholder for lysbildenummer 3"/>
          <p:cNvSpPr>
            <a:spLocks noGrp="1"/>
          </p:cNvSpPr>
          <p:nvPr>
            <p:ph type="sldNum" sz="quarter" idx="5"/>
          </p:nvPr>
        </p:nvSpPr>
        <p:spPr/>
        <p:txBody>
          <a:bodyPr/>
          <a:lstStyle/>
          <a:p>
            <a:fld id="{DB847843-BD54-8F40-848A-64886B8FA44C}" type="slidenum">
              <a:rPr lang="nb-NO" smtClean="0"/>
              <a:t>1</a:t>
            </a:fld>
            <a:endParaRPr lang="nb-NO"/>
          </a:p>
        </p:txBody>
      </p:sp>
    </p:spTree>
    <p:extLst>
      <p:ext uri="{BB962C8B-B14F-4D97-AF65-F5344CB8AC3E}">
        <p14:creationId xmlns:p14="http://schemas.microsoft.com/office/powerpoint/2010/main" val="41312583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a:t>Market </a:t>
            </a:r>
            <a:r>
              <a:rPr lang="fi-FI" err="1"/>
              <a:t>has</a:t>
            </a:r>
            <a:r>
              <a:rPr lang="fi-FI"/>
              <a:t> </a:t>
            </a:r>
            <a:r>
              <a:rPr lang="fi-FI" err="1"/>
              <a:t>moved</a:t>
            </a:r>
            <a:r>
              <a:rPr lang="fi-FI"/>
              <a:t> </a:t>
            </a:r>
            <a:r>
              <a:rPr lang="fi-FI" err="1"/>
              <a:t>from</a:t>
            </a:r>
            <a:r>
              <a:rPr lang="fi-FI"/>
              <a:t> </a:t>
            </a:r>
            <a:r>
              <a:rPr lang="fi-FI" err="1"/>
              <a:t>backwardation</a:t>
            </a:r>
            <a:r>
              <a:rPr lang="fi-FI"/>
              <a:t> to </a:t>
            </a:r>
            <a:r>
              <a:rPr lang="fi-FI" err="1"/>
              <a:t>contango</a:t>
            </a:r>
            <a:r>
              <a:rPr lang="fi-FI"/>
              <a:t> in </a:t>
            </a:r>
            <a:r>
              <a:rPr lang="fi-FI" err="1"/>
              <a:t>the</a:t>
            </a:r>
            <a:r>
              <a:rPr lang="fi-FI"/>
              <a:t> </a:t>
            </a:r>
            <a:r>
              <a:rPr lang="fi-FI" err="1"/>
              <a:t>past</a:t>
            </a:r>
            <a:r>
              <a:rPr lang="fi-FI"/>
              <a:t> 1,5 </a:t>
            </a:r>
            <a:r>
              <a:rPr lang="fi-FI" err="1"/>
              <a:t>years</a:t>
            </a:r>
            <a:r>
              <a:rPr lang="fi-FI"/>
              <a:t> and </a:t>
            </a:r>
            <a:r>
              <a:rPr lang="fi-FI" err="1"/>
              <a:t>the</a:t>
            </a:r>
            <a:r>
              <a:rPr lang="fi-FI"/>
              <a:t> </a:t>
            </a:r>
            <a:r>
              <a:rPr lang="fi-FI" err="1"/>
              <a:t>prices</a:t>
            </a:r>
            <a:r>
              <a:rPr lang="fi-FI"/>
              <a:t> </a:t>
            </a:r>
            <a:r>
              <a:rPr lang="fi-FI" err="1"/>
              <a:t>have</a:t>
            </a:r>
            <a:r>
              <a:rPr lang="fi-FI"/>
              <a:t> </a:t>
            </a:r>
            <a:r>
              <a:rPr lang="fi-FI" err="1"/>
              <a:t>fallen</a:t>
            </a:r>
            <a:r>
              <a:rPr lang="fi-FI"/>
              <a:t>. </a:t>
            </a:r>
          </a:p>
          <a:p>
            <a:endParaRPr lang="fi-FI"/>
          </a:p>
          <a:p>
            <a:r>
              <a:rPr lang="fi-FI" err="1"/>
              <a:t>The</a:t>
            </a:r>
            <a:r>
              <a:rPr lang="fi-FI"/>
              <a:t> </a:t>
            </a:r>
            <a:r>
              <a:rPr lang="fi-FI" err="1"/>
              <a:t>shift</a:t>
            </a:r>
            <a:r>
              <a:rPr lang="fi-FI"/>
              <a:t> </a:t>
            </a:r>
            <a:r>
              <a:rPr lang="fi-FI" err="1"/>
              <a:t>has</a:t>
            </a:r>
            <a:r>
              <a:rPr lang="fi-FI"/>
              <a:t> </a:t>
            </a:r>
            <a:r>
              <a:rPr lang="fi-FI" err="1"/>
              <a:t>been</a:t>
            </a:r>
            <a:r>
              <a:rPr lang="fi-FI"/>
              <a:t> </a:t>
            </a:r>
            <a:r>
              <a:rPr lang="fi-FI" err="1"/>
              <a:t>driven</a:t>
            </a:r>
            <a:r>
              <a:rPr lang="fi-FI"/>
              <a:t> </a:t>
            </a:r>
            <a:r>
              <a:rPr lang="fi-FI" err="1"/>
              <a:t>by</a:t>
            </a:r>
            <a:r>
              <a:rPr lang="fi-FI"/>
              <a:t> </a:t>
            </a:r>
            <a:r>
              <a:rPr lang="fi-FI" err="1"/>
              <a:t>weather</a:t>
            </a:r>
            <a:r>
              <a:rPr lang="fi-FI"/>
              <a:t> </a:t>
            </a:r>
            <a:r>
              <a:rPr lang="fi-FI" err="1"/>
              <a:t>conditions</a:t>
            </a:r>
            <a:r>
              <a:rPr lang="fi-FI"/>
              <a:t> </a:t>
            </a:r>
            <a:r>
              <a:rPr lang="fi-FI" err="1"/>
              <a:t>suitable</a:t>
            </a:r>
            <a:r>
              <a:rPr lang="fi-FI"/>
              <a:t> for </a:t>
            </a:r>
            <a:r>
              <a:rPr lang="fi-FI" err="1"/>
              <a:t>renewables</a:t>
            </a:r>
            <a:r>
              <a:rPr lang="fi-FI"/>
              <a:t> </a:t>
            </a:r>
            <a:r>
              <a:rPr lang="fi-FI" err="1"/>
              <a:t>production</a:t>
            </a:r>
            <a:r>
              <a:rPr lang="fi-FI"/>
              <a:t>, </a:t>
            </a:r>
            <a:r>
              <a:rPr lang="fi-FI" err="1"/>
              <a:t>oversupply</a:t>
            </a:r>
            <a:r>
              <a:rPr lang="fi-FI"/>
              <a:t> on </a:t>
            </a:r>
            <a:r>
              <a:rPr lang="fi-FI" err="1"/>
              <a:t>current</a:t>
            </a:r>
            <a:r>
              <a:rPr lang="fi-FI"/>
              <a:t> </a:t>
            </a:r>
            <a:r>
              <a:rPr lang="fi-FI" err="1"/>
              <a:t>vintages</a:t>
            </a:r>
            <a:r>
              <a:rPr lang="fi-FI"/>
              <a:t> and </a:t>
            </a:r>
            <a:r>
              <a:rPr lang="fi-FI" err="1"/>
              <a:t>the</a:t>
            </a:r>
            <a:r>
              <a:rPr lang="fi-FI"/>
              <a:t> </a:t>
            </a:r>
            <a:r>
              <a:rPr lang="fi-FI" err="1"/>
              <a:t>regulatory</a:t>
            </a:r>
            <a:r>
              <a:rPr lang="fi-FI"/>
              <a:t> </a:t>
            </a:r>
            <a:r>
              <a:rPr lang="fi-FI" err="1"/>
              <a:t>developments</a:t>
            </a:r>
            <a:r>
              <a:rPr lang="fi-FI"/>
              <a:t>. </a:t>
            </a:r>
          </a:p>
          <a:p>
            <a:endParaRPr lang="fi-FI"/>
          </a:p>
          <a:p>
            <a:r>
              <a:rPr lang="fi-FI" err="1"/>
              <a:t>We</a:t>
            </a:r>
            <a:r>
              <a:rPr lang="fi-FI"/>
              <a:t> </a:t>
            </a:r>
            <a:r>
              <a:rPr lang="fi-FI" err="1"/>
              <a:t>can</a:t>
            </a:r>
            <a:r>
              <a:rPr lang="fi-FI"/>
              <a:t> </a:t>
            </a:r>
            <a:r>
              <a:rPr lang="fi-FI" err="1"/>
              <a:t>see</a:t>
            </a:r>
            <a:r>
              <a:rPr lang="fi-FI"/>
              <a:t> </a:t>
            </a:r>
            <a:r>
              <a:rPr lang="fi-FI" err="1"/>
              <a:t>the</a:t>
            </a:r>
            <a:r>
              <a:rPr lang="fi-FI"/>
              <a:t> market is </a:t>
            </a:r>
            <a:r>
              <a:rPr lang="fi-FI" err="1"/>
              <a:t>expecting</a:t>
            </a:r>
            <a:r>
              <a:rPr lang="fi-FI"/>
              <a:t> </a:t>
            </a:r>
            <a:r>
              <a:rPr lang="fi-FI" err="1"/>
              <a:t>prices</a:t>
            </a:r>
            <a:r>
              <a:rPr lang="fi-FI"/>
              <a:t> to </a:t>
            </a:r>
            <a:r>
              <a:rPr lang="fi-FI" err="1"/>
              <a:t>rise</a:t>
            </a:r>
            <a:r>
              <a:rPr lang="fi-FI"/>
              <a:t> in </a:t>
            </a:r>
            <a:r>
              <a:rPr lang="fi-FI" err="1"/>
              <a:t>the</a:t>
            </a:r>
            <a:r>
              <a:rPr lang="fi-FI"/>
              <a:t> </a:t>
            </a:r>
            <a:r>
              <a:rPr lang="fi-FI" err="1"/>
              <a:t>coming</a:t>
            </a:r>
            <a:r>
              <a:rPr lang="fi-FI"/>
              <a:t> </a:t>
            </a:r>
            <a:r>
              <a:rPr lang="fi-FI" err="1"/>
              <a:t>years</a:t>
            </a:r>
            <a:r>
              <a:rPr lang="fi-FI"/>
              <a:t> – </a:t>
            </a:r>
            <a:r>
              <a:rPr lang="fi-FI" err="1"/>
              <a:t>this</a:t>
            </a:r>
            <a:r>
              <a:rPr lang="fi-FI"/>
              <a:t> </a:t>
            </a:r>
            <a:r>
              <a:rPr lang="fi-FI" err="1"/>
              <a:t>could</a:t>
            </a:r>
            <a:r>
              <a:rPr lang="fi-FI"/>
              <a:t> </a:t>
            </a:r>
            <a:r>
              <a:rPr lang="fi-FI" err="1"/>
              <a:t>be</a:t>
            </a:r>
            <a:r>
              <a:rPr lang="fi-FI"/>
              <a:t> </a:t>
            </a:r>
            <a:r>
              <a:rPr lang="fi-FI" err="1"/>
              <a:t>driven</a:t>
            </a:r>
            <a:r>
              <a:rPr lang="fi-FI"/>
              <a:t> </a:t>
            </a:r>
            <a:r>
              <a:rPr lang="fi-FI" err="1"/>
              <a:t>by</a:t>
            </a:r>
            <a:r>
              <a:rPr lang="fi-FI"/>
              <a:t> </a:t>
            </a:r>
            <a:r>
              <a:rPr lang="fi-FI" err="1"/>
              <a:t>increasing</a:t>
            </a:r>
            <a:r>
              <a:rPr lang="fi-FI"/>
              <a:t> </a:t>
            </a:r>
            <a:r>
              <a:rPr lang="fi-FI" err="1"/>
              <a:t>demand</a:t>
            </a:r>
            <a:r>
              <a:rPr lang="fi-FI"/>
              <a:t> </a:t>
            </a:r>
            <a:r>
              <a:rPr lang="fi-FI" err="1"/>
              <a:t>fueled</a:t>
            </a:r>
            <a:r>
              <a:rPr lang="fi-FI"/>
              <a:t> </a:t>
            </a:r>
            <a:r>
              <a:rPr lang="fi-FI" err="1"/>
              <a:t>by</a:t>
            </a:r>
            <a:r>
              <a:rPr lang="fi-FI"/>
              <a:t> </a:t>
            </a:r>
            <a:r>
              <a:rPr lang="fi-FI" err="1"/>
              <a:t>green</a:t>
            </a:r>
            <a:r>
              <a:rPr lang="fi-FI"/>
              <a:t> </a:t>
            </a:r>
            <a:r>
              <a:rPr lang="fi-FI" err="1"/>
              <a:t>claims</a:t>
            </a:r>
            <a:r>
              <a:rPr lang="fi-FI"/>
              <a:t> </a:t>
            </a:r>
            <a:r>
              <a:rPr lang="fi-FI" err="1"/>
              <a:t>directive</a:t>
            </a:r>
            <a:r>
              <a:rPr lang="fi-FI"/>
              <a:t> and CSRD. </a:t>
            </a:r>
            <a:r>
              <a:rPr lang="fi-FI" err="1"/>
              <a:t>The</a:t>
            </a:r>
            <a:r>
              <a:rPr lang="fi-FI"/>
              <a:t> </a:t>
            </a:r>
            <a:r>
              <a:rPr lang="fi-FI" err="1"/>
              <a:t>prices</a:t>
            </a:r>
            <a:r>
              <a:rPr lang="fi-FI"/>
              <a:t> </a:t>
            </a:r>
            <a:r>
              <a:rPr lang="fi-FI" err="1"/>
              <a:t>could</a:t>
            </a:r>
            <a:r>
              <a:rPr lang="fi-FI"/>
              <a:t> </a:t>
            </a:r>
            <a:r>
              <a:rPr lang="fi-FI" err="1"/>
              <a:t>peak</a:t>
            </a:r>
            <a:r>
              <a:rPr lang="fi-FI"/>
              <a:t> </a:t>
            </a:r>
            <a:r>
              <a:rPr lang="fi-FI" err="1"/>
              <a:t>even</a:t>
            </a:r>
            <a:r>
              <a:rPr lang="fi-FI"/>
              <a:t> </a:t>
            </a:r>
            <a:r>
              <a:rPr lang="fi-FI" err="1"/>
              <a:t>more</a:t>
            </a:r>
            <a:r>
              <a:rPr lang="fi-FI"/>
              <a:t> </a:t>
            </a:r>
            <a:r>
              <a:rPr lang="fi-FI" err="1"/>
              <a:t>dramatically</a:t>
            </a:r>
            <a:r>
              <a:rPr lang="fi-FI"/>
              <a:t> in a case of for </a:t>
            </a:r>
            <a:r>
              <a:rPr lang="fi-FI" err="1"/>
              <a:t>instance</a:t>
            </a:r>
            <a:r>
              <a:rPr lang="fi-FI"/>
              <a:t> a </a:t>
            </a:r>
            <a:r>
              <a:rPr lang="fi-FI" err="1"/>
              <a:t>drought</a:t>
            </a:r>
            <a:r>
              <a:rPr lang="fi-FI"/>
              <a:t>, as </a:t>
            </a:r>
            <a:r>
              <a:rPr lang="fi-FI" err="1"/>
              <a:t>they</a:t>
            </a:r>
            <a:r>
              <a:rPr lang="fi-FI"/>
              <a:t> </a:t>
            </a:r>
            <a:r>
              <a:rPr lang="fi-FI" err="1"/>
              <a:t>did</a:t>
            </a:r>
            <a:r>
              <a:rPr lang="fi-FI"/>
              <a:t> in 2022 </a:t>
            </a:r>
            <a:r>
              <a:rPr lang="fi-FI" err="1"/>
              <a:t>when</a:t>
            </a:r>
            <a:r>
              <a:rPr lang="fi-FI"/>
              <a:t> </a:t>
            </a:r>
            <a:r>
              <a:rPr lang="fi-FI" err="1"/>
              <a:t>they</a:t>
            </a:r>
            <a:r>
              <a:rPr lang="fi-FI"/>
              <a:t> </a:t>
            </a:r>
            <a:r>
              <a:rPr lang="fi-FI" err="1"/>
              <a:t>went</a:t>
            </a:r>
            <a:r>
              <a:rPr lang="fi-FI"/>
              <a:t> </a:t>
            </a:r>
            <a:r>
              <a:rPr lang="fi-FI" err="1"/>
              <a:t>from</a:t>
            </a:r>
            <a:r>
              <a:rPr lang="fi-FI"/>
              <a:t> 1,5 </a:t>
            </a:r>
            <a:r>
              <a:rPr lang="fi-FI" err="1"/>
              <a:t>euros</a:t>
            </a:r>
            <a:r>
              <a:rPr lang="fi-FI"/>
              <a:t> to 10 </a:t>
            </a:r>
            <a:r>
              <a:rPr lang="fi-FI" err="1"/>
              <a:t>euros</a:t>
            </a:r>
            <a:r>
              <a:rPr lang="fi-FI"/>
              <a:t> in 8 </a:t>
            </a:r>
            <a:r>
              <a:rPr lang="fi-FI" err="1"/>
              <a:t>months</a:t>
            </a:r>
            <a:r>
              <a:rPr lang="fi-FI"/>
              <a:t>. </a:t>
            </a:r>
            <a:r>
              <a:rPr lang="fi-FI" err="1"/>
              <a:t>Additionally</a:t>
            </a:r>
            <a:r>
              <a:rPr lang="fi-FI"/>
              <a:t>, </a:t>
            </a:r>
            <a:r>
              <a:rPr lang="fi-FI" err="1"/>
              <a:t>looking</a:t>
            </a:r>
            <a:r>
              <a:rPr lang="fi-FI"/>
              <a:t> at </a:t>
            </a:r>
            <a:r>
              <a:rPr lang="fi-FI" err="1"/>
              <a:t>the</a:t>
            </a:r>
            <a:r>
              <a:rPr lang="fi-FI"/>
              <a:t> long </a:t>
            </a:r>
            <a:r>
              <a:rPr lang="fi-FI" err="1"/>
              <a:t>term</a:t>
            </a:r>
            <a:r>
              <a:rPr lang="fi-FI"/>
              <a:t> </a:t>
            </a:r>
            <a:r>
              <a:rPr lang="fi-FI" err="1"/>
              <a:t>trends</a:t>
            </a:r>
            <a:r>
              <a:rPr lang="fi-FI"/>
              <a:t>, </a:t>
            </a:r>
            <a:r>
              <a:rPr lang="fi-FI" err="1"/>
              <a:t>we</a:t>
            </a:r>
            <a:r>
              <a:rPr lang="fi-FI"/>
              <a:t> </a:t>
            </a:r>
            <a:r>
              <a:rPr lang="fi-FI" err="1"/>
              <a:t>can</a:t>
            </a:r>
            <a:r>
              <a:rPr lang="fi-FI"/>
              <a:t> </a:t>
            </a:r>
            <a:r>
              <a:rPr lang="fi-FI" err="1"/>
              <a:t>only</a:t>
            </a:r>
            <a:r>
              <a:rPr lang="fi-FI"/>
              <a:t> </a:t>
            </a:r>
            <a:r>
              <a:rPr lang="fi-FI" err="1"/>
              <a:t>expect</a:t>
            </a:r>
            <a:r>
              <a:rPr lang="fi-FI"/>
              <a:t> </a:t>
            </a:r>
            <a:r>
              <a:rPr lang="fi-FI" err="1"/>
              <a:t>the</a:t>
            </a:r>
            <a:r>
              <a:rPr lang="fi-FI"/>
              <a:t> </a:t>
            </a:r>
            <a:r>
              <a:rPr lang="fi-FI" err="1"/>
              <a:t>demand</a:t>
            </a:r>
            <a:r>
              <a:rPr lang="fi-FI"/>
              <a:t> to </a:t>
            </a:r>
            <a:r>
              <a:rPr lang="fi-FI" err="1"/>
              <a:t>increase</a:t>
            </a:r>
            <a:r>
              <a:rPr lang="fi-FI"/>
              <a:t>. </a:t>
            </a:r>
            <a:r>
              <a:rPr lang="fi-FI" err="1"/>
              <a:t>The</a:t>
            </a:r>
            <a:r>
              <a:rPr lang="fi-FI"/>
              <a:t> </a:t>
            </a:r>
            <a:r>
              <a:rPr lang="fi-FI" err="1"/>
              <a:t>reporting</a:t>
            </a:r>
            <a:r>
              <a:rPr lang="fi-FI"/>
              <a:t> </a:t>
            </a:r>
            <a:r>
              <a:rPr lang="fi-FI" err="1"/>
              <a:t>requirements</a:t>
            </a:r>
            <a:r>
              <a:rPr lang="fi-FI"/>
              <a:t> </a:t>
            </a:r>
            <a:r>
              <a:rPr lang="fi-FI" err="1"/>
              <a:t>are</a:t>
            </a:r>
            <a:r>
              <a:rPr lang="fi-FI"/>
              <a:t> </a:t>
            </a:r>
            <a:r>
              <a:rPr lang="fi-FI" err="1"/>
              <a:t>calling</a:t>
            </a:r>
            <a:r>
              <a:rPr lang="fi-FI"/>
              <a:t> for </a:t>
            </a:r>
            <a:r>
              <a:rPr lang="fi-FI" err="1"/>
              <a:t>more</a:t>
            </a:r>
            <a:r>
              <a:rPr lang="fi-FI"/>
              <a:t> </a:t>
            </a:r>
            <a:r>
              <a:rPr lang="fi-FI" err="1"/>
              <a:t>transparency</a:t>
            </a:r>
            <a:r>
              <a:rPr lang="fi-FI"/>
              <a:t> and </a:t>
            </a:r>
            <a:r>
              <a:rPr lang="fi-FI" err="1"/>
              <a:t>taxonomy</a:t>
            </a:r>
            <a:r>
              <a:rPr lang="fi-FI"/>
              <a:t> is </a:t>
            </a:r>
            <a:r>
              <a:rPr lang="fi-FI" err="1"/>
              <a:t>reframing</a:t>
            </a:r>
            <a:r>
              <a:rPr lang="fi-FI"/>
              <a:t> </a:t>
            </a:r>
            <a:r>
              <a:rPr lang="fi-FI" err="1"/>
              <a:t>this</a:t>
            </a:r>
            <a:r>
              <a:rPr lang="fi-FI"/>
              <a:t> </a:t>
            </a:r>
            <a:r>
              <a:rPr lang="fi-FI" err="1"/>
              <a:t>transparency</a:t>
            </a:r>
            <a:r>
              <a:rPr lang="fi-FI"/>
              <a:t> to </a:t>
            </a:r>
            <a:r>
              <a:rPr lang="fi-FI" err="1"/>
              <a:t>something</a:t>
            </a:r>
            <a:r>
              <a:rPr lang="fi-FI"/>
              <a:t> </a:t>
            </a:r>
            <a:r>
              <a:rPr lang="fi-FI" err="1"/>
              <a:t>beyond</a:t>
            </a:r>
            <a:r>
              <a:rPr lang="fi-FI"/>
              <a:t> a PR </a:t>
            </a:r>
            <a:r>
              <a:rPr lang="fi-FI" err="1"/>
              <a:t>matter</a:t>
            </a:r>
            <a:r>
              <a:rPr lang="fi-FI"/>
              <a:t>. </a:t>
            </a:r>
            <a:r>
              <a:rPr lang="fi-FI" err="1"/>
              <a:t>This</a:t>
            </a:r>
            <a:r>
              <a:rPr lang="fi-FI"/>
              <a:t> </a:t>
            </a:r>
            <a:r>
              <a:rPr lang="fi-FI" err="1"/>
              <a:t>means</a:t>
            </a:r>
            <a:r>
              <a:rPr lang="fi-FI"/>
              <a:t> </a:t>
            </a:r>
            <a:r>
              <a:rPr lang="fi-FI" err="1"/>
              <a:t>that</a:t>
            </a:r>
            <a:r>
              <a:rPr lang="fi-FI"/>
              <a:t> </a:t>
            </a:r>
            <a:r>
              <a:rPr lang="fi-FI" err="1"/>
              <a:t>the</a:t>
            </a:r>
            <a:r>
              <a:rPr lang="fi-FI"/>
              <a:t> </a:t>
            </a:r>
            <a:r>
              <a:rPr lang="fi-FI" err="1"/>
              <a:t>increasing</a:t>
            </a:r>
            <a:r>
              <a:rPr lang="fi-FI"/>
              <a:t> </a:t>
            </a:r>
            <a:r>
              <a:rPr lang="fi-FI" err="1"/>
              <a:t>electrification</a:t>
            </a:r>
            <a:r>
              <a:rPr lang="fi-FI"/>
              <a:t> of </a:t>
            </a:r>
            <a:r>
              <a:rPr lang="fi-FI" err="1"/>
              <a:t>the</a:t>
            </a:r>
            <a:r>
              <a:rPr lang="fi-FI"/>
              <a:t> </a:t>
            </a:r>
            <a:r>
              <a:rPr lang="fi-FI" err="1"/>
              <a:t>society</a:t>
            </a:r>
            <a:r>
              <a:rPr lang="fi-FI"/>
              <a:t> and </a:t>
            </a:r>
            <a:r>
              <a:rPr lang="fi-FI" err="1"/>
              <a:t>new</a:t>
            </a:r>
            <a:r>
              <a:rPr lang="fi-FI"/>
              <a:t> </a:t>
            </a:r>
            <a:r>
              <a:rPr lang="fi-FI" err="1"/>
              <a:t>technologies</a:t>
            </a:r>
            <a:r>
              <a:rPr lang="fi-FI"/>
              <a:t> </a:t>
            </a:r>
            <a:r>
              <a:rPr lang="fi-FI" err="1"/>
              <a:t>like</a:t>
            </a:r>
            <a:r>
              <a:rPr lang="fi-FI"/>
              <a:t> </a:t>
            </a:r>
            <a:r>
              <a:rPr lang="fi-FI" err="1"/>
              <a:t>electrolyzers</a:t>
            </a:r>
            <a:r>
              <a:rPr lang="fi-FI"/>
              <a:t> (</a:t>
            </a:r>
            <a:r>
              <a:rPr lang="fi-FI" err="1"/>
              <a:t>estimated</a:t>
            </a:r>
            <a:r>
              <a:rPr lang="fi-FI"/>
              <a:t> </a:t>
            </a:r>
            <a:r>
              <a:rPr lang="fi-FI" err="1"/>
              <a:t>new</a:t>
            </a:r>
            <a:r>
              <a:rPr lang="fi-FI"/>
              <a:t> </a:t>
            </a:r>
            <a:r>
              <a:rPr lang="fi-FI" err="1"/>
              <a:t>demand</a:t>
            </a:r>
            <a:r>
              <a:rPr lang="fi-FI"/>
              <a:t> </a:t>
            </a:r>
            <a:r>
              <a:rPr lang="fi-FI" err="1"/>
              <a:t>over</a:t>
            </a:r>
            <a:r>
              <a:rPr lang="fi-FI"/>
              <a:t> 1000 </a:t>
            </a:r>
            <a:r>
              <a:rPr lang="fi-FI" err="1"/>
              <a:t>TWh</a:t>
            </a:r>
            <a:r>
              <a:rPr lang="fi-FI"/>
              <a:t> </a:t>
            </a:r>
            <a:r>
              <a:rPr lang="fi-FI" err="1"/>
              <a:t>by</a:t>
            </a:r>
            <a:r>
              <a:rPr lang="fi-FI"/>
              <a:t> </a:t>
            </a:r>
            <a:r>
              <a:rPr lang="fi-FI" err="1"/>
              <a:t>the</a:t>
            </a:r>
            <a:r>
              <a:rPr lang="fi-FI"/>
              <a:t> </a:t>
            </a:r>
            <a:r>
              <a:rPr lang="fi-FI" err="1"/>
              <a:t>end</a:t>
            </a:r>
            <a:r>
              <a:rPr lang="fi-FI"/>
              <a:t> of 2040) </a:t>
            </a:r>
            <a:r>
              <a:rPr lang="fi-FI" err="1"/>
              <a:t>will</a:t>
            </a:r>
            <a:r>
              <a:rPr lang="fi-FI"/>
              <a:t> </a:t>
            </a:r>
            <a:r>
              <a:rPr lang="fi-FI" err="1"/>
              <a:t>directly</a:t>
            </a:r>
            <a:r>
              <a:rPr lang="fi-FI"/>
              <a:t> </a:t>
            </a:r>
            <a:r>
              <a:rPr lang="fi-FI" err="1"/>
              <a:t>reflect</a:t>
            </a:r>
            <a:r>
              <a:rPr lang="fi-FI"/>
              <a:t> </a:t>
            </a:r>
            <a:r>
              <a:rPr lang="fi-FI" err="1"/>
              <a:t>either</a:t>
            </a:r>
            <a:r>
              <a:rPr lang="fi-FI"/>
              <a:t> on </a:t>
            </a:r>
            <a:r>
              <a:rPr lang="fi-FI" err="1"/>
              <a:t>the</a:t>
            </a:r>
            <a:r>
              <a:rPr lang="fi-FI"/>
              <a:t> </a:t>
            </a:r>
            <a:r>
              <a:rPr lang="fi-FI" err="1"/>
              <a:t>supply</a:t>
            </a:r>
            <a:r>
              <a:rPr lang="fi-FI"/>
              <a:t> </a:t>
            </a:r>
            <a:r>
              <a:rPr lang="fi-FI" err="1"/>
              <a:t>or</a:t>
            </a:r>
            <a:r>
              <a:rPr lang="fi-FI"/>
              <a:t> </a:t>
            </a:r>
            <a:r>
              <a:rPr lang="fi-FI" err="1"/>
              <a:t>demand</a:t>
            </a:r>
            <a:r>
              <a:rPr lang="fi-FI"/>
              <a:t> side of </a:t>
            </a:r>
            <a:r>
              <a:rPr lang="fi-FI" err="1"/>
              <a:t>the</a:t>
            </a:r>
            <a:r>
              <a:rPr lang="fi-FI"/>
              <a:t> market. </a:t>
            </a:r>
          </a:p>
          <a:p>
            <a:endParaRPr lang="fi-FI"/>
          </a:p>
        </p:txBody>
      </p:sp>
      <p:sp>
        <p:nvSpPr>
          <p:cNvPr id="4" name="Slide Number Placeholder 3"/>
          <p:cNvSpPr>
            <a:spLocks noGrp="1"/>
          </p:cNvSpPr>
          <p:nvPr>
            <p:ph type="sldNum" sz="quarter" idx="5"/>
          </p:nvPr>
        </p:nvSpPr>
        <p:spPr/>
        <p:txBody>
          <a:bodyPr/>
          <a:lstStyle/>
          <a:p>
            <a:fld id="{DB847843-BD54-8F40-848A-64886B8FA44C}" type="slidenum">
              <a:rPr lang="nb-NO" smtClean="0"/>
              <a:t>23</a:t>
            </a:fld>
            <a:endParaRPr lang="nb-NO"/>
          </a:p>
        </p:txBody>
      </p:sp>
    </p:spTree>
    <p:extLst>
      <p:ext uri="{BB962C8B-B14F-4D97-AF65-F5344CB8AC3E}">
        <p14:creationId xmlns:p14="http://schemas.microsoft.com/office/powerpoint/2010/main" val="23221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2018BBC3-0500-476B-9FF8-3672D70E4B49}" type="slidenum">
              <a:rPr lang="de-DE" smtClean="0"/>
              <a:t>24</a:t>
            </a:fld>
            <a:endParaRPr lang="de-DE"/>
          </a:p>
        </p:txBody>
      </p:sp>
    </p:spTree>
    <p:extLst>
      <p:ext uri="{BB962C8B-B14F-4D97-AF65-F5344CB8AC3E}">
        <p14:creationId xmlns:p14="http://schemas.microsoft.com/office/powerpoint/2010/main" val="271807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1398D0E-0F6F-43C6-8015-A47E4F16AEF8}" type="slidenum">
              <a:rPr lang="en-US" smtClean="0"/>
              <a:t>25</a:t>
            </a:fld>
            <a:endParaRPr lang="en-US"/>
          </a:p>
        </p:txBody>
      </p:sp>
    </p:spTree>
    <p:extLst>
      <p:ext uri="{BB962C8B-B14F-4D97-AF65-F5344CB8AC3E}">
        <p14:creationId xmlns:p14="http://schemas.microsoft.com/office/powerpoint/2010/main" val="39006922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1398D0E-0F6F-43C6-8015-A47E4F16AEF8}" type="slidenum">
              <a:rPr lang="en-US" smtClean="0"/>
              <a:t>26</a:t>
            </a:fld>
            <a:endParaRPr lang="en-US"/>
          </a:p>
        </p:txBody>
      </p:sp>
    </p:spTree>
    <p:extLst>
      <p:ext uri="{BB962C8B-B14F-4D97-AF65-F5344CB8AC3E}">
        <p14:creationId xmlns:p14="http://schemas.microsoft.com/office/powerpoint/2010/main" val="40964725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18BBC3-0500-476B-9FF8-3672D70E4B49}" type="slidenum">
              <a:rPr lang="en-US" smtClean="0"/>
              <a:t>30</a:t>
            </a:fld>
            <a:endParaRPr lang="en-US"/>
          </a:p>
        </p:txBody>
      </p:sp>
    </p:spTree>
    <p:extLst>
      <p:ext uri="{BB962C8B-B14F-4D97-AF65-F5344CB8AC3E}">
        <p14:creationId xmlns:p14="http://schemas.microsoft.com/office/powerpoint/2010/main" val="1815224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DB847843-BD54-8F40-848A-64886B8FA44C}" type="slidenum">
              <a:rPr lang="nb-NO" smtClean="0"/>
              <a:t>9</a:t>
            </a:fld>
            <a:endParaRPr lang="nb-NO"/>
          </a:p>
        </p:txBody>
      </p:sp>
    </p:spTree>
    <p:extLst>
      <p:ext uri="{BB962C8B-B14F-4D97-AF65-F5344CB8AC3E}">
        <p14:creationId xmlns:p14="http://schemas.microsoft.com/office/powerpoint/2010/main" val="399275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err="1"/>
              <a:t>Thank</a:t>
            </a:r>
            <a:r>
              <a:rPr lang="fi-FI"/>
              <a:t> </a:t>
            </a:r>
            <a:r>
              <a:rPr lang="fi-FI" err="1"/>
              <a:t>people</a:t>
            </a:r>
            <a:r>
              <a:rPr lang="fi-FI"/>
              <a:t> for </a:t>
            </a:r>
            <a:r>
              <a:rPr lang="fi-FI" err="1"/>
              <a:t>joining</a:t>
            </a:r>
            <a:r>
              <a:rPr lang="fi-FI"/>
              <a:t>. </a:t>
            </a:r>
            <a:br>
              <a:rPr lang="fi-FI"/>
            </a:br>
            <a:r>
              <a:rPr lang="fi-FI" err="1"/>
              <a:t>Introduce</a:t>
            </a:r>
            <a:r>
              <a:rPr lang="fi-FI"/>
              <a:t> </a:t>
            </a:r>
            <a:r>
              <a:rPr lang="fi-FI" err="1"/>
              <a:t>yourself</a:t>
            </a:r>
            <a:r>
              <a:rPr lang="fi-FI"/>
              <a:t> and </a:t>
            </a:r>
            <a:r>
              <a:rPr lang="fi-FI" err="1"/>
              <a:t>the</a:t>
            </a:r>
            <a:r>
              <a:rPr lang="fi-FI"/>
              <a:t> Marketplace. </a:t>
            </a:r>
          </a:p>
          <a:p>
            <a:r>
              <a:rPr lang="fi-FI" err="1"/>
              <a:t>Today</a:t>
            </a:r>
            <a:r>
              <a:rPr lang="fi-FI"/>
              <a:t> </a:t>
            </a:r>
            <a:r>
              <a:rPr lang="fi-FI" err="1"/>
              <a:t>we</a:t>
            </a:r>
            <a:r>
              <a:rPr lang="fi-FI"/>
              <a:t> </a:t>
            </a:r>
            <a:r>
              <a:rPr lang="fi-FI" err="1"/>
              <a:t>will</a:t>
            </a:r>
            <a:r>
              <a:rPr lang="fi-FI"/>
              <a:t> cover </a:t>
            </a:r>
            <a:r>
              <a:rPr lang="fi-FI" err="1"/>
              <a:t>the</a:t>
            </a:r>
            <a:r>
              <a:rPr lang="fi-FI"/>
              <a:t> </a:t>
            </a:r>
            <a:r>
              <a:rPr lang="fi-FI" err="1"/>
              <a:t>key</a:t>
            </a:r>
            <a:r>
              <a:rPr lang="fi-FI"/>
              <a:t> </a:t>
            </a:r>
            <a:r>
              <a:rPr lang="fi-FI" err="1"/>
              <a:t>concepts</a:t>
            </a:r>
            <a:r>
              <a:rPr lang="fi-FI"/>
              <a:t> and </a:t>
            </a:r>
            <a:r>
              <a:rPr lang="fi-FI" err="1"/>
              <a:t>regulatory</a:t>
            </a:r>
            <a:r>
              <a:rPr lang="fi-FI"/>
              <a:t> </a:t>
            </a:r>
            <a:r>
              <a:rPr lang="fi-FI" err="1"/>
              <a:t>developments</a:t>
            </a:r>
            <a:r>
              <a:rPr lang="fi-FI"/>
              <a:t> </a:t>
            </a:r>
            <a:r>
              <a:rPr lang="fi-FI" err="1"/>
              <a:t>around</a:t>
            </a:r>
            <a:r>
              <a:rPr lang="fi-FI"/>
              <a:t> GO and </a:t>
            </a:r>
            <a:r>
              <a:rPr lang="fi-FI" err="1"/>
              <a:t>dig</a:t>
            </a:r>
            <a:r>
              <a:rPr lang="fi-FI"/>
              <a:t> into </a:t>
            </a:r>
            <a:r>
              <a:rPr lang="fi-FI" err="1"/>
              <a:t>how</a:t>
            </a:r>
            <a:r>
              <a:rPr lang="fi-FI"/>
              <a:t> </a:t>
            </a:r>
            <a:r>
              <a:rPr lang="fi-FI" err="1"/>
              <a:t>those</a:t>
            </a:r>
            <a:r>
              <a:rPr lang="fi-FI"/>
              <a:t> </a:t>
            </a:r>
            <a:r>
              <a:rPr lang="fi-FI" err="1"/>
              <a:t>will</a:t>
            </a:r>
            <a:r>
              <a:rPr lang="fi-FI"/>
              <a:t> </a:t>
            </a:r>
            <a:r>
              <a:rPr lang="fi-FI" err="1"/>
              <a:t>impact</a:t>
            </a:r>
            <a:r>
              <a:rPr lang="fi-FI"/>
              <a:t> </a:t>
            </a:r>
            <a:r>
              <a:rPr lang="fi-FI" err="1"/>
              <a:t>supply</a:t>
            </a:r>
            <a:r>
              <a:rPr lang="fi-FI"/>
              <a:t> and </a:t>
            </a:r>
            <a:r>
              <a:rPr lang="fi-FI" err="1"/>
              <a:t>demand</a:t>
            </a:r>
            <a:r>
              <a:rPr lang="fi-FI"/>
              <a:t>.</a:t>
            </a:r>
            <a:endParaRPr lang="en-FI"/>
          </a:p>
        </p:txBody>
      </p:sp>
      <p:sp>
        <p:nvSpPr>
          <p:cNvPr id="4" name="Slide Number Placeholder 3"/>
          <p:cNvSpPr>
            <a:spLocks noGrp="1"/>
          </p:cNvSpPr>
          <p:nvPr>
            <p:ph type="sldNum" sz="quarter" idx="5"/>
          </p:nvPr>
        </p:nvSpPr>
        <p:spPr/>
        <p:txBody>
          <a:bodyPr/>
          <a:lstStyle/>
          <a:p>
            <a:fld id="{DB847843-BD54-8F40-848A-64886B8FA44C}" type="slidenum">
              <a:rPr lang="nb-NO" smtClean="0"/>
              <a:t>14</a:t>
            </a:fld>
            <a:endParaRPr lang="nb-NO"/>
          </a:p>
        </p:txBody>
      </p:sp>
    </p:spTree>
    <p:extLst>
      <p:ext uri="{BB962C8B-B14F-4D97-AF65-F5344CB8AC3E}">
        <p14:creationId xmlns:p14="http://schemas.microsoft.com/office/powerpoint/2010/main" val="1978546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a:t>GO is a </a:t>
            </a:r>
            <a:r>
              <a:rPr lang="fi-FI" err="1"/>
              <a:t>book</a:t>
            </a:r>
            <a:r>
              <a:rPr lang="fi-FI"/>
              <a:t> and </a:t>
            </a:r>
            <a:r>
              <a:rPr lang="fi-FI" err="1"/>
              <a:t>claim</a:t>
            </a:r>
            <a:r>
              <a:rPr lang="fi-FI"/>
              <a:t> </a:t>
            </a:r>
            <a:r>
              <a:rPr lang="fi-FI" err="1"/>
              <a:t>system</a:t>
            </a:r>
            <a:r>
              <a:rPr lang="fi-FI"/>
              <a:t>, </a:t>
            </a:r>
            <a:r>
              <a:rPr lang="fi-FI" err="1"/>
              <a:t>where</a:t>
            </a:r>
            <a:r>
              <a:rPr lang="fi-FI"/>
              <a:t> </a:t>
            </a:r>
            <a:r>
              <a:rPr lang="fi-FI" err="1"/>
              <a:t>the</a:t>
            </a:r>
            <a:r>
              <a:rPr lang="fi-FI"/>
              <a:t> </a:t>
            </a:r>
            <a:r>
              <a:rPr lang="fi-FI" err="1"/>
              <a:t>physical</a:t>
            </a:r>
            <a:r>
              <a:rPr lang="fi-FI"/>
              <a:t> </a:t>
            </a:r>
            <a:r>
              <a:rPr lang="fi-FI" err="1"/>
              <a:t>attribute</a:t>
            </a:r>
            <a:r>
              <a:rPr lang="fi-FI"/>
              <a:t> of </a:t>
            </a:r>
            <a:r>
              <a:rPr lang="fi-FI" err="1"/>
              <a:t>power</a:t>
            </a:r>
            <a:r>
              <a:rPr lang="fi-FI"/>
              <a:t> is </a:t>
            </a:r>
            <a:r>
              <a:rPr lang="fi-FI" err="1"/>
              <a:t>separated</a:t>
            </a:r>
            <a:r>
              <a:rPr lang="fi-FI"/>
              <a:t> </a:t>
            </a:r>
            <a:r>
              <a:rPr lang="fi-FI" err="1"/>
              <a:t>from</a:t>
            </a:r>
            <a:r>
              <a:rPr lang="fi-FI"/>
              <a:t> </a:t>
            </a:r>
            <a:r>
              <a:rPr lang="fi-FI" err="1"/>
              <a:t>the</a:t>
            </a:r>
            <a:r>
              <a:rPr lang="fi-FI"/>
              <a:t> </a:t>
            </a:r>
            <a:r>
              <a:rPr lang="fi-FI" err="1"/>
              <a:t>renewable</a:t>
            </a:r>
            <a:r>
              <a:rPr lang="fi-FI"/>
              <a:t> </a:t>
            </a:r>
            <a:r>
              <a:rPr lang="fi-FI" err="1"/>
              <a:t>attribute</a:t>
            </a:r>
            <a:r>
              <a:rPr lang="fi-FI"/>
              <a:t>. </a:t>
            </a:r>
            <a:r>
              <a:rPr lang="fi-FI" err="1"/>
              <a:t>These</a:t>
            </a:r>
            <a:r>
              <a:rPr lang="fi-FI"/>
              <a:t> </a:t>
            </a:r>
            <a:r>
              <a:rPr lang="fi-FI" err="1"/>
              <a:t>renewable</a:t>
            </a:r>
            <a:r>
              <a:rPr lang="fi-FI"/>
              <a:t> </a:t>
            </a:r>
            <a:r>
              <a:rPr lang="fi-FI" err="1"/>
              <a:t>attributes</a:t>
            </a:r>
            <a:r>
              <a:rPr lang="fi-FI"/>
              <a:t> </a:t>
            </a:r>
            <a:r>
              <a:rPr lang="fi-FI" err="1"/>
              <a:t>are</a:t>
            </a:r>
            <a:r>
              <a:rPr lang="fi-FI"/>
              <a:t> </a:t>
            </a:r>
            <a:r>
              <a:rPr lang="fi-FI" err="1"/>
              <a:t>called</a:t>
            </a:r>
            <a:r>
              <a:rPr lang="fi-FI"/>
              <a:t> </a:t>
            </a:r>
            <a:r>
              <a:rPr lang="fi-FI" err="1"/>
              <a:t>Guarantees</a:t>
            </a:r>
            <a:r>
              <a:rPr lang="fi-FI"/>
              <a:t> of </a:t>
            </a:r>
            <a:r>
              <a:rPr lang="fi-FI" err="1"/>
              <a:t>Origin</a:t>
            </a:r>
            <a:r>
              <a:rPr lang="fi-FI"/>
              <a:t> </a:t>
            </a:r>
            <a:r>
              <a:rPr lang="fi-FI" err="1"/>
              <a:t>or</a:t>
            </a:r>
            <a:r>
              <a:rPr lang="fi-FI"/>
              <a:t> GO. </a:t>
            </a:r>
          </a:p>
          <a:p>
            <a:r>
              <a:rPr lang="fi-FI"/>
              <a:t>1 MWh=1GO </a:t>
            </a:r>
          </a:p>
          <a:p>
            <a:r>
              <a:rPr lang="en-GB"/>
              <a:t>Red3: </a:t>
            </a:r>
            <a:br>
              <a:rPr lang="en-GB"/>
            </a:br>
            <a:r>
              <a:rPr lang="en-GB"/>
              <a:t>GO for power, biogas, hydrogen as well as heating and cooling</a:t>
            </a:r>
          </a:p>
          <a:p>
            <a:r>
              <a:rPr lang="en-GB"/>
              <a:t>Possibility for hourly matching</a:t>
            </a:r>
          </a:p>
          <a:p>
            <a:r>
              <a:rPr lang="en-GB"/>
              <a:t>More accessible PPAs</a:t>
            </a:r>
          </a:p>
          <a:p>
            <a:br>
              <a:rPr lang="en-GB"/>
            </a:br>
            <a:endParaRPr lang="en-FI"/>
          </a:p>
        </p:txBody>
      </p:sp>
      <p:sp>
        <p:nvSpPr>
          <p:cNvPr id="4" name="Slide Number Placeholder 3"/>
          <p:cNvSpPr>
            <a:spLocks noGrp="1"/>
          </p:cNvSpPr>
          <p:nvPr>
            <p:ph type="sldNum" sz="quarter" idx="5"/>
          </p:nvPr>
        </p:nvSpPr>
        <p:spPr/>
        <p:txBody>
          <a:bodyPr/>
          <a:lstStyle/>
          <a:p>
            <a:fld id="{DB847843-BD54-8F40-848A-64886B8FA44C}" type="slidenum">
              <a:rPr lang="nb-NO" smtClean="0"/>
              <a:t>15</a:t>
            </a:fld>
            <a:endParaRPr lang="nb-NO"/>
          </a:p>
        </p:txBody>
      </p:sp>
    </p:spTree>
    <p:extLst>
      <p:ext uri="{BB962C8B-B14F-4D97-AF65-F5344CB8AC3E}">
        <p14:creationId xmlns:p14="http://schemas.microsoft.com/office/powerpoint/2010/main" val="131010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err="1"/>
              <a:t>Traded</a:t>
            </a:r>
            <a:r>
              <a:rPr lang="fi-FI"/>
              <a:t> </a:t>
            </a:r>
            <a:r>
              <a:rPr lang="fi-FI" err="1"/>
              <a:t>also</a:t>
            </a:r>
            <a:r>
              <a:rPr lang="fi-FI"/>
              <a:t> as </a:t>
            </a:r>
            <a:r>
              <a:rPr lang="fi-FI" err="1"/>
              <a:t>forwards</a:t>
            </a:r>
            <a:r>
              <a:rPr lang="fi-FI"/>
              <a:t>, OTC </a:t>
            </a:r>
          </a:p>
          <a:p>
            <a:r>
              <a:rPr lang="fi-FI" err="1"/>
              <a:t>Issued</a:t>
            </a:r>
            <a:r>
              <a:rPr lang="fi-FI"/>
              <a:t> </a:t>
            </a:r>
            <a:r>
              <a:rPr lang="fi-FI" err="1"/>
              <a:t>against</a:t>
            </a:r>
            <a:r>
              <a:rPr lang="fi-FI"/>
              <a:t> </a:t>
            </a:r>
            <a:r>
              <a:rPr lang="fi-FI" err="1"/>
              <a:t>actual</a:t>
            </a:r>
            <a:r>
              <a:rPr lang="fi-FI"/>
              <a:t> </a:t>
            </a:r>
            <a:r>
              <a:rPr lang="fi-FI" err="1"/>
              <a:t>production</a:t>
            </a:r>
            <a:r>
              <a:rPr lang="fi-FI"/>
              <a:t> </a:t>
            </a:r>
            <a:r>
              <a:rPr lang="fi-FI" err="1"/>
              <a:t>figures</a:t>
            </a:r>
            <a:r>
              <a:rPr lang="fi-FI"/>
              <a:t> </a:t>
            </a:r>
            <a:r>
              <a:rPr lang="fi-FI" err="1"/>
              <a:t>by</a:t>
            </a:r>
            <a:r>
              <a:rPr lang="fi-FI"/>
              <a:t> </a:t>
            </a:r>
            <a:r>
              <a:rPr lang="fi-FI" err="1"/>
              <a:t>government</a:t>
            </a:r>
            <a:r>
              <a:rPr lang="fi-FI"/>
              <a:t> </a:t>
            </a:r>
            <a:r>
              <a:rPr lang="fi-FI" err="1"/>
              <a:t>appointed</a:t>
            </a:r>
            <a:r>
              <a:rPr lang="fi-FI"/>
              <a:t> </a:t>
            </a:r>
            <a:r>
              <a:rPr lang="fi-FI" err="1"/>
              <a:t>issuing</a:t>
            </a:r>
            <a:r>
              <a:rPr lang="fi-FI"/>
              <a:t> </a:t>
            </a:r>
            <a:r>
              <a:rPr lang="fi-FI" err="1"/>
              <a:t>bodies</a:t>
            </a:r>
            <a:r>
              <a:rPr lang="fi-FI"/>
              <a:t>. </a:t>
            </a:r>
          </a:p>
          <a:p>
            <a:r>
              <a:rPr lang="fi-FI"/>
              <a:t>12+6 for </a:t>
            </a:r>
            <a:r>
              <a:rPr lang="fi-FI" err="1"/>
              <a:t>transfers</a:t>
            </a:r>
            <a:r>
              <a:rPr lang="fi-FI"/>
              <a:t> and </a:t>
            </a:r>
            <a:r>
              <a:rPr lang="fi-FI" err="1"/>
              <a:t>trading</a:t>
            </a:r>
            <a:r>
              <a:rPr lang="fi-FI"/>
              <a:t>, </a:t>
            </a:r>
            <a:r>
              <a:rPr lang="fi-FI" err="1"/>
              <a:t>both</a:t>
            </a:r>
            <a:r>
              <a:rPr lang="fi-FI"/>
              <a:t> OTC and in </a:t>
            </a:r>
            <a:r>
              <a:rPr lang="fi-FI" err="1"/>
              <a:t>auctions</a:t>
            </a:r>
            <a:endParaRPr lang="fi-FI"/>
          </a:p>
          <a:p>
            <a:r>
              <a:rPr lang="fi-FI" err="1"/>
              <a:t>Cancelled</a:t>
            </a:r>
            <a:r>
              <a:rPr lang="fi-FI"/>
              <a:t> for a </a:t>
            </a:r>
            <a:r>
              <a:rPr lang="fi-FI" err="1"/>
              <a:t>specific</a:t>
            </a:r>
            <a:r>
              <a:rPr lang="fi-FI"/>
              <a:t> </a:t>
            </a:r>
            <a:r>
              <a:rPr lang="fi-FI" err="1"/>
              <a:t>purpose</a:t>
            </a:r>
            <a:r>
              <a:rPr lang="fi-FI"/>
              <a:t> </a:t>
            </a:r>
            <a:r>
              <a:rPr lang="fi-FI" err="1"/>
              <a:t>or</a:t>
            </a:r>
            <a:r>
              <a:rPr lang="fi-FI"/>
              <a:t> </a:t>
            </a:r>
            <a:r>
              <a:rPr lang="fi-FI" err="1"/>
              <a:t>expiry</a:t>
            </a:r>
            <a:r>
              <a:rPr lang="fi-FI"/>
              <a:t>.</a:t>
            </a:r>
            <a:endParaRPr lang="en-FI"/>
          </a:p>
        </p:txBody>
      </p:sp>
      <p:sp>
        <p:nvSpPr>
          <p:cNvPr id="4" name="Slide Number Placeholder 3"/>
          <p:cNvSpPr>
            <a:spLocks noGrp="1"/>
          </p:cNvSpPr>
          <p:nvPr>
            <p:ph type="sldNum" sz="quarter" idx="5"/>
          </p:nvPr>
        </p:nvSpPr>
        <p:spPr/>
        <p:txBody>
          <a:bodyPr/>
          <a:lstStyle/>
          <a:p>
            <a:fld id="{DB847843-BD54-8F40-848A-64886B8FA44C}" type="slidenum">
              <a:rPr lang="nb-NO" smtClean="0"/>
              <a:t>16</a:t>
            </a:fld>
            <a:endParaRPr lang="nb-NO"/>
          </a:p>
        </p:txBody>
      </p:sp>
    </p:spTree>
    <p:extLst>
      <p:ext uri="{BB962C8B-B14F-4D97-AF65-F5344CB8AC3E}">
        <p14:creationId xmlns:p14="http://schemas.microsoft.com/office/powerpoint/2010/main" val="26621160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a:solidFill>
                  <a:srgbClr val="191919"/>
                </a:solidFill>
                <a:effectLst/>
                <a:latin typeface="PP Telegraf"/>
              </a:rPr>
              <a:t>The document also requires companies to “apply the location-based AND market-based methods to calculate Scope 2 GHG emissions” (you can read more about the methods </a:t>
            </a:r>
            <a:r>
              <a:rPr lang="en-GB" b="0" i="0" u="sng">
                <a:solidFill>
                  <a:srgbClr val="191919"/>
                </a:solidFill>
                <a:effectLst/>
                <a:latin typeface="PP Telegraf"/>
                <a:hlinkClick r:id="rId3"/>
              </a:rPr>
              <a:t>here</a:t>
            </a:r>
            <a:r>
              <a:rPr lang="en-GB" b="0" i="0">
                <a:solidFill>
                  <a:srgbClr val="191919"/>
                </a:solidFill>
                <a:effectLst/>
                <a:latin typeface="PP Telegraf"/>
              </a:rPr>
              <a:t>). When disclosing market-based emissions, businesses can report “emissions linked to purchased electricity bundled with instruments such as Guarantees of Origin or Renewable Energy Certificates.” In other words, GOs allow organisations to report reduced carbon intensity.</a:t>
            </a:r>
            <a:endParaRPr lang="en-FI"/>
          </a:p>
        </p:txBody>
      </p:sp>
      <p:sp>
        <p:nvSpPr>
          <p:cNvPr id="4" name="Slide Number Placeholder 3"/>
          <p:cNvSpPr>
            <a:spLocks noGrp="1"/>
          </p:cNvSpPr>
          <p:nvPr>
            <p:ph type="sldNum" sz="quarter" idx="5"/>
          </p:nvPr>
        </p:nvSpPr>
        <p:spPr/>
        <p:txBody>
          <a:bodyPr/>
          <a:lstStyle/>
          <a:p>
            <a:fld id="{DB847843-BD54-8F40-848A-64886B8FA44C}" type="slidenum">
              <a:rPr lang="nb-NO" smtClean="0"/>
              <a:t>17</a:t>
            </a:fld>
            <a:endParaRPr lang="nb-NO"/>
          </a:p>
        </p:txBody>
      </p:sp>
    </p:spTree>
    <p:extLst>
      <p:ext uri="{BB962C8B-B14F-4D97-AF65-F5344CB8AC3E}">
        <p14:creationId xmlns:p14="http://schemas.microsoft.com/office/powerpoint/2010/main" val="3679109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err="1"/>
              <a:t>We</a:t>
            </a:r>
            <a:r>
              <a:rPr lang="fi-FI"/>
              <a:t> </a:t>
            </a:r>
            <a:r>
              <a:rPr lang="fi-FI" err="1"/>
              <a:t>can</a:t>
            </a:r>
            <a:r>
              <a:rPr lang="fi-FI"/>
              <a:t> </a:t>
            </a:r>
            <a:r>
              <a:rPr lang="fi-FI" err="1"/>
              <a:t>see</a:t>
            </a:r>
            <a:r>
              <a:rPr lang="fi-FI"/>
              <a:t> </a:t>
            </a:r>
            <a:r>
              <a:rPr lang="fi-FI" err="1"/>
              <a:t>the</a:t>
            </a:r>
            <a:r>
              <a:rPr lang="fi-FI"/>
              <a:t> </a:t>
            </a:r>
            <a:r>
              <a:rPr lang="fi-FI" err="1"/>
              <a:t>demand</a:t>
            </a:r>
            <a:r>
              <a:rPr lang="fi-FI"/>
              <a:t> </a:t>
            </a:r>
            <a:r>
              <a:rPr lang="fi-FI" err="1"/>
              <a:t>from</a:t>
            </a:r>
            <a:r>
              <a:rPr lang="fi-FI"/>
              <a:t> </a:t>
            </a:r>
            <a:r>
              <a:rPr lang="fi-FI" err="1"/>
              <a:t>traditional</a:t>
            </a:r>
            <a:r>
              <a:rPr lang="fi-FI"/>
              <a:t> </a:t>
            </a:r>
            <a:r>
              <a:rPr lang="fi-FI" err="1"/>
              <a:t>industries</a:t>
            </a:r>
            <a:r>
              <a:rPr lang="fi-FI"/>
              <a:t> </a:t>
            </a:r>
            <a:r>
              <a:rPr lang="fi-FI" err="1"/>
              <a:t>consistantly</a:t>
            </a:r>
            <a:r>
              <a:rPr lang="fi-FI"/>
              <a:t> </a:t>
            </a:r>
            <a:r>
              <a:rPr lang="fi-FI" err="1"/>
              <a:t>increase</a:t>
            </a:r>
            <a:r>
              <a:rPr lang="fi-FI"/>
              <a:t> in </a:t>
            </a:r>
            <a:r>
              <a:rPr lang="fi-FI" err="1"/>
              <a:t>the</a:t>
            </a:r>
            <a:r>
              <a:rPr lang="fi-FI"/>
              <a:t> </a:t>
            </a:r>
            <a:r>
              <a:rPr lang="fi-FI" err="1"/>
              <a:t>coming</a:t>
            </a:r>
            <a:r>
              <a:rPr lang="fi-FI"/>
              <a:t> </a:t>
            </a:r>
            <a:r>
              <a:rPr lang="fi-FI" err="1"/>
              <a:t>years</a:t>
            </a:r>
            <a:r>
              <a:rPr lang="fi-FI"/>
              <a:t>. </a:t>
            </a:r>
            <a:r>
              <a:rPr lang="fi-FI" err="1"/>
              <a:t>Naturally</a:t>
            </a:r>
            <a:r>
              <a:rPr lang="fi-FI"/>
              <a:t> </a:t>
            </a:r>
            <a:r>
              <a:rPr lang="fi-FI" err="1"/>
              <a:t>the</a:t>
            </a:r>
            <a:r>
              <a:rPr lang="fi-FI"/>
              <a:t> </a:t>
            </a:r>
            <a:r>
              <a:rPr lang="fi-FI" err="1"/>
              <a:t>electrification</a:t>
            </a:r>
            <a:r>
              <a:rPr lang="fi-FI"/>
              <a:t> of </a:t>
            </a:r>
            <a:r>
              <a:rPr lang="fi-FI" err="1"/>
              <a:t>processes</a:t>
            </a:r>
            <a:r>
              <a:rPr lang="fi-FI"/>
              <a:t> </a:t>
            </a:r>
            <a:r>
              <a:rPr lang="fi-FI" err="1"/>
              <a:t>will</a:t>
            </a:r>
            <a:r>
              <a:rPr lang="fi-FI"/>
              <a:t> </a:t>
            </a:r>
            <a:r>
              <a:rPr lang="fi-FI" err="1"/>
              <a:t>heighten</a:t>
            </a:r>
            <a:r>
              <a:rPr lang="fi-FI"/>
              <a:t> </a:t>
            </a:r>
            <a:r>
              <a:rPr lang="fi-FI" err="1"/>
              <a:t>the</a:t>
            </a:r>
            <a:r>
              <a:rPr lang="fi-FI"/>
              <a:t> </a:t>
            </a:r>
            <a:r>
              <a:rPr lang="fi-FI" err="1"/>
              <a:t>demand</a:t>
            </a:r>
            <a:r>
              <a:rPr lang="fi-FI"/>
              <a:t>, </a:t>
            </a:r>
            <a:r>
              <a:rPr lang="fi-FI" err="1"/>
              <a:t>but</a:t>
            </a:r>
            <a:r>
              <a:rPr lang="fi-FI"/>
              <a:t> </a:t>
            </a:r>
            <a:r>
              <a:rPr lang="fi-FI" err="1"/>
              <a:t>even</a:t>
            </a:r>
            <a:r>
              <a:rPr lang="fi-FI"/>
              <a:t> </a:t>
            </a:r>
            <a:r>
              <a:rPr lang="fi-FI" err="1"/>
              <a:t>with</a:t>
            </a:r>
            <a:r>
              <a:rPr lang="fi-FI"/>
              <a:t> </a:t>
            </a:r>
            <a:r>
              <a:rPr lang="fi-FI" err="1"/>
              <a:t>all</a:t>
            </a:r>
            <a:r>
              <a:rPr lang="fi-FI"/>
              <a:t> </a:t>
            </a:r>
            <a:r>
              <a:rPr lang="fi-FI" err="1"/>
              <a:t>the</a:t>
            </a:r>
            <a:r>
              <a:rPr lang="fi-FI"/>
              <a:t> </a:t>
            </a:r>
            <a:r>
              <a:rPr lang="fi-FI" err="1"/>
              <a:t>energy</a:t>
            </a:r>
            <a:r>
              <a:rPr lang="fi-FI"/>
              <a:t> </a:t>
            </a:r>
            <a:r>
              <a:rPr lang="fi-FI" err="1"/>
              <a:t>efficiency</a:t>
            </a:r>
            <a:r>
              <a:rPr lang="fi-FI"/>
              <a:t> </a:t>
            </a:r>
            <a:r>
              <a:rPr lang="fi-FI" err="1"/>
              <a:t>measures</a:t>
            </a:r>
            <a:r>
              <a:rPr lang="fi-FI"/>
              <a:t> </a:t>
            </a:r>
            <a:r>
              <a:rPr lang="fi-FI" err="1"/>
              <a:t>taken</a:t>
            </a:r>
            <a:r>
              <a:rPr lang="fi-FI"/>
              <a:t>, </a:t>
            </a:r>
            <a:r>
              <a:rPr lang="fi-FI" err="1"/>
              <a:t>their</a:t>
            </a:r>
            <a:r>
              <a:rPr lang="fi-FI"/>
              <a:t> </a:t>
            </a:r>
            <a:r>
              <a:rPr lang="fi-FI" err="1"/>
              <a:t>power</a:t>
            </a:r>
            <a:r>
              <a:rPr lang="fi-FI"/>
              <a:t> </a:t>
            </a:r>
            <a:r>
              <a:rPr lang="fi-FI" err="1"/>
              <a:t>demand</a:t>
            </a:r>
            <a:r>
              <a:rPr lang="fi-FI"/>
              <a:t> </a:t>
            </a:r>
            <a:r>
              <a:rPr lang="fi-FI" err="1"/>
              <a:t>will</a:t>
            </a:r>
            <a:r>
              <a:rPr lang="fi-FI"/>
              <a:t> </a:t>
            </a:r>
            <a:r>
              <a:rPr lang="fi-FI" err="1"/>
              <a:t>only</a:t>
            </a:r>
            <a:r>
              <a:rPr lang="fi-FI"/>
              <a:t> </a:t>
            </a:r>
            <a:r>
              <a:rPr lang="fi-FI" err="1"/>
              <a:t>increase</a:t>
            </a:r>
            <a:r>
              <a:rPr lang="fi-FI"/>
              <a:t> in </a:t>
            </a:r>
            <a:r>
              <a:rPr lang="fi-FI" err="1"/>
              <a:t>the</a:t>
            </a:r>
            <a:r>
              <a:rPr lang="fi-FI"/>
              <a:t> </a:t>
            </a:r>
            <a:r>
              <a:rPr lang="fi-FI" err="1"/>
              <a:t>coming</a:t>
            </a:r>
            <a:r>
              <a:rPr lang="fi-FI"/>
              <a:t> </a:t>
            </a:r>
            <a:r>
              <a:rPr lang="fi-FI" err="1"/>
              <a:t>years</a:t>
            </a:r>
            <a:r>
              <a:rPr lang="fi-FI"/>
              <a:t>. </a:t>
            </a:r>
            <a:r>
              <a:rPr lang="fi-FI" err="1"/>
              <a:t>Majority</a:t>
            </a:r>
            <a:r>
              <a:rPr lang="fi-FI"/>
              <a:t> of </a:t>
            </a:r>
            <a:r>
              <a:rPr lang="fi-FI" err="1"/>
              <a:t>these</a:t>
            </a:r>
            <a:r>
              <a:rPr lang="fi-FI"/>
              <a:t> </a:t>
            </a:r>
            <a:r>
              <a:rPr lang="fi-FI" err="1"/>
              <a:t>companies</a:t>
            </a:r>
            <a:r>
              <a:rPr lang="fi-FI"/>
              <a:t> is </a:t>
            </a:r>
            <a:r>
              <a:rPr lang="fi-FI" err="1"/>
              <a:t>subject</a:t>
            </a:r>
            <a:r>
              <a:rPr lang="fi-FI"/>
              <a:t> to CSRD </a:t>
            </a:r>
            <a:r>
              <a:rPr lang="fi-FI" err="1"/>
              <a:t>reporting</a:t>
            </a:r>
            <a:r>
              <a:rPr lang="fi-FI"/>
              <a:t>, </a:t>
            </a:r>
            <a:r>
              <a:rPr lang="fi-FI" err="1"/>
              <a:t>so</a:t>
            </a:r>
            <a:r>
              <a:rPr lang="fi-FI"/>
              <a:t> </a:t>
            </a:r>
            <a:r>
              <a:rPr lang="fi-FI" err="1"/>
              <a:t>we</a:t>
            </a:r>
            <a:r>
              <a:rPr lang="fi-FI"/>
              <a:t> </a:t>
            </a:r>
            <a:r>
              <a:rPr lang="fi-FI" err="1"/>
              <a:t>can</a:t>
            </a:r>
            <a:r>
              <a:rPr lang="fi-FI"/>
              <a:t> </a:t>
            </a:r>
            <a:r>
              <a:rPr lang="fi-FI" err="1"/>
              <a:t>expect</a:t>
            </a:r>
            <a:r>
              <a:rPr lang="fi-FI"/>
              <a:t> </a:t>
            </a:r>
            <a:r>
              <a:rPr lang="fi-FI" err="1"/>
              <a:t>this</a:t>
            </a:r>
            <a:r>
              <a:rPr lang="fi-FI"/>
              <a:t> </a:t>
            </a:r>
            <a:r>
              <a:rPr lang="fi-FI" err="1"/>
              <a:t>increase</a:t>
            </a:r>
            <a:r>
              <a:rPr lang="fi-FI"/>
              <a:t> in </a:t>
            </a:r>
            <a:r>
              <a:rPr lang="fi-FI" err="1"/>
              <a:t>power</a:t>
            </a:r>
            <a:r>
              <a:rPr lang="fi-FI"/>
              <a:t> </a:t>
            </a:r>
            <a:r>
              <a:rPr lang="fi-FI" err="1"/>
              <a:t>demand</a:t>
            </a:r>
            <a:r>
              <a:rPr lang="fi-FI"/>
              <a:t> to </a:t>
            </a:r>
            <a:r>
              <a:rPr lang="fi-FI" err="1"/>
              <a:t>be</a:t>
            </a:r>
            <a:r>
              <a:rPr lang="fi-FI"/>
              <a:t> </a:t>
            </a:r>
            <a:r>
              <a:rPr lang="fi-FI" err="1"/>
              <a:t>also</a:t>
            </a:r>
            <a:r>
              <a:rPr lang="fi-FI"/>
              <a:t> </a:t>
            </a:r>
            <a:r>
              <a:rPr lang="fi-FI" err="1"/>
              <a:t>reflected</a:t>
            </a:r>
            <a:r>
              <a:rPr lang="fi-FI"/>
              <a:t> on GO </a:t>
            </a:r>
            <a:r>
              <a:rPr lang="fi-FI" err="1"/>
              <a:t>demand</a:t>
            </a:r>
            <a:r>
              <a:rPr lang="fi-FI"/>
              <a:t>, </a:t>
            </a:r>
            <a:r>
              <a:rPr lang="fi-FI" err="1"/>
              <a:t>either</a:t>
            </a:r>
            <a:r>
              <a:rPr lang="fi-FI"/>
              <a:t> </a:t>
            </a:r>
            <a:r>
              <a:rPr lang="fi-FI" err="1"/>
              <a:t>bundled</a:t>
            </a:r>
            <a:r>
              <a:rPr lang="fi-FI"/>
              <a:t> </a:t>
            </a:r>
            <a:r>
              <a:rPr lang="fi-FI" err="1"/>
              <a:t>or</a:t>
            </a:r>
            <a:r>
              <a:rPr lang="fi-FI"/>
              <a:t> </a:t>
            </a:r>
            <a:r>
              <a:rPr lang="fi-FI" err="1"/>
              <a:t>unbundled</a:t>
            </a:r>
            <a:r>
              <a:rPr lang="fi-FI"/>
              <a:t>. </a:t>
            </a:r>
            <a:endParaRPr lang="en-FI"/>
          </a:p>
        </p:txBody>
      </p:sp>
      <p:sp>
        <p:nvSpPr>
          <p:cNvPr id="4" name="Slide Number Placeholder 3"/>
          <p:cNvSpPr>
            <a:spLocks noGrp="1"/>
          </p:cNvSpPr>
          <p:nvPr>
            <p:ph type="sldNum" sz="quarter" idx="5"/>
          </p:nvPr>
        </p:nvSpPr>
        <p:spPr/>
        <p:txBody>
          <a:bodyPr/>
          <a:lstStyle/>
          <a:p>
            <a:fld id="{DB847843-BD54-8F40-848A-64886B8FA44C}" type="slidenum">
              <a:rPr lang="nb-NO" smtClean="0"/>
              <a:t>20</a:t>
            </a:fld>
            <a:endParaRPr lang="nb-NO"/>
          </a:p>
        </p:txBody>
      </p:sp>
    </p:spTree>
    <p:extLst>
      <p:ext uri="{BB962C8B-B14F-4D97-AF65-F5344CB8AC3E}">
        <p14:creationId xmlns:p14="http://schemas.microsoft.com/office/powerpoint/2010/main" val="1850876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While the supply of GO is constantly increasing, it will be interesting to see how the demand generated by both current and new developments will impact the supply-demand-balance. </a:t>
            </a:r>
            <a:endParaRPr lang="en-FI"/>
          </a:p>
        </p:txBody>
      </p:sp>
      <p:sp>
        <p:nvSpPr>
          <p:cNvPr id="4" name="Slide Number Placeholder 3"/>
          <p:cNvSpPr>
            <a:spLocks noGrp="1"/>
          </p:cNvSpPr>
          <p:nvPr>
            <p:ph type="sldNum" sz="quarter" idx="5"/>
          </p:nvPr>
        </p:nvSpPr>
        <p:spPr/>
        <p:txBody>
          <a:bodyPr/>
          <a:lstStyle/>
          <a:p>
            <a:fld id="{DB847843-BD54-8F40-848A-64886B8FA44C}" type="slidenum">
              <a:rPr lang="nb-NO" smtClean="0"/>
              <a:t>21</a:t>
            </a:fld>
            <a:endParaRPr lang="nb-NO"/>
          </a:p>
        </p:txBody>
      </p:sp>
    </p:spTree>
    <p:extLst>
      <p:ext uri="{BB962C8B-B14F-4D97-AF65-F5344CB8AC3E}">
        <p14:creationId xmlns:p14="http://schemas.microsoft.com/office/powerpoint/2010/main" val="31304018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dging through the more readily available PPAs? </a:t>
            </a:r>
          </a:p>
          <a:p>
            <a:endParaRPr lang="en-US"/>
          </a:p>
        </p:txBody>
      </p:sp>
      <p:sp>
        <p:nvSpPr>
          <p:cNvPr id="4" name="Slide Number Placeholder 3"/>
          <p:cNvSpPr>
            <a:spLocks noGrp="1"/>
          </p:cNvSpPr>
          <p:nvPr>
            <p:ph type="sldNum" sz="quarter" idx="5"/>
          </p:nvPr>
        </p:nvSpPr>
        <p:spPr/>
        <p:txBody>
          <a:bodyPr/>
          <a:lstStyle/>
          <a:p>
            <a:fld id="{DB847843-BD54-8F40-848A-64886B8FA44C}" type="slidenum">
              <a:rPr lang="nb-NO" smtClean="0"/>
              <a:t>22</a:t>
            </a:fld>
            <a:endParaRPr lang="nb-NO"/>
          </a:p>
        </p:txBody>
      </p:sp>
    </p:spTree>
    <p:extLst>
      <p:ext uri="{BB962C8B-B14F-4D97-AF65-F5344CB8AC3E}">
        <p14:creationId xmlns:p14="http://schemas.microsoft.com/office/powerpoint/2010/main" val="22560305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4.xml"/><Relationship Id="rId1" Type="http://schemas.openxmlformats.org/officeDocument/2006/relationships/tags" Target="../tags/tag17.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4.xml"/><Relationship Id="rId1" Type="http://schemas.openxmlformats.org/officeDocument/2006/relationships/tags" Target="../tags/tag18.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4.xml"/><Relationship Id="rId1" Type="http://schemas.openxmlformats.org/officeDocument/2006/relationships/tags" Target="../tags/tag19.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4.xml"/><Relationship Id="rId1" Type="http://schemas.openxmlformats.org/officeDocument/2006/relationships/tags" Target="../tags/tag20.xml"/><Relationship Id="rId5" Type="http://schemas.openxmlformats.org/officeDocument/2006/relationships/image" Target="../media/image14.png"/><Relationship Id="rId4" Type="http://schemas.openxmlformats.org/officeDocument/2006/relationships/image" Target="../media/image9.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4.xml"/><Relationship Id="rId1" Type="http://schemas.openxmlformats.org/officeDocument/2006/relationships/tags" Target="../tags/tag2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73.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4.xml"/><Relationship Id="rId1" Type="http://schemas.openxmlformats.org/officeDocument/2006/relationships/tags" Target="../tags/tag22.xml"/><Relationship Id="rId4" Type="http://schemas.openxmlformats.org/officeDocument/2006/relationships/image" Target="../media/image7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4.xml"/><Relationship Id="rId1" Type="http://schemas.openxmlformats.org/officeDocument/2006/relationships/tags" Target="../tags/tag23.xml"/><Relationship Id="rId4" Type="http://schemas.openxmlformats.org/officeDocument/2006/relationships/image" Target="../media/image73.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4.xml"/><Relationship Id="rId1" Type="http://schemas.openxmlformats.org/officeDocument/2006/relationships/tags" Target="../tags/tag24.xml"/><Relationship Id="rId4" Type="http://schemas.openxmlformats.org/officeDocument/2006/relationships/image" Target="../media/image7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4.xml"/><Relationship Id="rId1" Type="http://schemas.openxmlformats.org/officeDocument/2006/relationships/tags" Target="../tags/tag25.xml"/><Relationship Id="rId4" Type="http://schemas.openxmlformats.org/officeDocument/2006/relationships/image" Target="../media/image73.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14.png"/><Relationship Id="rId2" Type="http://schemas.openxmlformats.org/officeDocument/2006/relationships/slideMaster" Target="../slideMasters/slideMaster14.xml"/><Relationship Id="rId1" Type="http://schemas.openxmlformats.org/officeDocument/2006/relationships/tags" Target="../tags/tag26.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oleObject" Target="../embeddings/oleObject27.bin"/><Relationship Id="rId7" Type="http://schemas.openxmlformats.org/officeDocument/2006/relationships/image" Target="../media/image11.png"/><Relationship Id="rId2" Type="http://schemas.openxmlformats.org/officeDocument/2006/relationships/slideMaster" Target="../slideMasters/slideMaster14.xml"/><Relationship Id="rId1" Type="http://schemas.openxmlformats.org/officeDocument/2006/relationships/tags" Target="../tags/tag27.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3.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14.png"/><Relationship Id="rId2" Type="http://schemas.openxmlformats.org/officeDocument/2006/relationships/slideMaster" Target="../slideMasters/slideMaster14.xml"/><Relationship Id="rId1" Type="http://schemas.openxmlformats.org/officeDocument/2006/relationships/tags" Target="../tags/tag28.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9.emf"/></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oleObject" Target="../embeddings/oleObject29.bin"/><Relationship Id="rId7" Type="http://schemas.openxmlformats.org/officeDocument/2006/relationships/image" Target="../media/image11.png"/><Relationship Id="rId2" Type="http://schemas.openxmlformats.org/officeDocument/2006/relationships/slideMaster" Target="../slideMasters/slideMaster14.xml"/><Relationship Id="rId1" Type="http://schemas.openxmlformats.org/officeDocument/2006/relationships/tags" Target="../tags/tag29.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9.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4.xml"/><Relationship Id="rId1" Type="http://schemas.openxmlformats.org/officeDocument/2006/relationships/tags" Target="../tags/tag30.xml"/><Relationship Id="rId4" Type="http://schemas.openxmlformats.org/officeDocument/2006/relationships/image" Target="../media/image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4.xml"/><Relationship Id="rId1" Type="http://schemas.openxmlformats.org/officeDocument/2006/relationships/tags" Target="../tags/tag31.xml"/><Relationship Id="rId4" Type="http://schemas.openxmlformats.org/officeDocument/2006/relationships/image" Target="../media/image9.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4.xml"/><Relationship Id="rId1" Type="http://schemas.openxmlformats.org/officeDocument/2006/relationships/tags" Target="../tags/tag32.xml"/><Relationship Id="rId4" Type="http://schemas.openxmlformats.org/officeDocument/2006/relationships/image" Target="../media/image9.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4.xml"/><Relationship Id="rId1" Type="http://schemas.openxmlformats.org/officeDocument/2006/relationships/tags" Target="../tags/tag33.xml"/><Relationship Id="rId4" Type="http://schemas.openxmlformats.org/officeDocument/2006/relationships/image" Target="../media/image9.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4.xml"/><Relationship Id="rId1" Type="http://schemas.openxmlformats.org/officeDocument/2006/relationships/tags" Target="../tags/tag34.xml"/><Relationship Id="rId4" Type="http://schemas.openxmlformats.org/officeDocument/2006/relationships/image" Target="../media/image9.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4.xml"/><Relationship Id="rId1" Type="http://schemas.openxmlformats.org/officeDocument/2006/relationships/tags" Target="../tags/tag35.xml"/><Relationship Id="rId4" Type="http://schemas.openxmlformats.org/officeDocument/2006/relationships/image" Target="../media/image9.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4.xml"/><Relationship Id="rId1" Type="http://schemas.openxmlformats.org/officeDocument/2006/relationships/tags" Target="../tags/tag36.xml"/><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4.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4.xml"/><Relationship Id="rId1" Type="http://schemas.openxmlformats.org/officeDocument/2006/relationships/tags" Target="../tags/tag38.xml"/><Relationship Id="rId4" Type="http://schemas.openxmlformats.org/officeDocument/2006/relationships/image" Target="../media/image9.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4.xml"/><Relationship Id="rId1" Type="http://schemas.openxmlformats.org/officeDocument/2006/relationships/tags" Target="../tags/tag39.xml"/><Relationship Id="rId4" Type="http://schemas.openxmlformats.org/officeDocument/2006/relationships/image" Target="../media/image9.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4.xml"/><Relationship Id="rId1" Type="http://schemas.openxmlformats.org/officeDocument/2006/relationships/tags" Target="../tags/tag40.xml"/><Relationship Id="rId4" Type="http://schemas.openxmlformats.org/officeDocument/2006/relationships/image" Target="../media/image9.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4.xml"/><Relationship Id="rId1" Type="http://schemas.openxmlformats.org/officeDocument/2006/relationships/tags" Target="../tags/tag41.xml"/><Relationship Id="rId4" Type="http://schemas.openxmlformats.org/officeDocument/2006/relationships/image" Target="../media/image79.emf"/></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42.bin"/><Relationship Id="rId7" Type="http://schemas.openxmlformats.org/officeDocument/2006/relationships/image" Target="../media/image74.png"/><Relationship Id="rId2" Type="http://schemas.openxmlformats.org/officeDocument/2006/relationships/slideMaster" Target="../slideMasters/slideMaster14.xml"/><Relationship Id="rId1" Type="http://schemas.openxmlformats.org/officeDocument/2006/relationships/tags" Target="../tags/tag42.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9.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4.xml"/><Relationship Id="rId1" Type="http://schemas.openxmlformats.org/officeDocument/2006/relationships/tags" Target="../tags/tag43.xml"/><Relationship Id="rId5" Type="http://schemas.openxmlformats.org/officeDocument/2006/relationships/image" Target="../media/image13.png"/><Relationship Id="rId4" Type="http://schemas.openxmlformats.org/officeDocument/2006/relationships/image" Target="../media/image9.emf"/></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44.bin"/><Relationship Id="rId7" Type="http://schemas.openxmlformats.org/officeDocument/2006/relationships/image" Target="../media/image13.png"/><Relationship Id="rId2" Type="http://schemas.openxmlformats.org/officeDocument/2006/relationships/slideMaster" Target="../slideMasters/slideMaster14.xml"/><Relationship Id="rId1" Type="http://schemas.openxmlformats.org/officeDocument/2006/relationships/tags" Target="../tags/tag44.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9.emf"/><Relationship Id="rId9" Type="http://schemas.openxmlformats.org/officeDocument/2006/relationships/image" Target="../media/image12.svg"/></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4.xml"/><Relationship Id="rId1" Type="http://schemas.openxmlformats.org/officeDocument/2006/relationships/tags" Target="../tags/tag45.xml"/><Relationship Id="rId4" Type="http://schemas.openxmlformats.org/officeDocument/2006/relationships/image" Target="../media/image9.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4.xml"/><Relationship Id="rId1" Type="http://schemas.openxmlformats.org/officeDocument/2006/relationships/tags" Target="../tags/tag46.xml"/><Relationship Id="rId5" Type="http://schemas.openxmlformats.org/officeDocument/2006/relationships/image" Target="../media/image13.png"/><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4.xml"/><Relationship Id="rId1" Type="http://schemas.openxmlformats.org/officeDocument/2006/relationships/tags" Target="../tags/tag47.xml"/><Relationship Id="rId6" Type="http://schemas.openxmlformats.org/officeDocument/2006/relationships/image" Target="../media/image74.png"/><Relationship Id="rId5" Type="http://schemas.openxmlformats.org/officeDocument/2006/relationships/image" Target="../media/image55.png"/><Relationship Id="rId4" Type="http://schemas.openxmlformats.org/officeDocument/2006/relationships/image" Target="../media/image9.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4.xml"/><Relationship Id="rId1" Type="http://schemas.openxmlformats.org/officeDocument/2006/relationships/tags" Target="../tags/tag48.xml"/><Relationship Id="rId6" Type="http://schemas.openxmlformats.org/officeDocument/2006/relationships/image" Target="../media/image74.png"/><Relationship Id="rId5" Type="http://schemas.openxmlformats.org/officeDocument/2006/relationships/image" Target="../media/image55.png"/><Relationship Id="rId4" Type="http://schemas.openxmlformats.org/officeDocument/2006/relationships/image" Target="../media/image9.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4.xml"/><Relationship Id="rId1" Type="http://schemas.openxmlformats.org/officeDocument/2006/relationships/tags" Target="../tags/tag49.xml"/><Relationship Id="rId5" Type="http://schemas.openxmlformats.org/officeDocument/2006/relationships/image" Target="../media/image13.png"/><Relationship Id="rId4" Type="http://schemas.openxmlformats.org/officeDocument/2006/relationships/image" Target="../media/image9.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4.xml"/><Relationship Id="rId1" Type="http://schemas.openxmlformats.org/officeDocument/2006/relationships/tags" Target="../tags/tag50.xml"/><Relationship Id="rId4" Type="http://schemas.openxmlformats.org/officeDocument/2006/relationships/image" Target="../media/image73.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51.bin"/><Relationship Id="rId7" Type="http://schemas.openxmlformats.org/officeDocument/2006/relationships/image" Target="../media/image13.png"/><Relationship Id="rId2" Type="http://schemas.openxmlformats.org/officeDocument/2006/relationships/slideMaster" Target="../slideMasters/slideMaster14.xml"/><Relationship Id="rId1" Type="http://schemas.openxmlformats.org/officeDocument/2006/relationships/tags" Target="../tags/tag5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9.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4.xml"/><Relationship Id="rId1" Type="http://schemas.openxmlformats.org/officeDocument/2006/relationships/tags" Target="../tags/tag5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9.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4.xml"/><Relationship Id="rId1" Type="http://schemas.openxmlformats.org/officeDocument/2006/relationships/tags" Target="../tags/tag53.xml"/><Relationship Id="rId4" Type="http://schemas.openxmlformats.org/officeDocument/2006/relationships/image" Target="../media/image9.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54.bin"/><Relationship Id="rId7" Type="http://schemas.openxmlformats.org/officeDocument/2006/relationships/image" Target="../media/image12.svg"/><Relationship Id="rId2" Type="http://schemas.openxmlformats.org/officeDocument/2006/relationships/slideMaster" Target="../slideMasters/slideMaster14.xml"/><Relationship Id="rId1" Type="http://schemas.openxmlformats.org/officeDocument/2006/relationships/tags" Target="../tags/tag5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8.png"/><Relationship Id="rId7" Type="http://schemas.openxmlformats.org/officeDocument/2006/relationships/image" Target="../media/image14.png"/><Relationship Id="rId2" Type="http://schemas.openxmlformats.org/officeDocument/2006/relationships/slideMaster" Target="../slideMasters/slideMaster15.xml"/><Relationship Id="rId1" Type="http://schemas.openxmlformats.org/officeDocument/2006/relationships/tags" Target="../tags/tag56.xml"/><Relationship Id="rId6" Type="http://schemas.openxmlformats.org/officeDocument/2006/relationships/image" Target="../media/image9.emf"/><Relationship Id="rId5" Type="http://schemas.openxmlformats.org/officeDocument/2006/relationships/oleObject" Target="../embeddings/oleObject56.bin"/><Relationship Id="rId4" Type="http://schemas.openxmlformats.org/officeDocument/2006/relationships/image" Target="../media/image59.svg"/></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57.bin"/><Relationship Id="rId7" Type="http://schemas.openxmlformats.org/officeDocument/2006/relationships/image" Target="../media/image10.png"/><Relationship Id="rId2" Type="http://schemas.openxmlformats.org/officeDocument/2006/relationships/slideMaster" Target="../slideMasters/slideMaster15.xml"/><Relationship Id="rId1" Type="http://schemas.openxmlformats.org/officeDocument/2006/relationships/tags" Target="../tags/tag57.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9.emf"/><Relationship Id="rId9" Type="http://schemas.openxmlformats.org/officeDocument/2006/relationships/image" Target="../media/image12.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oleObject" Target="../embeddings/oleObject58.bin"/><Relationship Id="rId7" Type="http://schemas.openxmlformats.org/officeDocument/2006/relationships/image" Target="../media/image65.png"/><Relationship Id="rId2" Type="http://schemas.openxmlformats.org/officeDocument/2006/relationships/slideMaster" Target="../slideMasters/slideMaster15.xml"/><Relationship Id="rId1" Type="http://schemas.openxmlformats.org/officeDocument/2006/relationships/tags" Target="../tags/tag58.xml"/><Relationship Id="rId6" Type="http://schemas.openxmlformats.org/officeDocument/2006/relationships/image" Target="../media/image64.svg"/><Relationship Id="rId11" Type="http://schemas.openxmlformats.org/officeDocument/2006/relationships/image" Target="../media/image12.svg"/><Relationship Id="rId5" Type="http://schemas.openxmlformats.org/officeDocument/2006/relationships/image" Target="../media/image63.png"/><Relationship Id="rId10" Type="http://schemas.openxmlformats.org/officeDocument/2006/relationships/image" Target="../media/image11.png"/><Relationship Id="rId4" Type="http://schemas.openxmlformats.org/officeDocument/2006/relationships/image" Target="../media/image9.emf"/><Relationship Id="rId9" Type="http://schemas.openxmlformats.org/officeDocument/2006/relationships/image" Target="../media/image10.png"/></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image" Target="../media/image63.png"/><Relationship Id="rId7" Type="http://schemas.openxmlformats.org/officeDocument/2006/relationships/oleObject" Target="../embeddings/oleObject59.bin"/><Relationship Id="rId2" Type="http://schemas.openxmlformats.org/officeDocument/2006/relationships/slideMaster" Target="../slideMasters/slideMaster15.xml"/><Relationship Id="rId1" Type="http://schemas.openxmlformats.org/officeDocument/2006/relationships/tags" Target="../tags/tag59.xml"/><Relationship Id="rId6" Type="http://schemas.openxmlformats.org/officeDocument/2006/relationships/image" Target="../media/image68.svg"/><Relationship Id="rId11" Type="http://schemas.openxmlformats.org/officeDocument/2006/relationships/image" Target="../media/image10.png"/><Relationship Id="rId5" Type="http://schemas.openxmlformats.org/officeDocument/2006/relationships/image" Target="../media/image67.png"/><Relationship Id="rId10" Type="http://schemas.openxmlformats.org/officeDocument/2006/relationships/image" Target="../media/image12.svg"/><Relationship Id="rId4" Type="http://schemas.openxmlformats.org/officeDocument/2006/relationships/image" Target="../media/image64.svg"/><Relationship Id="rId9" Type="http://schemas.openxmlformats.org/officeDocument/2006/relationships/image" Target="../media/image11.png"/></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image" Target="../media/image63.png"/><Relationship Id="rId7" Type="http://schemas.openxmlformats.org/officeDocument/2006/relationships/oleObject" Target="../embeddings/oleObject60.bin"/><Relationship Id="rId2" Type="http://schemas.openxmlformats.org/officeDocument/2006/relationships/slideMaster" Target="../slideMasters/slideMaster15.xml"/><Relationship Id="rId1" Type="http://schemas.openxmlformats.org/officeDocument/2006/relationships/tags" Target="../tags/tag60.xml"/><Relationship Id="rId6" Type="http://schemas.openxmlformats.org/officeDocument/2006/relationships/image" Target="../media/image70.svg"/><Relationship Id="rId11" Type="http://schemas.openxmlformats.org/officeDocument/2006/relationships/image" Target="../media/image10.png"/><Relationship Id="rId5" Type="http://schemas.openxmlformats.org/officeDocument/2006/relationships/image" Target="../media/image69.png"/><Relationship Id="rId10" Type="http://schemas.openxmlformats.org/officeDocument/2006/relationships/image" Target="../media/image12.svg"/><Relationship Id="rId4" Type="http://schemas.openxmlformats.org/officeDocument/2006/relationships/image" Target="../media/image64.svg"/><Relationship Id="rId9" Type="http://schemas.openxmlformats.org/officeDocument/2006/relationships/image" Target="../media/image11.pn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image" Target="../media/image63.png"/><Relationship Id="rId7" Type="http://schemas.openxmlformats.org/officeDocument/2006/relationships/oleObject" Target="../embeddings/oleObject61.bin"/><Relationship Id="rId2" Type="http://schemas.openxmlformats.org/officeDocument/2006/relationships/slideMaster" Target="../slideMasters/slideMaster15.xml"/><Relationship Id="rId1" Type="http://schemas.openxmlformats.org/officeDocument/2006/relationships/tags" Target="../tags/tag61.xml"/><Relationship Id="rId6" Type="http://schemas.openxmlformats.org/officeDocument/2006/relationships/image" Target="../media/image72.svg"/><Relationship Id="rId5" Type="http://schemas.openxmlformats.org/officeDocument/2006/relationships/image" Target="../media/image71.png"/><Relationship Id="rId10" Type="http://schemas.openxmlformats.org/officeDocument/2006/relationships/image" Target="../media/image14.png"/><Relationship Id="rId4" Type="http://schemas.openxmlformats.org/officeDocument/2006/relationships/image" Target="../media/image64.svg"/><Relationship Id="rId9" Type="http://schemas.openxmlformats.org/officeDocument/2006/relationships/image" Target="../media/image60.png"/></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5.xml"/><Relationship Id="rId1" Type="http://schemas.openxmlformats.org/officeDocument/2006/relationships/tags" Target="../tags/tag62.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5.xml"/><Relationship Id="rId1" Type="http://schemas.openxmlformats.org/officeDocument/2006/relationships/tags" Target="../tags/tag63.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5.xml"/><Relationship Id="rId1" Type="http://schemas.openxmlformats.org/officeDocument/2006/relationships/tags" Target="../tags/tag64.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5.xml"/><Relationship Id="rId1" Type="http://schemas.openxmlformats.org/officeDocument/2006/relationships/tags" Target="../tags/tag65.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5.xml"/><Relationship Id="rId1" Type="http://schemas.openxmlformats.org/officeDocument/2006/relationships/tags" Target="../tags/tag66.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5.xml"/><Relationship Id="rId1" Type="http://schemas.openxmlformats.org/officeDocument/2006/relationships/tags" Target="../tags/tag67.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5.xml"/><Relationship Id="rId1" Type="http://schemas.openxmlformats.org/officeDocument/2006/relationships/tags" Target="../tags/tag68.xml"/><Relationship Id="rId5" Type="http://schemas.openxmlformats.org/officeDocument/2006/relationships/image" Target="../media/image14.png"/><Relationship Id="rId4" Type="http://schemas.openxmlformats.org/officeDocument/2006/relationships/image" Target="../media/image9.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5.xml"/><Relationship Id="rId1" Type="http://schemas.openxmlformats.org/officeDocument/2006/relationships/tags" Target="../tags/tag69.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73.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5.xml"/><Relationship Id="rId1" Type="http://schemas.openxmlformats.org/officeDocument/2006/relationships/tags" Target="../tags/tag70.xml"/><Relationship Id="rId4" Type="http://schemas.openxmlformats.org/officeDocument/2006/relationships/image" Target="../media/image73.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5.xml"/><Relationship Id="rId1" Type="http://schemas.openxmlformats.org/officeDocument/2006/relationships/tags" Target="../tags/tag71.xml"/><Relationship Id="rId4" Type="http://schemas.openxmlformats.org/officeDocument/2006/relationships/image" Target="../media/image73.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5.xml"/><Relationship Id="rId1" Type="http://schemas.openxmlformats.org/officeDocument/2006/relationships/tags" Target="../tags/tag72.xml"/><Relationship Id="rId4" Type="http://schemas.openxmlformats.org/officeDocument/2006/relationships/image" Target="../media/image73.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5.xml"/><Relationship Id="rId1" Type="http://schemas.openxmlformats.org/officeDocument/2006/relationships/tags" Target="../tags/tag73.xml"/><Relationship Id="rId4" Type="http://schemas.openxmlformats.org/officeDocument/2006/relationships/image" Target="../media/image73.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74.bin"/><Relationship Id="rId7" Type="http://schemas.openxmlformats.org/officeDocument/2006/relationships/image" Target="../media/image14.png"/><Relationship Id="rId2" Type="http://schemas.openxmlformats.org/officeDocument/2006/relationships/slideMaster" Target="../slideMasters/slideMaster15.xml"/><Relationship Id="rId1" Type="http://schemas.openxmlformats.org/officeDocument/2006/relationships/tags" Target="../tags/tag74.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9.emf"/></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oleObject" Target="../embeddings/oleObject75.bin"/><Relationship Id="rId7" Type="http://schemas.openxmlformats.org/officeDocument/2006/relationships/image" Target="../media/image11.png"/><Relationship Id="rId2" Type="http://schemas.openxmlformats.org/officeDocument/2006/relationships/slideMaster" Target="../slideMasters/slideMaster15.xml"/><Relationship Id="rId1" Type="http://schemas.openxmlformats.org/officeDocument/2006/relationships/tags" Target="../tags/tag75.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3.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76.bin"/><Relationship Id="rId7" Type="http://schemas.openxmlformats.org/officeDocument/2006/relationships/image" Target="../media/image14.png"/><Relationship Id="rId2" Type="http://schemas.openxmlformats.org/officeDocument/2006/relationships/slideMaster" Target="../slideMasters/slideMaster15.xml"/><Relationship Id="rId1" Type="http://schemas.openxmlformats.org/officeDocument/2006/relationships/tags" Target="../tags/tag76.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9.emf"/></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oleObject" Target="../embeddings/oleObject77.bin"/><Relationship Id="rId7" Type="http://schemas.openxmlformats.org/officeDocument/2006/relationships/image" Target="../media/image11.png"/><Relationship Id="rId2" Type="http://schemas.openxmlformats.org/officeDocument/2006/relationships/slideMaster" Target="../slideMasters/slideMaster15.xml"/><Relationship Id="rId1" Type="http://schemas.openxmlformats.org/officeDocument/2006/relationships/tags" Target="../tags/tag77.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5.xml"/><Relationship Id="rId1" Type="http://schemas.openxmlformats.org/officeDocument/2006/relationships/tags" Target="../tags/tag78.xml"/><Relationship Id="rId4" Type="http://schemas.openxmlformats.org/officeDocument/2006/relationships/image" Target="../media/image9.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5.xml"/><Relationship Id="rId1" Type="http://schemas.openxmlformats.org/officeDocument/2006/relationships/tags" Target="../tags/tag79.xml"/><Relationship Id="rId4" Type="http://schemas.openxmlformats.org/officeDocument/2006/relationships/image" Target="../media/image9.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5.xml"/><Relationship Id="rId1" Type="http://schemas.openxmlformats.org/officeDocument/2006/relationships/tags" Target="../tags/tag80.xml"/><Relationship Id="rId4" Type="http://schemas.openxmlformats.org/officeDocument/2006/relationships/image" Target="../media/image9.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5.xml"/><Relationship Id="rId1" Type="http://schemas.openxmlformats.org/officeDocument/2006/relationships/tags" Target="../tags/tag81.xml"/><Relationship Id="rId4" Type="http://schemas.openxmlformats.org/officeDocument/2006/relationships/image" Target="../media/image9.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5.xml"/><Relationship Id="rId1" Type="http://schemas.openxmlformats.org/officeDocument/2006/relationships/tags" Target="../tags/tag82.xml"/><Relationship Id="rId4" Type="http://schemas.openxmlformats.org/officeDocument/2006/relationships/image" Target="../media/image9.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5.xml"/><Relationship Id="rId1" Type="http://schemas.openxmlformats.org/officeDocument/2006/relationships/tags" Target="../tags/tag83.xml"/><Relationship Id="rId4" Type="http://schemas.openxmlformats.org/officeDocument/2006/relationships/image" Target="../media/image9.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5.xml"/><Relationship Id="rId1" Type="http://schemas.openxmlformats.org/officeDocument/2006/relationships/tags" Target="../tags/tag84.xml"/><Relationship Id="rId4" Type="http://schemas.openxmlformats.org/officeDocument/2006/relationships/image" Target="../media/image9.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5.xml"/><Relationship Id="rId1" Type="http://schemas.openxmlformats.org/officeDocument/2006/relationships/tags" Target="../tags/tag8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5.xml"/><Relationship Id="rId1" Type="http://schemas.openxmlformats.org/officeDocument/2006/relationships/tags" Target="../tags/tag86.xml"/><Relationship Id="rId4" Type="http://schemas.openxmlformats.org/officeDocument/2006/relationships/image" Target="../media/image9.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5.xml"/><Relationship Id="rId1" Type="http://schemas.openxmlformats.org/officeDocument/2006/relationships/tags" Target="../tags/tag87.xml"/><Relationship Id="rId4"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5.xml"/><Relationship Id="rId1" Type="http://schemas.openxmlformats.org/officeDocument/2006/relationships/tags" Target="../tags/tag88.xml"/><Relationship Id="rId4" Type="http://schemas.openxmlformats.org/officeDocument/2006/relationships/image" Target="../media/image9.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5.xml"/><Relationship Id="rId1" Type="http://schemas.openxmlformats.org/officeDocument/2006/relationships/tags" Target="../tags/tag89.xml"/><Relationship Id="rId4" Type="http://schemas.openxmlformats.org/officeDocument/2006/relationships/image" Target="../media/image79.emf"/></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90.bin"/><Relationship Id="rId7" Type="http://schemas.openxmlformats.org/officeDocument/2006/relationships/image" Target="../media/image74.png"/><Relationship Id="rId2" Type="http://schemas.openxmlformats.org/officeDocument/2006/relationships/slideMaster" Target="../slideMasters/slideMaster15.xml"/><Relationship Id="rId1" Type="http://schemas.openxmlformats.org/officeDocument/2006/relationships/tags" Target="../tags/tag90.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9.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5.xml"/><Relationship Id="rId1" Type="http://schemas.openxmlformats.org/officeDocument/2006/relationships/tags" Target="../tags/tag91.xml"/><Relationship Id="rId5" Type="http://schemas.openxmlformats.org/officeDocument/2006/relationships/image" Target="../media/image13.png"/><Relationship Id="rId4" Type="http://schemas.openxmlformats.org/officeDocument/2006/relationships/image" Target="../media/image9.emf"/></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92.bin"/><Relationship Id="rId7" Type="http://schemas.openxmlformats.org/officeDocument/2006/relationships/image" Target="../media/image13.png"/><Relationship Id="rId2" Type="http://schemas.openxmlformats.org/officeDocument/2006/relationships/slideMaster" Target="../slideMasters/slideMaster15.xml"/><Relationship Id="rId1" Type="http://schemas.openxmlformats.org/officeDocument/2006/relationships/tags" Target="../tags/tag92.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9.emf"/><Relationship Id="rId9" Type="http://schemas.openxmlformats.org/officeDocument/2006/relationships/image" Target="../media/image12.svg"/></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5.xml"/><Relationship Id="rId1" Type="http://schemas.openxmlformats.org/officeDocument/2006/relationships/tags" Target="../tags/tag93.xml"/><Relationship Id="rId4" Type="http://schemas.openxmlformats.org/officeDocument/2006/relationships/image" Target="../media/image9.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5.xml"/><Relationship Id="rId1" Type="http://schemas.openxmlformats.org/officeDocument/2006/relationships/tags" Target="../tags/tag94.xml"/><Relationship Id="rId5" Type="http://schemas.openxmlformats.org/officeDocument/2006/relationships/image" Target="../media/image13.png"/><Relationship Id="rId4" Type="http://schemas.openxmlformats.org/officeDocument/2006/relationships/image" Target="../media/image9.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5.xml"/><Relationship Id="rId1" Type="http://schemas.openxmlformats.org/officeDocument/2006/relationships/tags" Target="../tags/tag95.xml"/><Relationship Id="rId6" Type="http://schemas.openxmlformats.org/officeDocument/2006/relationships/image" Target="../media/image74.png"/><Relationship Id="rId5" Type="http://schemas.openxmlformats.org/officeDocument/2006/relationships/image" Target="../media/image55.png"/><Relationship Id="rId4" Type="http://schemas.openxmlformats.org/officeDocument/2006/relationships/image" Target="../media/image9.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5.xml"/><Relationship Id="rId1" Type="http://schemas.openxmlformats.org/officeDocument/2006/relationships/tags" Target="../tags/tag96.xml"/><Relationship Id="rId6" Type="http://schemas.openxmlformats.org/officeDocument/2006/relationships/image" Target="../media/image74.png"/><Relationship Id="rId5" Type="http://schemas.openxmlformats.org/officeDocument/2006/relationships/image" Target="../media/image55.png"/><Relationship Id="rId4" Type="http://schemas.openxmlformats.org/officeDocument/2006/relationships/image" Target="../media/image9.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5.xml"/><Relationship Id="rId1" Type="http://schemas.openxmlformats.org/officeDocument/2006/relationships/tags" Target="../tags/tag97.xml"/><Relationship Id="rId5" Type="http://schemas.openxmlformats.org/officeDocument/2006/relationships/image" Target="../media/image13.png"/><Relationship Id="rId4" Type="http://schemas.openxmlformats.org/officeDocument/2006/relationships/image" Target="../media/image9.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tags" Target="../tags/tag98.xml"/><Relationship Id="rId4" Type="http://schemas.openxmlformats.org/officeDocument/2006/relationships/image" Target="../media/image73.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99.bin"/><Relationship Id="rId7" Type="http://schemas.openxmlformats.org/officeDocument/2006/relationships/image" Target="../media/image13.png"/><Relationship Id="rId2" Type="http://schemas.openxmlformats.org/officeDocument/2006/relationships/slideMaster" Target="../slideMasters/slideMaster15.xml"/><Relationship Id="rId1" Type="http://schemas.openxmlformats.org/officeDocument/2006/relationships/tags" Target="../tags/tag9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9.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5.xml"/><Relationship Id="rId1" Type="http://schemas.openxmlformats.org/officeDocument/2006/relationships/tags" Target="../tags/tag100.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9.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5.xml"/><Relationship Id="rId1" Type="http://schemas.openxmlformats.org/officeDocument/2006/relationships/tags" Target="../tags/tag101.xml"/><Relationship Id="rId4" Type="http://schemas.openxmlformats.org/officeDocument/2006/relationships/image" Target="../media/image9.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02.bin"/><Relationship Id="rId7" Type="http://schemas.openxmlformats.org/officeDocument/2006/relationships/image" Target="../media/image12.svg"/><Relationship Id="rId2" Type="http://schemas.openxmlformats.org/officeDocument/2006/relationships/slideMaster" Target="../slideMasters/slideMaster15.xml"/><Relationship Id="rId1" Type="http://schemas.openxmlformats.org/officeDocument/2006/relationships/tags" Target="../tags/tag10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5.emf"/><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12.svg"/><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9.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9.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0.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slideMaster" Target="../slideMasters/slideMaster3.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4.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25.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27.emf"/><Relationship Id="rId4" Type="http://schemas.openxmlformats.org/officeDocument/2006/relationships/image" Target="../media/image26.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7.e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 Id="rId5" Type="http://schemas.openxmlformats.org/officeDocument/2006/relationships/image" Target="../media/image35.emf"/><Relationship Id="rId4" Type="http://schemas.openxmlformats.org/officeDocument/2006/relationships/image" Target="../media/image34.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8.xml"/><Relationship Id="rId5" Type="http://schemas.openxmlformats.org/officeDocument/2006/relationships/image" Target="../media/image39.emf"/><Relationship Id="rId4" Type="http://schemas.openxmlformats.org/officeDocument/2006/relationships/image" Target="../media/image38.emf"/></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9.emf"/><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 Id="rId5" Type="http://schemas.openxmlformats.org/officeDocument/2006/relationships/image" Target="../media/image43.emf"/><Relationship Id="rId4" Type="http://schemas.openxmlformats.org/officeDocument/2006/relationships/image" Target="../media/image42.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3.emf"/><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7.png"/><Relationship Id="rId1" Type="http://schemas.openxmlformats.org/officeDocument/2006/relationships/slideMaster" Target="../slideMasters/slideMaster10.xml"/><Relationship Id="rId5" Type="http://schemas.openxmlformats.org/officeDocument/2006/relationships/image" Target="../media/image48.emf"/><Relationship Id="rId4" Type="http://schemas.openxmlformats.org/officeDocument/2006/relationships/image" Target="../media/image47.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7.png"/><Relationship Id="rId1" Type="http://schemas.openxmlformats.org/officeDocument/2006/relationships/slideMaster" Target="../slideMasters/slideMaster11.xml"/><Relationship Id="rId5" Type="http://schemas.openxmlformats.org/officeDocument/2006/relationships/image" Target="../media/image52.emf"/><Relationship Id="rId4" Type="http://schemas.openxmlformats.org/officeDocument/2006/relationships/image" Target="../media/image51.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emf"/><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7.png"/><Relationship Id="rId1" Type="http://schemas.openxmlformats.org/officeDocument/2006/relationships/slideMaster" Target="../slideMasters/slideMaster12.xml"/><Relationship Id="rId5" Type="http://schemas.openxmlformats.org/officeDocument/2006/relationships/image" Target="../media/image54.emf"/><Relationship Id="rId4" Type="http://schemas.openxmlformats.org/officeDocument/2006/relationships/image" Target="../media/image53.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4.emf"/><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7.png"/><Relationship Id="rId1" Type="http://schemas.openxmlformats.org/officeDocument/2006/relationships/slideMaster" Target="../slideMasters/slideMaster13.xml"/><Relationship Id="rId5" Type="http://schemas.openxmlformats.org/officeDocument/2006/relationships/image" Target="../media/image5.emf"/><Relationship Id="rId4" Type="http://schemas.openxmlformats.org/officeDocument/2006/relationships/image" Target="../media/image6.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8.png"/><Relationship Id="rId7" Type="http://schemas.openxmlformats.org/officeDocument/2006/relationships/image" Target="../media/image14.png"/><Relationship Id="rId2" Type="http://schemas.openxmlformats.org/officeDocument/2006/relationships/slideMaster" Target="../slideMasters/slideMaster14.xml"/><Relationship Id="rId1" Type="http://schemas.openxmlformats.org/officeDocument/2006/relationships/tags" Target="../tags/tag8.x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image" Target="../media/image59.sv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oleObject" Target="../embeddings/oleObject9.bin"/><Relationship Id="rId7" Type="http://schemas.openxmlformats.org/officeDocument/2006/relationships/image" Target="../media/image10.png"/><Relationship Id="rId2" Type="http://schemas.openxmlformats.org/officeDocument/2006/relationships/slideMaster" Target="../slideMasters/slideMaster14.xml"/><Relationship Id="rId1" Type="http://schemas.openxmlformats.org/officeDocument/2006/relationships/tags" Target="../tags/tag9.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9.emf"/><Relationship Id="rId9" Type="http://schemas.openxmlformats.org/officeDocument/2006/relationships/image" Target="../media/image12.sv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oleObject" Target="../embeddings/oleObject10.bin"/><Relationship Id="rId7" Type="http://schemas.openxmlformats.org/officeDocument/2006/relationships/image" Target="../media/image65.png"/><Relationship Id="rId2" Type="http://schemas.openxmlformats.org/officeDocument/2006/relationships/slideMaster" Target="../slideMasters/slideMaster14.xml"/><Relationship Id="rId1" Type="http://schemas.openxmlformats.org/officeDocument/2006/relationships/tags" Target="../tags/tag10.xml"/><Relationship Id="rId6" Type="http://schemas.openxmlformats.org/officeDocument/2006/relationships/image" Target="../media/image64.svg"/><Relationship Id="rId11" Type="http://schemas.openxmlformats.org/officeDocument/2006/relationships/image" Target="../media/image12.svg"/><Relationship Id="rId5" Type="http://schemas.openxmlformats.org/officeDocument/2006/relationships/image" Target="../media/image63.png"/><Relationship Id="rId10" Type="http://schemas.openxmlformats.org/officeDocument/2006/relationships/image" Target="../media/image11.png"/><Relationship Id="rId4" Type="http://schemas.openxmlformats.org/officeDocument/2006/relationships/image" Target="../media/image9.emf"/><Relationship Id="rId9" Type="http://schemas.openxmlformats.org/officeDocument/2006/relationships/image" Target="../media/image10.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image" Target="../media/image63.png"/><Relationship Id="rId7" Type="http://schemas.openxmlformats.org/officeDocument/2006/relationships/oleObject" Target="../embeddings/oleObject11.bin"/><Relationship Id="rId2" Type="http://schemas.openxmlformats.org/officeDocument/2006/relationships/slideMaster" Target="../slideMasters/slideMaster14.xml"/><Relationship Id="rId1" Type="http://schemas.openxmlformats.org/officeDocument/2006/relationships/tags" Target="../tags/tag11.xml"/><Relationship Id="rId6" Type="http://schemas.openxmlformats.org/officeDocument/2006/relationships/image" Target="../media/image68.svg"/><Relationship Id="rId11" Type="http://schemas.openxmlformats.org/officeDocument/2006/relationships/image" Target="../media/image10.png"/><Relationship Id="rId5" Type="http://schemas.openxmlformats.org/officeDocument/2006/relationships/image" Target="../media/image67.png"/><Relationship Id="rId10" Type="http://schemas.openxmlformats.org/officeDocument/2006/relationships/image" Target="../media/image12.svg"/><Relationship Id="rId4" Type="http://schemas.openxmlformats.org/officeDocument/2006/relationships/image" Target="../media/image64.svg"/><Relationship Id="rId9" Type="http://schemas.openxmlformats.org/officeDocument/2006/relationships/image" Target="../media/image11.png"/></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image" Target="../media/image63.png"/><Relationship Id="rId7" Type="http://schemas.openxmlformats.org/officeDocument/2006/relationships/oleObject" Target="../embeddings/oleObject12.bin"/><Relationship Id="rId2" Type="http://schemas.openxmlformats.org/officeDocument/2006/relationships/slideMaster" Target="../slideMasters/slideMaster14.xml"/><Relationship Id="rId1" Type="http://schemas.openxmlformats.org/officeDocument/2006/relationships/tags" Target="../tags/tag12.xml"/><Relationship Id="rId6" Type="http://schemas.openxmlformats.org/officeDocument/2006/relationships/image" Target="../media/image70.svg"/><Relationship Id="rId11" Type="http://schemas.openxmlformats.org/officeDocument/2006/relationships/image" Target="../media/image10.png"/><Relationship Id="rId5" Type="http://schemas.openxmlformats.org/officeDocument/2006/relationships/image" Target="../media/image69.png"/><Relationship Id="rId10" Type="http://schemas.openxmlformats.org/officeDocument/2006/relationships/image" Target="../media/image12.svg"/><Relationship Id="rId4" Type="http://schemas.openxmlformats.org/officeDocument/2006/relationships/image" Target="../media/image64.svg"/><Relationship Id="rId9" Type="http://schemas.openxmlformats.org/officeDocument/2006/relationships/image" Target="../media/image11.png"/></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image" Target="../media/image63.png"/><Relationship Id="rId7" Type="http://schemas.openxmlformats.org/officeDocument/2006/relationships/oleObject" Target="../embeddings/oleObject13.bin"/><Relationship Id="rId2" Type="http://schemas.openxmlformats.org/officeDocument/2006/relationships/slideMaster" Target="../slideMasters/slideMaster14.xml"/><Relationship Id="rId1" Type="http://schemas.openxmlformats.org/officeDocument/2006/relationships/tags" Target="../tags/tag13.xml"/><Relationship Id="rId6" Type="http://schemas.openxmlformats.org/officeDocument/2006/relationships/image" Target="../media/image72.svg"/><Relationship Id="rId5" Type="http://schemas.openxmlformats.org/officeDocument/2006/relationships/image" Target="../media/image71.png"/><Relationship Id="rId10" Type="http://schemas.openxmlformats.org/officeDocument/2006/relationships/image" Target="../media/image14.png"/><Relationship Id="rId4" Type="http://schemas.openxmlformats.org/officeDocument/2006/relationships/image" Target="../media/image64.svg"/><Relationship Id="rId9" Type="http://schemas.openxmlformats.org/officeDocument/2006/relationships/image" Target="../media/image60.png"/></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4.xml"/><Relationship Id="rId1" Type="http://schemas.openxmlformats.org/officeDocument/2006/relationships/tags" Target="../tags/tag14.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4.xml"/><Relationship Id="rId1" Type="http://schemas.openxmlformats.org/officeDocument/2006/relationships/tags" Target="../tags/tag15.xml"/><Relationship Id="rId5" Type="http://schemas.openxmlformats.org/officeDocument/2006/relationships/image" Target="../media/image74.png"/><Relationship Id="rId4" Type="http://schemas.openxmlformats.org/officeDocument/2006/relationships/image" Target="../media/image73.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4.xml"/><Relationship Id="rId1" Type="http://schemas.openxmlformats.org/officeDocument/2006/relationships/tags" Target="../tags/tag16.xml"/><Relationship Id="rId5" Type="http://schemas.openxmlformats.org/officeDocument/2006/relationships/image" Target="../media/image74.png"/><Relationship Id="rId4" Type="http://schemas.openxmlformats.org/officeDocument/2006/relationships/image" Target="../media/image7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ubbles with title">
    <p:spTree>
      <p:nvGrpSpPr>
        <p:cNvPr id="1" name=""/>
        <p:cNvGrpSpPr/>
        <p:nvPr/>
      </p:nvGrpSpPr>
      <p:grpSpPr>
        <a:xfrm>
          <a:off x="0" y="0"/>
          <a:ext cx="0" cy="0"/>
          <a:chOff x="0" y="0"/>
          <a:chExt cx="0" cy="0"/>
        </a:xfrm>
      </p:grpSpPr>
      <p:pic>
        <p:nvPicPr>
          <p:cNvPr id="12" name="Picture 4" descr="Logo, company name&#10;&#10;Description automatically generated">
            <a:extLst>
              <a:ext uri="{FF2B5EF4-FFF2-40B4-BE49-F238E27FC236}">
                <a16:creationId xmlns:a16="http://schemas.microsoft.com/office/drawing/2014/main" id="{48E419A9-5AAA-F780-D314-227194908B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66528" y="221803"/>
            <a:ext cx="1838245" cy="698851"/>
          </a:xfrm>
          <a:prstGeom prst="rect">
            <a:avLst/>
          </a:prstGeom>
        </p:spPr>
      </p:pic>
      <p:sp>
        <p:nvSpPr>
          <p:cNvPr id="13" name="Ellipse 12">
            <a:extLst>
              <a:ext uri="{FF2B5EF4-FFF2-40B4-BE49-F238E27FC236}">
                <a16:creationId xmlns:a16="http://schemas.microsoft.com/office/drawing/2014/main" id="{C05C9E9E-AE9A-CCCB-A1EE-56BE84147A16}"/>
              </a:ext>
            </a:extLst>
          </p:cNvPr>
          <p:cNvSpPr/>
          <p:nvPr userDrawn="1"/>
        </p:nvSpPr>
        <p:spPr>
          <a:xfrm>
            <a:off x="10213629" y="4225941"/>
            <a:ext cx="1410946" cy="14109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Ellipse 13">
            <a:extLst>
              <a:ext uri="{FF2B5EF4-FFF2-40B4-BE49-F238E27FC236}">
                <a16:creationId xmlns:a16="http://schemas.microsoft.com/office/drawing/2014/main" id="{1F1E27E4-836A-4EBC-AC0E-5EC16DA0506E}"/>
              </a:ext>
            </a:extLst>
          </p:cNvPr>
          <p:cNvSpPr/>
          <p:nvPr userDrawn="1"/>
        </p:nvSpPr>
        <p:spPr>
          <a:xfrm>
            <a:off x="10992856" y="6120469"/>
            <a:ext cx="2627495" cy="26274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0F3EE9D2-9B08-77D1-9FED-64E69102BA16}"/>
              </a:ext>
            </a:extLst>
          </p:cNvPr>
          <p:cNvSpPr/>
          <p:nvPr userDrawn="1"/>
        </p:nvSpPr>
        <p:spPr>
          <a:xfrm>
            <a:off x="9581953" y="5785985"/>
            <a:ext cx="1075494" cy="10754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16" name="Ellipse 15">
            <a:extLst>
              <a:ext uri="{FF2B5EF4-FFF2-40B4-BE49-F238E27FC236}">
                <a16:creationId xmlns:a16="http://schemas.microsoft.com/office/drawing/2014/main" id="{F6C5BF69-168D-0545-C7C3-439FCC048044}"/>
              </a:ext>
            </a:extLst>
          </p:cNvPr>
          <p:cNvSpPr/>
          <p:nvPr userDrawn="1"/>
        </p:nvSpPr>
        <p:spPr>
          <a:xfrm>
            <a:off x="9139384" y="4598314"/>
            <a:ext cx="589353" cy="5892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61E02421-0CE6-876D-253B-4ACBCE360236}"/>
              </a:ext>
            </a:extLst>
          </p:cNvPr>
          <p:cNvSpPr/>
          <p:nvPr userDrawn="1"/>
        </p:nvSpPr>
        <p:spPr>
          <a:xfrm>
            <a:off x="12040974" y="4841325"/>
            <a:ext cx="926887" cy="92688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 name="Ellipse 17">
            <a:extLst>
              <a:ext uri="{FF2B5EF4-FFF2-40B4-BE49-F238E27FC236}">
                <a16:creationId xmlns:a16="http://schemas.microsoft.com/office/drawing/2014/main" id="{1B54E97E-8B6C-A261-DA6C-646A4DA92150}"/>
              </a:ext>
            </a:extLst>
          </p:cNvPr>
          <p:cNvSpPr/>
          <p:nvPr userDrawn="1"/>
        </p:nvSpPr>
        <p:spPr>
          <a:xfrm>
            <a:off x="11386899" y="3221066"/>
            <a:ext cx="897633" cy="8976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Ellipse 18">
            <a:extLst>
              <a:ext uri="{FF2B5EF4-FFF2-40B4-BE49-F238E27FC236}">
                <a16:creationId xmlns:a16="http://schemas.microsoft.com/office/drawing/2014/main" id="{FD870BD0-3DC4-CE3D-1A15-F2C7489E7E2F}"/>
              </a:ext>
            </a:extLst>
          </p:cNvPr>
          <p:cNvSpPr/>
          <p:nvPr userDrawn="1"/>
        </p:nvSpPr>
        <p:spPr>
          <a:xfrm>
            <a:off x="10101492" y="3581708"/>
            <a:ext cx="326231" cy="32618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Ellipse 19">
            <a:extLst>
              <a:ext uri="{FF2B5EF4-FFF2-40B4-BE49-F238E27FC236}">
                <a16:creationId xmlns:a16="http://schemas.microsoft.com/office/drawing/2014/main" id="{5E144B33-9B63-A459-2EAD-A7449C2C3BA5}"/>
              </a:ext>
            </a:extLst>
          </p:cNvPr>
          <p:cNvSpPr/>
          <p:nvPr userDrawn="1"/>
        </p:nvSpPr>
        <p:spPr>
          <a:xfrm>
            <a:off x="824618" y="1344421"/>
            <a:ext cx="589353" cy="5892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4912E01E-C4CD-DBF6-58A9-26CA3BA46B63}"/>
              </a:ext>
            </a:extLst>
          </p:cNvPr>
          <p:cNvSpPr/>
          <p:nvPr userDrawn="1"/>
        </p:nvSpPr>
        <p:spPr>
          <a:xfrm>
            <a:off x="-1082877" y="-1291957"/>
            <a:ext cx="2627495" cy="26274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Ellipse 21">
            <a:extLst>
              <a:ext uri="{FF2B5EF4-FFF2-40B4-BE49-F238E27FC236}">
                <a16:creationId xmlns:a16="http://schemas.microsoft.com/office/drawing/2014/main" id="{D9B63C64-586C-0FD9-D574-30AAF00B63BA}"/>
              </a:ext>
            </a:extLst>
          </p:cNvPr>
          <p:cNvSpPr/>
          <p:nvPr userDrawn="1"/>
        </p:nvSpPr>
        <p:spPr>
          <a:xfrm>
            <a:off x="774206" y="2229942"/>
            <a:ext cx="1075494" cy="10754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23" name="Ellipse 22">
            <a:extLst>
              <a:ext uri="{FF2B5EF4-FFF2-40B4-BE49-F238E27FC236}">
                <a16:creationId xmlns:a16="http://schemas.microsoft.com/office/drawing/2014/main" id="{3211A6E5-F2FE-99D1-C27E-2264E9EFE097}"/>
              </a:ext>
            </a:extLst>
          </p:cNvPr>
          <p:cNvSpPr/>
          <p:nvPr userDrawn="1"/>
        </p:nvSpPr>
        <p:spPr>
          <a:xfrm>
            <a:off x="1849700" y="-304979"/>
            <a:ext cx="926887" cy="92688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Ellipse 23">
            <a:extLst>
              <a:ext uri="{FF2B5EF4-FFF2-40B4-BE49-F238E27FC236}">
                <a16:creationId xmlns:a16="http://schemas.microsoft.com/office/drawing/2014/main" id="{D7157149-4933-83A2-33F2-81A338C098C0}"/>
              </a:ext>
            </a:extLst>
          </p:cNvPr>
          <p:cNvSpPr/>
          <p:nvPr userDrawn="1"/>
        </p:nvSpPr>
        <p:spPr>
          <a:xfrm>
            <a:off x="1931262" y="907256"/>
            <a:ext cx="1463817" cy="146359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47C69F67-66EE-1721-E30E-E97F8B9B9B48}"/>
              </a:ext>
            </a:extLst>
          </p:cNvPr>
          <p:cNvSpPr/>
          <p:nvPr userDrawn="1"/>
        </p:nvSpPr>
        <p:spPr>
          <a:xfrm>
            <a:off x="-690862" y="1761272"/>
            <a:ext cx="897633" cy="8976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8653D88D-D623-6FF9-6313-E3B99BFEB004}"/>
              </a:ext>
            </a:extLst>
          </p:cNvPr>
          <p:cNvSpPr/>
          <p:nvPr userDrawn="1"/>
        </p:nvSpPr>
        <p:spPr>
          <a:xfrm>
            <a:off x="2263805" y="2609839"/>
            <a:ext cx="326231" cy="32618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Rektangel 27">
            <a:extLst>
              <a:ext uri="{FF2B5EF4-FFF2-40B4-BE49-F238E27FC236}">
                <a16:creationId xmlns:a16="http://schemas.microsoft.com/office/drawing/2014/main" id="{03D8B6CF-6E4C-4F63-305B-334B1C74F108}"/>
              </a:ext>
            </a:extLst>
          </p:cNvPr>
          <p:cNvSpPr/>
          <p:nvPr userDrawn="1"/>
        </p:nvSpPr>
        <p:spPr>
          <a:xfrm>
            <a:off x="-588397" y="-1619368"/>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Rektangel 28">
            <a:extLst>
              <a:ext uri="{FF2B5EF4-FFF2-40B4-BE49-F238E27FC236}">
                <a16:creationId xmlns:a16="http://schemas.microsoft.com/office/drawing/2014/main" id="{1192EEC7-0994-4293-0496-EF47B9E1F486}"/>
              </a:ext>
            </a:extLst>
          </p:cNvPr>
          <p:cNvSpPr/>
          <p:nvPr userDrawn="1"/>
        </p:nvSpPr>
        <p:spPr>
          <a:xfrm>
            <a:off x="-2349165" y="-1224501"/>
            <a:ext cx="2282024" cy="48943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ktangel 31">
            <a:extLst>
              <a:ext uri="{FF2B5EF4-FFF2-40B4-BE49-F238E27FC236}">
                <a16:creationId xmlns:a16="http://schemas.microsoft.com/office/drawing/2014/main" id="{DBC54FCC-12A3-2871-B107-1742B82DD7B5}"/>
              </a:ext>
            </a:extLst>
          </p:cNvPr>
          <p:cNvSpPr/>
          <p:nvPr userDrawn="1"/>
        </p:nvSpPr>
        <p:spPr>
          <a:xfrm>
            <a:off x="12189069" y="1367625"/>
            <a:ext cx="2282024" cy="70130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ektangel 32">
            <a:extLst>
              <a:ext uri="{FF2B5EF4-FFF2-40B4-BE49-F238E27FC236}">
                <a16:creationId xmlns:a16="http://schemas.microsoft.com/office/drawing/2014/main" id="{9C59FE9E-D0BB-2DBA-7263-705C27017F52}"/>
              </a:ext>
            </a:extLst>
          </p:cNvPr>
          <p:cNvSpPr/>
          <p:nvPr userDrawn="1"/>
        </p:nvSpPr>
        <p:spPr>
          <a:xfrm>
            <a:off x="-341907" y="6855730"/>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Plassholder for tekst 19">
            <a:extLst>
              <a:ext uri="{FF2B5EF4-FFF2-40B4-BE49-F238E27FC236}">
                <a16:creationId xmlns:a16="http://schemas.microsoft.com/office/drawing/2014/main" id="{016FBA27-B542-CAFA-3416-955CEFF65544}"/>
              </a:ext>
            </a:extLst>
          </p:cNvPr>
          <p:cNvSpPr>
            <a:spLocks noGrp="1"/>
          </p:cNvSpPr>
          <p:nvPr>
            <p:ph type="body" sz="quarter" idx="10"/>
          </p:nvPr>
        </p:nvSpPr>
        <p:spPr>
          <a:xfrm>
            <a:off x="902564" y="4321572"/>
            <a:ext cx="8471189" cy="1700081"/>
          </a:xfrm>
          <a:prstGeom prst="rect">
            <a:avLst/>
          </a:prstGeom>
        </p:spPr>
        <p:txBody>
          <a:bodyPr anchor="b"/>
          <a:lstStyle>
            <a:lvl1pPr marL="0" indent="0">
              <a:buNone/>
              <a:defRPr sz="5000">
                <a:solidFill>
                  <a:schemeClr val="tx1"/>
                </a:solidFill>
                <a:latin typeface="Haffer" pitchFamily="2" charset="77"/>
                <a:cs typeface="Haffer" pitchFamily="2" charset="77"/>
              </a:defRPr>
            </a:lvl1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1410592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8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800"/>
                                        <p:tgtEl>
                                          <p:spTgt spid="26"/>
                                        </p:tgtEl>
                                      </p:cBhvr>
                                    </p:animEffect>
                                  </p:childTnLst>
                                </p:cTn>
                              </p:par>
                              <p:par>
                                <p:cTn id="11" presetID="10" presetClass="entr" presetSubtype="0" fill="hold" grpId="0" nodeType="withEffect">
                                  <p:stCondLst>
                                    <p:cond delay="8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800"/>
                                        <p:tgtEl>
                                          <p:spTgt spid="22"/>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800"/>
                                        <p:tgtEl>
                                          <p:spTgt spid="25"/>
                                        </p:tgtEl>
                                      </p:cBhvr>
                                    </p:animEffect>
                                  </p:childTnLst>
                                </p:cTn>
                              </p:par>
                              <p:par>
                                <p:cTn id="17" presetID="10" presetClass="entr" presetSubtype="0" fill="hold" grpId="0" nodeType="withEffect">
                                  <p:stCondLst>
                                    <p:cond delay="8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800"/>
                                        <p:tgtEl>
                                          <p:spTgt spid="20"/>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800"/>
                                        <p:tgtEl>
                                          <p:spTgt spid="21"/>
                                        </p:tgtEl>
                                      </p:cBhvr>
                                    </p:animEffect>
                                  </p:childTnLst>
                                </p:cTn>
                              </p:par>
                              <p:par>
                                <p:cTn id="23" presetID="10" presetClass="entr" presetSubtype="0" fill="hold" grpId="0" nodeType="withEffect">
                                  <p:stCondLst>
                                    <p:cond delay="120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800"/>
                                        <p:tgtEl>
                                          <p:spTgt spid="23"/>
                                        </p:tgtEl>
                                      </p:cBhvr>
                                    </p:animEffect>
                                  </p:childTnLst>
                                </p:cTn>
                              </p:par>
                              <p:par>
                                <p:cTn id="26" presetID="10" presetClass="entr" presetSubtype="0" fill="hold" grpId="0" nodeType="withEffect">
                                  <p:stCondLst>
                                    <p:cond delay="80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800"/>
                                        <p:tgtEl>
                                          <p:spTgt spid="16"/>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800"/>
                                        <p:tgtEl>
                                          <p:spTgt spid="19"/>
                                        </p:tgtEl>
                                      </p:cBhvr>
                                    </p:animEffect>
                                  </p:childTnLst>
                                </p:cTn>
                              </p:par>
                              <p:par>
                                <p:cTn id="32" presetID="10" presetClass="entr" presetSubtype="0" fill="hold" grpId="0" nodeType="withEffect">
                                  <p:stCondLst>
                                    <p:cond delay="30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800"/>
                                        <p:tgtEl>
                                          <p:spTgt spid="13"/>
                                        </p:tgtEl>
                                      </p:cBhvr>
                                    </p:animEffect>
                                  </p:childTnLst>
                                </p:cTn>
                              </p:par>
                              <p:par>
                                <p:cTn id="35" presetID="10" presetClass="entr" presetSubtype="0" fill="hold" grpId="0" nodeType="withEffect">
                                  <p:stCondLst>
                                    <p:cond delay="7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800"/>
                                        <p:tgtEl>
                                          <p:spTgt spid="18"/>
                                        </p:tgtEl>
                                      </p:cBhvr>
                                    </p:animEffect>
                                  </p:childTnLst>
                                </p:cTn>
                              </p:par>
                              <p:par>
                                <p:cTn id="38" presetID="10" presetClass="entr" presetSubtype="0" fill="hold" grpId="0" nodeType="withEffect">
                                  <p:stCondLst>
                                    <p:cond delay="20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8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800"/>
                                        <p:tgtEl>
                                          <p:spTgt spid="14"/>
                                        </p:tgtEl>
                                      </p:cBhvr>
                                    </p:animEffect>
                                  </p:childTnLst>
                                </p:cTn>
                              </p:par>
                              <p:par>
                                <p:cTn id="44" presetID="10" presetClass="entr" presetSubtype="0" fill="hold" grpId="0" nodeType="withEffect">
                                  <p:stCondLst>
                                    <p:cond delay="90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8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6154077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Agenda 4">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AECAC2-527C-99A2-0D96-5D8F89F01E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8" name="Object 7" hidden="1">
                        <a:extLst>
                          <a:ext uri="{FF2B5EF4-FFF2-40B4-BE49-F238E27FC236}">
                            <a16:creationId xmlns:a16="http://schemas.microsoft.com/office/drawing/2014/main" id="{ACAECAC2-527C-99A2-0D96-5D8F89F01E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EE5E6F2E-1218-E22D-5877-C0280F73DE38}"/>
              </a:ext>
            </a:extLst>
          </p:cNvPr>
          <p:cNvSpPr/>
          <p:nvPr/>
        </p:nvSpPr>
        <p:spPr bwMode="gray">
          <a:xfrm>
            <a:off x="0" y="0"/>
            <a:ext cx="12192000" cy="685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hasCustomPrompt="1"/>
          </p:nvPr>
        </p:nvSpPr>
        <p:spPr bwMode="gray">
          <a:xfrm>
            <a:off x="0" y="1"/>
            <a:ext cx="3095502" cy="6857729"/>
          </a:xfrm>
          <a:solidFill>
            <a:schemeClr val="bg1"/>
          </a:solidFill>
        </p:spPr>
        <p:txBody>
          <a:bodyPr/>
          <a:lstStyle/>
          <a:p>
            <a:r>
              <a:rPr lang="en-US" noProof="0"/>
              <a:t>Add image by clicking on icon and set image in background</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bwMode="gray">
          <a:xfrm>
            <a:off x="4260849" y="542123"/>
            <a:ext cx="7544691" cy="283219"/>
          </a:xfrm>
        </p:spPr>
        <p:txBody>
          <a:bodyPr vert="horz"/>
          <a:lstStyle>
            <a:lvl1pPr>
              <a:defRPr>
                <a:solidFill>
                  <a:schemeClr val="bg1"/>
                </a:solidFill>
              </a:defRPr>
            </a:lvl1pPr>
          </a:lstStyle>
          <a:p>
            <a:r>
              <a:rPr lang="en-US" noProof="0"/>
              <a:t>Agenda</a:t>
            </a:r>
          </a:p>
        </p:txBody>
      </p:sp>
      <p:sp>
        <p:nvSpPr>
          <p:cNvPr id="15" name="Textplatzhalter 14">
            <a:extLst>
              <a:ext uri="{FF2B5EF4-FFF2-40B4-BE49-F238E27FC236}">
                <a16:creationId xmlns:a16="http://schemas.microsoft.com/office/drawing/2014/main" id="{D20139B8-C371-8FB6-4092-C3C2958A90E5}"/>
              </a:ext>
            </a:extLst>
          </p:cNvPr>
          <p:cNvSpPr>
            <a:spLocks noGrp="1"/>
          </p:cNvSpPr>
          <p:nvPr>
            <p:ph type="body" sz="quarter" idx="14" hasCustomPrompt="1"/>
          </p:nvPr>
        </p:nvSpPr>
        <p:spPr bwMode="gray">
          <a:xfrm>
            <a:off x="4260850" y="1527175"/>
            <a:ext cx="3676650" cy="264303"/>
          </a:xfrm>
        </p:spPr>
        <p:txBody>
          <a:bodyPr>
            <a:noAutofit/>
          </a:bodyPr>
          <a:lstStyle>
            <a:lvl1pPr marL="0" indent="0">
              <a:buNone/>
              <a:defRPr b="1">
                <a:solidFill>
                  <a:schemeClr val="bg1"/>
                </a:solidFill>
                <a:latin typeface="+mj-lt"/>
              </a:defRPr>
            </a:lvl1pPr>
          </a:lstStyle>
          <a:p>
            <a:pPr lvl="0"/>
            <a:r>
              <a:rPr lang="en-US" noProof="0"/>
              <a:t>Chapter heading</a:t>
            </a:r>
          </a:p>
        </p:txBody>
      </p:sp>
      <p:sp>
        <p:nvSpPr>
          <p:cNvPr id="16" name="Textplatzhalter 14">
            <a:extLst>
              <a:ext uri="{FF2B5EF4-FFF2-40B4-BE49-F238E27FC236}">
                <a16:creationId xmlns:a16="http://schemas.microsoft.com/office/drawing/2014/main" id="{A314BA95-0D62-676A-CAF2-F108D0BAFCCF}"/>
              </a:ext>
            </a:extLst>
          </p:cNvPr>
          <p:cNvSpPr>
            <a:spLocks noGrp="1"/>
          </p:cNvSpPr>
          <p:nvPr>
            <p:ph type="body" sz="quarter" idx="15" hasCustomPrompt="1"/>
          </p:nvPr>
        </p:nvSpPr>
        <p:spPr bwMode="gray">
          <a:xfrm>
            <a:off x="4260850" y="3713026"/>
            <a:ext cx="3676650" cy="264303"/>
          </a:xfrm>
        </p:spPr>
        <p:txBody>
          <a:bodyPr>
            <a:noAutofit/>
          </a:bodyPr>
          <a:lstStyle>
            <a:lvl1pPr marL="0" indent="0">
              <a:buNone/>
              <a:defRPr b="1">
                <a:solidFill>
                  <a:schemeClr val="bg1"/>
                </a:solidFill>
                <a:latin typeface="+mj-lt"/>
              </a:defRPr>
            </a:lvl1pPr>
          </a:lstStyle>
          <a:p>
            <a:pPr lvl="0"/>
            <a:r>
              <a:rPr lang="en-US" noProof="0"/>
              <a:t>Chapter heading</a:t>
            </a:r>
          </a:p>
        </p:txBody>
      </p:sp>
      <p:sp>
        <p:nvSpPr>
          <p:cNvPr id="17" name="Textplatzhalter 14">
            <a:extLst>
              <a:ext uri="{FF2B5EF4-FFF2-40B4-BE49-F238E27FC236}">
                <a16:creationId xmlns:a16="http://schemas.microsoft.com/office/drawing/2014/main" id="{15F4FDC0-3FB4-D5F3-FC94-A2FB648B2D1A}"/>
              </a:ext>
            </a:extLst>
          </p:cNvPr>
          <p:cNvSpPr>
            <a:spLocks noGrp="1"/>
          </p:cNvSpPr>
          <p:nvPr>
            <p:ph type="body" sz="quarter" idx="16" hasCustomPrompt="1"/>
          </p:nvPr>
        </p:nvSpPr>
        <p:spPr bwMode="gray">
          <a:xfrm>
            <a:off x="8135938" y="1529651"/>
            <a:ext cx="3676650" cy="264303"/>
          </a:xfrm>
        </p:spPr>
        <p:txBody>
          <a:bodyPr>
            <a:noAutofit/>
          </a:bodyPr>
          <a:lstStyle>
            <a:lvl1pPr marL="0" indent="0">
              <a:buNone/>
              <a:defRPr b="1">
                <a:solidFill>
                  <a:schemeClr val="bg1"/>
                </a:solidFill>
                <a:latin typeface="+mj-lt"/>
              </a:defRPr>
            </a:lvl1pPr>
          </a:lstStyle>
          <a:p>
            <a:pPr lvl="0"/>
            <a:r>
              <a:rPr lang="en-US" noProof="0"/>
              <a:t>Chapter heading</a:t>
            </a:r>
          </a:p>
        </p:txBody>
      </p:sp>
      <p:sp>
        <p:nvSpPr>
          <p:cNvPr id="18" name="Textplatzhalter 14">
            <a:extLst>
              <a:ext uri="{FF2B5EF4-FFF2-40B4-BE49-F238E27FC236}">
                <a16:creationId xmlns:a16="http://schemas.microsoft.com/office/drawing/2014/main" id="{3B584C6E-6A74-1E7B-E3FD-FAB2E8CAFA39}"/>
              </a:ext>
            </a:extLst>
          </p:cNvPr>
          <p:cNvSpPr>
            <a:spLocks noGrp="1"/>
          </p:cNvSpPr>
          <p:nvPr>
            <p:ph type="body" sz="quarter" idx="17" hasCustomPrompt="1"/>
          </p:nvPr>
        </p:nvSpPr>
        <p:spPr bwMode="gray">
          <a:xfrm>
            <a:off x="8135938" y="3715501"/>
            <a:ext cx="3676650" cy="264303"/>
          </a:xfrm>
        </p:spPr>
        <p:txBody>
          <a:bodyPr>
            <a:noAutofit/>
          </a:bodyPr>
          <a:lstStyle>
            <a:lvl1pPr marL="0" indent="0">
              <a:buNone/>
              <a:defRPr b="1">
                <a:solidFill>
                  <a:schemeClr val="bg1"/>
                </a:solidFill>
                <a:latin typeface="+mj-lt"/>
              </a:defRPr>
            </a:lvl1pPr>
          </a:lstStyle>
          <a:p>
            <a:pPr lvl="0"/>
            <a:r>
              <a:rPr lang="en-US" noProof="0"/>
              <a:t>Chapter heading</a:t>
            </a:r>
          </a:p>
        </p:txBody>
      </p:sp>
      <p:sp>
        <p:nvSpPr>
          <p:cNvPr id="20" name="Textplatzhalter 19">
            <a:extLst>
              <a:ext uri="{FF2B5EF4-FFF2-40B4-BE49-F238E27FC236}">
                <a16:creationId xmlns:a16="http://schemas.microsoft.com/office/drawing/2014/main" id="{94B1AA2F-15B3-3E78-E3E4-903909F0E3E9}"/>
              </a:ext>
            </a:extLst>
          </p:cNvPr>
          <p:cNvSpPr>
            <a:spLocks noGrp="1"/>
          </p:cNvSpPr>
          <p:nvPr>
            <p:ph type="body" sz="quarter" idx="18" hasCustomPrompt="1"/>
          </p:nvPr>
        </p:nvSpPr>
        <p:spPr bwMode="gray">
          <a:xfrm>
            <a:off x="4260850" y="1791478"/>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 </a:t>
            </a:r>
            <a:r>
              <a:rPr lang="en-US"/>
              <a:t>ipsum dolor sit </a:t>
            </a:r>
            <a:r>
              <a:rPr lang="en-US" err="1"/>
              <a:t>amet</a:t>
            </a:r>
            <a:endParaRPr lang="en-US" noProof="0"/>
          </a:p>
          <a:p>
            <a:pPr lvl="0"/>
            <a:r>
              <a:rPr lang="en-US" noProof="0"/>
              <a:t>Lorem </a:t>
            </a:r>
            <a:r>
              <a:rPr lang="en-US"/>
              <a:t>ipsum dolor sit </a:t>
            </a:r>
            <a:r>
              <a:rPr lang="en-US" err="1"/>
              <a:t>amet</a:t>
            </a:r>
            <a:endParaRPr lang="en-US" noProof="0"/>
          </a:p>
        </p:txBody>
      </p:sp>
      <p:sp>
        <p:nvSpPr>
          <p:cNvPr id="21" name="Textplatzhalter 19">
            <a:extLst>
              <a:ext uri="{FF2B5EF4-FFF2-40B4-BE49-F238E27FC236}">
                <a16:creationId xmlns:a16="http://schemas.microsoft.com/office/drawing/2014/main" id="{5CAFF808-66B2-9494-3634-EFC51E403442}"/>
              </a:ext>
            </a:extLst>
          </p:cNvPr>
          <p:cNvSpPr>
            <a:spLocks noGrp="1"/>
          </p:cNvSpPr>
          <p:nvPr>
            <p:ph type="body" sz="quarter" idx="19" hasCustomPrompt="1"/>
          </p:nvPr>
        </p:nvSpPr>
        <p:spPr bwMode="gray">
          <a:xfrm>
            <a:off x="4260850" y="3977329"/>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 </a:t>
            </a:r>
            <a:r>
              <a:rPr lang="en-US"/>
              <a:t>ipsum dolor sit </a:t>
            </a:r>
            <a:r>
              <a:rPr lang="en-US" err="1"/>
              <a:t>amet</a:t>
            </a:r>
            <a:endParaRPr lang="en-US" noProof="0"/>
          </a:p>
          <a:p>
            <a:pPr lvl="0"/>
            <a:r>
              <a:rPr lang="en-US" noProof="0"/>
              <a:t>Lorem </a:t>
            </a:r>
            <a:r>
              <a:rPr lang="en-US"/>
              <a:t>ipsum dolor sit </a:t>
            </a:r>
            <a:r>
              <a:rPr lang="en-US" err="1"/>
              <a:t>amet</a:t>
            </a:r>
            <a:endParaRPr lang="en-US" noProof="0"/>
          </a:p>
        </p:txBody>
      </p:sp>
      <p:sp>
        <p:nvSpPr>
          <p:cNvPr id="22" name="Textplatzhalter 19">
            <a:extLst>
              <a:ext uri="{FF2B5EF4-FFF2-40B4-BE49-F238E27FC236}">
                <a16:creationId xmlns:a16="http://schemas.microsoft.com/office/drawing/2014/main" id="{6C9931EC-DDE1-495A-9648-AFF91ED351ED}"/>
              </a:ext>
            </a:extLst>
          </p:cNvPr>
          <p:cNvSpPr>
            <a:spLocks noGrp="1"/>
          </p:cNvSpPr>
          <p:nvPr>
            <p:ph type="body" sz="quarter" idx="20" hasCustomPrompt="1"/>
          </p:nvPr>
        </p:nvSpPr>
        <p:spPr bwMode="gray">
          <a:xfrm>
            <a:off x="8135938" y="1793954"/>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 </a:t>
            </a:r>
            <a:r>
              <a:rPr lang="en-US"/>
              <a:t>ipsum dolor sit </a:t>
            </a:r>
            <a:r>
              <a:rPr lang="en-US" err="1"/>
              <a:t>amet</a:t>
            </a:r>
            <a:endParaRPr lang="en-US" noProof="0"/>
          </a:p>
          <a:p>
            <a:pPr lvl="0"/>
            <a:r>
              <a:rPr lang="en-US" noProof="0"/>
              <a:t>Lorem </a:t>
            </a:r>
            <a:r>
              <a:rPr lang="en-US"/>
              <a:t>ipsum dolor sit </a:t>
            </a:r>
            <a:r>
              <a:rPr lang="en-US" err="1"/>
              <a:t>amet</a:t>
            </a:r>
            <a:endParaRPr lang="en-US" noProof="0"/>
          </a:p>
        </p:txBody>
      </p:sp>
      <p:sp>
        <p:nvSpPr>
          <p:cNvPr id="23" name="Textplatzhalter 19">
            <a:extLst>
              <a:ext uri="{FF2B5EF4-FFF2-40B4-BE49-F238E27FC236}">
                <a16:creationId xmlns:a16="http://schemas.microsoft.com/office/drawing/2014/main" id="{209CD599-CC2C-E5E6-4D03-0817D11194E3}"/>
              </a:ext>
            </a:extLst>
          </p:cNvPr>
          <p:cNvSpPr>
            <a:spLocks noGrp="1"/>
          </p:cNvSpPr>
          <p:nvPr>
            <p:ph type="body" sz="quarter" idx="21" hasCustomPrompt="1"/>
          </p:nvPr>
        </p:nvSpPr>
        <p:spPr bwMode="gray">
          <a:xfrm>
            <a:off x="8135938" y="3979804"/>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 </a:t>
            </a:r>
            <a:r>
              <a:rPr lang="en-US"/>
              <a:t>ipsum dolor sit </a:t>
            </a:r>
            <a:r>
              <a:rPr lang="en-US" err="1"/>
              <a:t>amet</a:t>
            </a:r>
            <a:endParaRPr lang="en-US" noProof="0"/>
          </a:p>
          <a:p>
            <a:pPr lvl="0"/>
            <a:r>
              <a:rPr lang="en-US" noProof="0"/>
              <a:t>Lorem </a:t>
            </a:r>
            <a:r>
              <a:rPr lang="en-US"/>
              <a:t>ipsum dolor sit </a:t>
            </a:r>
            <a:r>
              <a:rPr lang="en-US" err="1"/>
              <a:t>amet</a:t>
            </a:r>
            <a:endParaRPr lang="en-US" noProof="0"/>
          </a:p>
        </p:txBody>
      </p:sp>
      <p:grpSp>
        <p:nvGrpSpPr>
          <p:cNvPr id="4" name="object 8">
            <a:extLst>
              <a:ext uri="{FF2B5EF4-FFF2-40B4-BE49-F238E27FC236}">
                <a16:creationId xmlns:a16="http://schemas.microsoft.com/office/drawing/2014/main" id="{802F1D76-0D7B-D75A-3D45-78CC41F7564D}"/>
              </a:ext>
            </a:extLst>
          </p:cNvPr>
          <p:cNvGrpSpPr/>
          <p:nvPr/>
        </p:nvGrpSpPr>
        <p:grpSpPr bwMode="gray">
          <a:xfrm>
            <a:off x="11523000" y="6201700"/>
            <a:ext cx="288000" cy="288000"/>
            <a:chOff x="18934851" y="10156759"/>
            <a:chExt cx="523875" cy="523875"/>
          </a:xfrm>
        </p:grpSpPr>
        <p:sp>
          <p:nvSpPr>
            <p:cNvPr id="5" name="object 9">
              <a:extLst>
                <a:ext uri="{FF2B5EF4-FFF2-40B4-BE49-F238E27FC236}">
                  <a16:creationId xmlns:a16="http://schemas.microsoft.com/office/drawing/2014/main" id="{E5F9700E-C24D-E6AE-A760-D50B580478BE}"/>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6" name="object 10">
              <a:extLst>
                <a:ext uri="{FF2B5EF4-FFF2-40B4-BE49-F238E27FC236}">
                  <a16:creationId xmlns:a16="http://schemas.microsoft.com/office/drawing/2014/main" id="{C205A939-303C-F387-58B4-D93EA62F2E44}"/>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11" name="object 11">
              <a:extLst>
                <a:ext uri="{FF2B5EF4-FFF2-40B4-BE49-F238E27FC236}">
                  <a16:creationId xmlns:a16="http://schemas.microsoft.com/office/drawing/2014/main" id="{2E0E3D84-C1C3-6EA6-330F-414843E29058}"/>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26" name="Slide Number Placeholder 25">
            <a:extLst>
              <a:ext uri="{FF2B5EF4-FFF2-40B4-BE49-F238E27FC236}">
                <a16:creationId xmlns:a16="http://schemas.microsoft.com/office/drawing/2014/main" id="{A621CBE1-B7C4-8253-F16A-129BB90FE6C7}"/>
              </a:ext>
            </a:extLst>
          </p:cNvPr>
          <p:cNvSpPr>
            <a:spLocks noGrp="1"/>
          </p:cNvSpPr>
          <p:nvPr>
            <p:ph type="sldNum" sz="quarter" idx="25"/>
          </p:nvPr>
        </p:nvSpPr>
        <p:spPr bwMode="gray"/>
        <p:txBody>
          <a:bodyPr/>
          <a:lstStyle/>
          <a:p>
            <a:fld id="{A115CDC9-74CB-4F6C-8CD3-A6C89F254EE7}" type="slidenum">
              <a:rPr lang="en-US" noProof="0" smtClean="0"/>
              <a:pPr/>
              <a:t>‹#›</a:t>
            </a:fld>
            <a:endParaRPr lang="en-US" noProof="0"/>
          </a:p>
        </p:txBody>
      </p:sp>
      <p:sp>
        <p:nvSpPr>
          <p:cNvPr id="27" name="Date Placeholder 9">
            <a:extLst>
              <a:ext uri="{FF2B5EF4-FFF2-40B4-BE49-F238E27FC236}">
                <a16:creationId xmlns:a16="http://schemas.microsoft.com/office/drawing/2014/main" id="{C9777360-D14C-FDE6-041C-97925419B749}"/>
              </a:ext>
            </a:extLst>
          </p:cNvPr>
          <p:cNvSpPr>
            <a:spLocks noGrp="1"/>
          </p:cNvSpPr>
          <p:nvPr>
            <p:ph type="dt" sz="half" idx="23"/>
          </p:nvPr>
        </p:nvSpPr>
        <p:spPr bwMode="gray">
          <a:xfrm>
            <a:off x="4260849" y="6387525"/>
            <a:ext cx="592173" cy="123111"/>
          </a:xfrm>
        </p:spPr>
        <p:txBody>
          <a:bodyPr/>
          <a:lstStyle>
            <a:lvl1pPr>
              <a:defRPr>
                <a:solidFill>
                  <a:schemeClr val="bg1"/>
                </a:solidFill>
              </a:defRPr>
            </a:lvl1pPr>
          </a:lstStyle>
          <a:p>
            <a:fld id="{F5EAAEA7-BBD9-4D56-90BA-EE74079E31F0}" type="datetime1">
              <a:rPr lang="en-US" noProof="0" smtClean="0"/>
              <a:t>10/31/2024</a:t>
            </a:fld>
            <a:endParaRPr lang="en-US" noProof="0"/>
          </a:p>
        </p:txBody>
      </p:sp>
      <p:sp>
        <p:nvSpPr>
          <p:cNvPr id="28" name="Footer Placeholder 10">
            <a:extLst>
              <a:ext uri="{FF2B5EF4-FFF2-40B4-BE49-F238E27FC236}">
                <a16:creationId xmlns:a16="http://schemas.microsoft.com/office/drawing/2014/main" id="{0EA36738-0DC6-DD49-290E-72210B9065CA}"/>
              </a:ext>
            </a:extLst>
          </p:cNvPr>
          <p:cNvSpPr>
            <a:spLocks noGrp="1"/>
          </p:cNvSpPr>
          <p:nvPr>
            <p:ph type="ftr" sz="quarter" idx="24"/>
          </p:nvPr>
        </p:nvSpPr>
        <p:spPr bwMode="gray">
          <a:xfrm>
            <a:off x="5024438" y="6387525"/>
            <a:ext cx="5618074" cy="123111"/>
          </a:xfrm>
        </p:spPr>
        <p:txBody>
          <a:bodyPr/>
          <a:lstStyle>
            <a:lvl1pPr>
              <a:defRPr>
                <a:solidFill>
                  <a:schemeClr val="bg1"/>
                </a:solidFill>
              </a:defRPr>
            </a:lvl1pPr>
          </a:lstStyle>
          <a:p>
            <a:r>
              <a:rPr lang="en-US" noProof="0"/>
              <a:t>Group Presentation</a:t>
            </a:r>
          </a:p>
        </p:txBody>
      </p:sp>
      <p:sp>
        <p:nvSpPr>
          <p:cNvPr id="3" name="Bildplatzhalter 19">
            <a:extLst>
              <a:ext uri="{FF2B5EF4-FFF2-40B4-BE49-F238E27FC236}">
                <a16:creationId xmlns:a16="http://schemas.microsoft.com/office/drawing/2014/main" id="{5E12244F-C005-955B-F573-81EE1B246F71}"/>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0008451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Agenda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D92A061-8253-231E-49A3-4FC46F997A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AD92A061-8253-231E-49A3-4FC46F997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762DABF9-3F54-0EC6-73B6-EDD098E6B7CD}"/>
              </a:ext>
            </a:extLst>
          </p:cNvPr>
          <p:cNvSpPr/>
          <p:nvPr/>
        </p:nvSpPr>
        <p:spPr bwMode="gray">
          <a:xfrm>
            <a:off x="0" y="0"/>
            <a:ext cx="12192000" cy="685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Bildplatzhalter 12">
            <a:extLst>
              <a:ext uri="{FF2B5EF4-FFF2-40B4-BE49-F238E27FC236}">
                <a16:creationId xmlns:a16="http://schemas.microsoft.com/office/drawing/2014/main" id="{6DDC2983-B7A7-3448-D56C-CC15554DD9E8}"/>
              </a:ext>
            </a:extLst>
          </p:cNvPr>
          <p:cNvSpPr>
            <a:spLocks noGrp="1"/>
          </p:cNvSpPr>
          <p:nvPr>
            <p:ph type="pic" sz="quarter" idx="13" hasCustomPrompt="1"/>
          </p:nvPr>
        </p:nvSpPr>
        <p:spPr bwMode="gray">
          <a:xfrm>
            <a:off x="0" y="1"/>
            <a:ext cx="5032375" cy="6857729"/>
          </a:xfrm>
          <a:solidFill>
            <a:schemeClr val="bg1"/>
          </a:solidFill>
        </p:spPr>
        <p:txBody>
          <a:bodyPr/>
          <a:lstStyle/>
          <a:p>
            <a:r>
              <a:rPr lang="en-US" noProof="0"/>
              <a:t>Add image by clicking on icon and set image in background</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bwMode="gray">
          <a:xfrm>
            <a:off x="6192838" y="542123"/>
            <a:ext cx="5618162" cy="283219"/>
          </a:xfrm>
        </p:spPr>
        <p:txBody>
          <a:bodyPr vert="horz"/>
          <a:lstStyle>
            <a:lvl1pPr>
              <a:defRPr>
                <a:solidFill>
                  <a:schemeClr val="bg1"/>
                </a:solidFill>
              </a:defRPr>
            </a:lvl1pPr>
          </a:lstStyle>
          <a:p>
            <a:r>
              <a:rPr lang="en-US" noProof="0"/>
              <a:t>Agenda</a:t>
            </a:r>
          </a:p>
        </p:txBody>
      </p:sp>
      <p:sp>
        <p:nvSpPr>
          <p:cNvPr id="20" name="Textplatzhalter 19">
            <a:extLst>
              <a:ext uri="{FF2B5EF4-FFF2-40B4-BE49-F238E27FC236}">
                <a16:creationId xmlns:a16="http://schemas.microsoft.com/office/drawing/2014/main" id="{2BE49A6E-C6FD-7D3F-63EF-3F16D24778D4}"/>
              </a:ext>
            </a:extLst>
          </p:cNvPr>
          <p:cNvSpPr>
            <a:spLocks noGrp="1"/>
          </p:cNvSpPr>
          <p:nvPr>
            <p:ph type="body" sz="quarter" idx="14" hasCustomPrompt="1"/>
          </p:nvPr>
        </p:nvSpPr>
        <p:spPr bwMode="gray">
          <a:xfrm>
            <a:off x="6192838" y="1539550"/>
            <a:ext cx="5618162" cy="242597"/>
          </a:xfrm>
        </p:spPr>
        <p:txBody>
          <a:bodyPr/>
          <a:lstStyle>
            <a:lvl1pPr marL="719138" indent="-719138">
              <a:buFont typeface="+mj-lt"/>
              <a:buAutoNum type="arabicPeriod"/>
              <a:defRPr b="1">
                <a:solidFill>
                  <a:schemeClr val="bg1"/>
                </a:solidFill>
                <a:latin typeface="+mj-lt"/>
              </a:defRPr>
            </a:lvl1pPr>
          </a:lstStyle>
          <a:p>
            <a:pPr lvl="0"/>
            <a:r>
              <a:rPr lang="en-US" noProof="0"/>
              <a:t>Chapter heading</a:t>
            </a:r>
          </a:p>
        </p:txBody>
      </p:sp>
      <p:sp>
        <p:nvSpPr>
          <p:cNvPr id="22" name="Textplatzhalter 21">
            <a:extLst>
              <a:ext uri="{FF2B5EF4-FFF2-40B4-BE49-F238E27FC236}">
                <a16:creationId xmlns:a16="http://schemas.microsoft.com/office/drawing/2014/main" id="{D26B39CE-6632-9409-187B-FC44FFB18B97}"/>
              </a:ext>
            </a:extLst>
          </p:cNvPr>
          <p:cNvSpPr>
            <a:spLocks noGrp="1"/>
          </p:cNvSpPr>
          <p:nvPr>
            <p:ph type="body" sz="quarter" idx="15" hasCustomPrompt="1"/>
          </p:nvPr>
        </p:nvSpPr>
        <p:spPr bwMode="gray">
          <a:xfrm>
            <a:off x="6192838" y="1782148"/>
            <a:ext cx="5618162"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3" name="Textplatzhalter 19">
            <a:extLst>
              <a:ext uri="{FF2B5EF4-FFF2-40B4-BE49-F238E27FC236}">
                <a16:creationId xmlns:a16="http://schemas.microsoft.com/office/drawing/2014/main" id="{3C5040A3-3630-A769-6AD2-0EEAE25523CD}"/>
              </a:ext>
            </a:extLst>
          </p:cNvPr>
          <p:cNvSpPr>
            <a:spLocks noGrp="1"/>
          </p:cNvSpPr>
          <p:nvPr>
            <p:ph type="body" sz="quarter" idx="16" hasCustomPrompt="1"/>
          </p:nvPr>
        </p:nvSpPr>
        <p:spPr bwMode="gray">
          <a:xfrm>
            <a:off x="6192838" y="2294745"/>
            <a:ext cx="5618162" cy="242597"/>
          </a:xfrm>
        </p:spPr>
        <p:txBody>
          <a:bodyPr/>
          <a:lstStyle>
            <a:lvl1pPr marL="719138" indent="-719138">
              <a:buFont typeface="+mj-lt"/>
              <a:buAutoNum type="arabicPeriod" startAt="2"/>
              <a:defRPr b="1">
                <a:solidFill>
                  <a:schemeClr val="bg1"/>
                </a:solidFill>
                <a:latin typeface="+mj-lt"/>
              </a:defRPr>
            </a:lvl1pPr>
          </a:lstStyle>
          <a:p>
            <a:pPr lvl="0"/>
            <a:r>
              <a:rPr lang="en-US" noProof="0"/>
              <a:t>Chapter heading</a:t>
            </a:r>
          </a:p>
        </p:txBody>
      </p:sp>
      <p:sp>
        <p:nvSpPr>
          <p:cNvPr id="24" name="Textplatzhalter 21">
            <a:extLst>
              <a:ext uri="{FF2B5EF4-FFF2-40B4-BE49-F238E27FC236}">
                <a16:creationId xmlns:a16="http://schemas.microsoft.com/office/drawing/2014/main" id="{9556C504-11AB-CD71-FCA2-A34FDADDCFC0}"/>
              </a:ext>
            </a:extLst>
          </p:cNvPr>
          <p:cNvSpPr>
            <a:spLocks noGrp="1"/>
          </p:cNvSpPr>
          <p:nvPr>
            <p:ph type="body" sz="quarter" idx="17" hasCustomPrompt="1"/>
          </p:nvPr>
        </p:nvSpPr>
        <p:spPr bwMode="gray">
          <a:xfrm>
            <a:off x="6192838" y="2537342"/>
            <a:ext cx="5618162"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5" name="Textplatzhalter 19">
            <a:extLst>
              <a:ext uri="{FF2B5EF4-FFF2-40B4-BE49-F238E27FC236}">
                <a16:creationId xmlns:a16="http://schemas.microsoft.com/office/drawing/2014/main" id="{C7B475B5-7119-CA3B-EB54-3152D6D487E6}"/>
              </a:ext>
            </a:extLst>
          </p:cNvPr>
          <p:cNvSpPr>
            <a:spLocks noGrp="1"/>
          </p:cNvSpPr>
          <p:nvPr>
            <p:ph type="body" sz="quarter" idx="18" hasCustomPrompt="1"/>
          </p:nvPr>
        </p:nvSpPr>
        <p:spPr bwMode="gray">
          <a:xfrm>
            <a:off x="6192838" y="3049939"/>
            <a:ext cx="5618162" cy="242597"/>
          </a:xfrm>
        </p:spPr>
        <p:txBody>
          <a:bodyPr/>
          <a:lstStyle>
            <a:lvl1pPr marL="719138" indent="-719138">
              <a:buFont typeface="+mj-lt"/>
              <a:buAutoNum type="arabicPeriod" startAt="3"/>
              <a:defRPr b="1">
                <a:solidFill>
                  <a:schemeClr val="bg1"/>
                </a:solidFill>
                <a:latin typeface="+mj-lt"/>
              </a:defRPr>
            </a:lvl1pPr>
          </a:lstStyle>
          <a:p>
            <a:pPr lvl="0"/>
            <a:r>
              <a:rPr lang="en-US" noProof="0"/>
              <a:t>Chapter heading</a:t>
            </a:r>
          </a:p>
        </p:txBody>
      </p:sp>
      <p:sp>
        <p:nvSpPr>
          <p:cNvPr id="26" name="Textplatzhalter 21">
            <a:extLst>
              <a:ext uri="{FF2B5EF4-FFF2-40B4-BE49-F238E27FC236}">
                <a16:creationId xmlns:a16="http://schemas.microsoft.com/office/drawing/2014/main" id="{9ED2EE46-9584-58D5-ED30-0B106DE57065}"/>
              </a:ext>
            </a:extLst>
          </p:cNvPr>
          <p:cNvSpPr>
            <a:spLocks noGrp="1"/>
          </p:cNvSpPr>
          <p:nvPr>
            <p:ph type="body" sz="quarter" idx="19" hasCustomPrompt="1"/>
          </p:nvPr>
        </p:nvSpPr>
        <p:spPr bwMode="gray">
          <a:xfrm>
            <a:off x="6192838" y="3292536"/>
            <a:ext cx="5618162"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7" name="Textplatzhalter 19">
            <a:extLst>
              <a:ext uri="{FF2B5EF4-FFF2-40B4-BE49-F238E27FC236}">
                <a16:creationId xmlns:a16="http://schemas.microsoft.com/office/drawing/2014/main" id="{67997D2B-E157-24AA-D960-F09E43B3AA62}"/>
              </a:ext>
            </a:extLst>
          </p:cNvPr>
          <p:cNvSpPr>
            <a:spLocks noGrp="1"/>
          </p:cNvSpPr>
          <p:nvPr>
            <p:ph type="body" sz="quarter" idx="20" hasCustomPrompt="1"/>
          </p:nvPr>
        </p:nvSpPr>
        <p:spPr bwMode="gray">
          <a:xfrm>
            <a:off x="6192838" y="3805133"/>
            <a:ext cx="5618162" cy="242597"/>
          </a:xfrm>
        </p:spPr>
        <p:txBody>
          <a:bodyPr/>
          <a:lstStyle>
            <a:lvl1pPr marL="719138" indent="-719138">
              <a:buFont typeface="+mj-lt"/>
              <a:buAutoNum type="arabicPeriod" startAt="4"/>
              <a:defRPr b="1">
                <a:solidFill>
                  <a:schemeClr val="bg1"/>
                </a:solidFill>
                <a:latin typeface="+mj-lt"/>
              </a:defRPr>
            </a:lvl1pPr>
          </a:lstStyle>
          <a:p>
            <a:pPr lvl="0"/>
            <a:r>
              <a:rPr lang="en-US" noProof="0"/>
              <a:t>Chapter heading</a:t>
            </a:r>
          </a:p>
        </p:txBody>
      </p:sp>
      <p:sp>
        <p:nvSpPr>
          <p:cNvPr id="28" name="Textplatzhalter 21">
            <a:extLst>
              <a:ext uri="{FF2B5EF4-FFF2-40B4-BE49-F238E27FC236}">
                <a16:creationId xmlns:a16="http://schemas.microsoft.com/office/drawing/2014/main" id="{77E6D626-5CF9-6CE2-4F6F-1671F16BED0A}"/>
              </a:ext>
            </a:extLst>
          </p:cNvPr>
          <p:cNvSpPr>
            <a:spLocks noGrp="1"/>
          </p:cNvSpPr>
          <p:nvPr>
            <p:ph type="body" sz="quarter" idx="21" hasCustomPrompt="1"/>
          </p:nvPr>
        </p:nvSpPr>
        <p:spPr bwMode="gray">
          <a:xfrm>
            <a:off x="6192838" y="4047730"/>
            <a:ext cx="5618162"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9" name="Textplatzhalter 19">
            <a:extLst>
              <a:ext uri="{FF2B5EF4-FFF2-40B4-BE49-F238E27FC236}">
                <a16:creationId xmlns:a16="http://schemas.microsoft.com/office/drawing/2014/main" id="{286CDAE6-B497-8686-B2B3-63B0FAABA1E1}"/>
              </a:ext>
            </a:extLst>
          </p:cNvPr>
          <p:cNvSpPr>
            <a:spLocks noGrp="1"/>
          </p:cNvSpPr>
          <p:nvPr>
            <p:ph type="body" sz="quarter" idx="22" hasCustomPrompt="1"/>
          </p:nvPr>
        </p:nvSpPr>
        <p:spPr bwMode="gray">
          <a:xfrm>
            <a:off x="6192838" y="4560327"/>
            <a:ext cx="5618162" cy="242597"/>
          </a:xfrm>
        </p:spPr>
        <p:txBody>
          <a:bodyPr/>
          <a:lstStyle>
            <a:lvl1pPr marL="719138" indent="-719138">
              <a:buFont typeface="+mj-lt"/>
              <a:buAutoNum type="arabicPeriod" startAt="5"/>
              <a:defRPr b="1">
                <a:solidFill>
                  <a:schemeClr val="bg1"/>
                </a:solidFill>
                <a:latin typeface="+mj-lt"/>
              </a:defRPr>
            </a:lvl1pPr>
          </a:lstStyle>
          <a:p>
            <a:pPr lvl="0"/>
            <a:r>
              <a:rPr lang="en-US" noProof="0"/>
              <a:t>Chapter heading</a:t>
            </a:r>
          </a:p>
        </p:txBody>
      </p:sp>
      <p:sp>
        <p:nvSpPr>
          <p:cNvPr id="30" name="Textplatzhalter 21">
            <a:extLst>
              <a:ext uri="{FF2B5EF4-FFF2-40B4-BE49-F238E27FC236}">
                <a16:creationId xmlns:a16="http://schemas.microsoft.com/office/drawing/2014/main" id="{1B50D682-8ACD-3995-B0AB-C894DD56D500}"/>
              </a:ext>
            </a:extLst>
          </p:cNvPr>
          <p:cNvSpPr>
            <a:spLocks noGrp="1"/>
          </p:cNvSpPr>
          <p:nvPr>
            <p:ph type="body" sz="quarter" idx="23" hasCustomPrompt="1"/>
          </p:nvPr>
        </p:nvSpPr>
        <p:spPr bwMode="gray">
          <a:xfrm>
            <a:off x="6192838" y="4802924"/>
            <a:ext cx="5618162"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grpSp>
        <p:nvGrpSpPr>
          <p:cNvPr id="4" name="object 8">
            <a:extLst>
              <a:ext uri="{FF2B5EF4-FFF2-40B4-BE49-F238E27FC236}">
                <a16:creationId xmlns:a16="http://schemas.microsoft.com/office/drawing/2014/main" id="{949C3A63-EB55-D052-C410-A7B92AE0EDD1}"/>
              </a:ext>
            </a:extLst>
          </p:cNvPr>
          <p:cNvGrpSpPr/>
          <p:nvPr/>
        </p:nvGrpSpPr>
        <p:grpSpPr bwMode="gray">
          <a:xfrm>
            <a:off x="11523000" y="6201700"/>
            <a:ext cx="288000" cy="288000"/>
            <a:chOff x="18934851" y="10156759"/>
            <a:chExt cx="523875" cy="523875"/>
          </a:xfrm>
        </p:grpSpPr>
        <p:sp>
          <p:nvSpPr>
            <p:cNvPr id="5" name="object 9">
              <a:extLst>
                <a:ext uri="{FF2B5EF4-FFF2-40B4-BE49-F238E27FC236}">
                  <a16:creationId xmlns:a16="http://schemas.microsoft.com/office/drawing/2014/main" id="{A85B7FE7-797E-FF41-129C-ECFC448A3C12}"/>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6" name="object 10">
              <a:extLst>
                <a:ext uri="{FF2B5EF4-FFF2-40B4-BE49-F238E27FC236}">
                  <a16:creationId xmlns:a16="http://schemas.microsoft.com/office/drawing/2014/main" id="{F02F7F51-81B6-21CA-E422-92B338F370F0}"/>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8" name="object 11">
              <a:extLst>
                <a:ext uri="{FF2B5EF4-FFF2-40B4-BE49-F238E27FC236}">
                  <a16:creationId xmlns:a16="http://schemas.microsoft.com/office/drawing/2014/main" id="{8C0DF89F-1B6E-855D-0A02-348B4211F5BB}"/>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18" name="Slide Number Placeholder 17">
            <a:extLst>
              <a:ext uri="{FF2B5EF4-FFF2-40B4-BE49-F238E27FC236}">
                <a16:creationId xmlns:a16="http://schemas.microsoft.com/office/drawing/2014/main" id="{6407C056-CAD0-B286-16CA-B99087D934F1}"/>
              </a:ext>
            </a:extLst>
          </p:cNvPr>
          <p:cNvSpPr>
            <a:spLocks noGrp="1"/>
          </p:cNvSpPr>
          <p:nvPr>
            <p:ph type="sldNum" sz="quarter" idx="27"/>
          </p:nvPr>
        </p:nvSpPr>
        <p:spPr bwMode="gray"/>
        <p:txBody>
          <a:bodyPr/>
          <a:lstStyle/>
          <a:p>
            <a:fld id="{A115CDC9-74CB-4F6C-8CD3-A6C89F254EE7}" type="slidenum">
              <a:rPr lang="en-US" noProof="0" smtClean="0"/>
              <a:pPr/>
              <a:t>‹#›</a:t>
            </a:fld>
            <a:endParaRPr lang="en-US" noProof="0"/>
          </a:p>
        </p:txBody>
      </p:sp>
      <p:sp>
        <p:nvSpPr>
          <p:cNvPr id="19" name="Date Placeholder 9">
            <a:extLst>
              <a:ext uri="{FF2B5EF4-FFF2-40B4-BE49-F238E27FC236}">
                <a16:creationId xmlns:a16="http://schemas.microsoft.com/office/drawing/2014/main" id="{6F4F8326-A9B0-75AC-DE55-06DB7EFE0812}"/>
              </a:ext>
            </a:extLst>
          </p:cNvPr>
          <p:cNvSpPr>
            <a:spLocks noGrp="1"/>
          </p:cNvSpPr>
          <p:nvPr>
            <p:ph type="dt" sz="half" idx="25"/>
          </p:nvPr>
        </p:nvSpPr>
        <p:spPr bwMode="gray">
          <a:xfrm>
            <a:off x="6192838" y="6387525"/>
            <a:ext cx="592173" cy="123111"/>
          </a:xfrm>
        </p:spPr>
        <p:txBody>
          <a:bodyPr/>
          <a:lstStyle>
            <a:lvl1pPr>
              <a:defRPr>
                <a:solidFill>
                  <a:schemeClr val="bg1"/>
                </a:solidFill>
              </a:defRPr>
            </a:lvl1pPr>
          </a:lstStyle>
          <a:p>
            <a:fld id="{6C855503-CF5D-4B03-BA22-6C47EEFA1FBB}" type="datetime1">
              <a:rPr lang="en-US" noProof="0" smtClean="0"/>
              <a:t>10/31/2024</a:t>
            </a:fld>
            <a:endParaRPr lang="en-US" noProof="0"/>
          </a:p>
        </p:txBody>
      </p:sp>
      <p:sp>
        <p:nvSpPr>
          <p:cNvPr id="21" name="Footer Placeholder 10">
            <a:extLst>
              <a:ext uri="{FF2B5EF4-FFF2-40B4-BE49-F238E27FC236}">
                <a16:creationId xmlns:a16="http://schemas.microsoft.com/office/drawing/2014/main" id="{B8BA1634-4268-41A0-450D-B51DE9012199}"/>
              </a:ext>
            </a:extLst>
          </p:cNvPr>
          <p:cNvSpPr>
            <a:spLocks noGrp="1"/>
          </p:cNvSpPr>
          <p:nvPr>
            <p:ph type="ftr" sz="quarter" idx="26"/>
          </p:nvPr>
        </p:nvSpPr>
        <p:spPr bwMode="gray">
          <a:xfrm>
            <a:off x="7164388" y="6387525"/>
            <a:ext cx="3667125" cy="123111"/>
          </a:xfrm>
        </p:spPr>
        <p:txBody>
          <a:bodyPr/>
          <a:lstStyle>
            <a:lvl1pPr>
              <a:defRPr>
                <a:solidFill>
                  <a:schemeClr val="bg1"/>
                </a:solidFill>
              </a:defRPr>
            </a:lvl1pPr>
          </a:lstStyle>
          <a:p>
            <a:r>
              <a:rPr lang="en-US" noProof="0"/>
              <a:t>Group Presentation</a:t>
            </a:r>
          </a:p>
        </p:txBody>
      </p:sp>
      <p:sp>
        <p:nvSpPr>
          <p:cNvPr id="3" name="Bildplatzhalter 19">
            <a:extLst>
              <a:ext uri="{FF2B5EF4-FFF2-40B4-BE49-F238E27FC236}">
                <a16:creationId xmlns:a16="http://schemas.microsoft.com/office/drawing/2014/main" id="{DEA2C556-2D07-6171-F630-DE4FF5E4CE10}"/>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20149048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Agenda 6">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6080299-1817-12FB-A86B-4D3E7893E6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A6080299-1817-12FB-A86B-4D3E7893E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AC1BE5B5-1A15-90B2-BA28-19B882E5C163}"/>
              </a:ext>
            </a:extLst>
          </p:cNvPr>
          <p:cNvSpPr/>
          <p:nvPr/>
        </p:nvSpPr>
        <p:spPr bwMode="gray">
          <a:xfrm>
            <a:off x="0" y="0"/>
            <a:ext cx="12192000" cy="685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hasCustomPrompt="1"/>
          </p:nvPr>
        </p:nvSpPr>
        <p:spPr bwMode="gray">
          <a:xfrm>
            <a:off x="0" y="1"/>
            <a:ext cx="3095502" cy="6857729"/>
          </a:xfrm>
          <a:solidFill>
            <a:schemeClr val="bg1"/>
          </a:solidFill>
        </p:spPr>
        <p:txBody>
          <a:bodyPr/>
          <a:lstStyle/>
          <a:p>
            <a:r>
              <a:rPr lang="en-US" noProof="0"/>
              <a:t>Add image by clicking on icon and set image in background</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bwMode="gray">
          <a:xfrm>
            <a:off x="4260849" y="542123"/>
            <a:ext cx="7544691" cy="283219"/>
          </a:xfrm>
        </p:spPr>
        <p:txBody>
          <a:bodyPr vert="horz"/>
          <a:lstStyle>
            <a:lvl1pPr>
              <a:defRPr>
                <a:solidFill>
                  <a:schemeClr val="bg1"/>
                </a:solidFill>
              </a:defRPr>
            </a:lvl1pPr>
          </a:lstStyle>
          <a:p>
            <a:r>
              <a:rPr lang="en-US" noProof="0"/>
              <a:t>Agenda</a:t>
            </a:r>
          </a:p>
        </p:txBody>
      </p:sp>
      <p:sp>
        <p:nvSpPr>
          <p:cNvPr id="2" name="Textplatzhalter 19">
            <a:extLst>
              <a:ext uri="{FF2B5EF4-FFF2-40B4-BE49-F238E27FC236}">
                <a16:creationId xmlns:a16="http://schemas.microsoft.com/office/drawing/2014/main" id="{CA39A1E5-E8EF-0237-A64E-13416A5D1022}"/>
              </a:ext>
            </a:extLst>
          </p:cNvPr>
          <p:cNvSpPr>
            <a:spLocks noGrp="1"/>
          </p:cNvSpPr>
          <p:nvPr>
            <p:ph type="body" sz="quarter" idx="14" hasCustomPrompt="1"/>
          </p:nvPr>
        </p:nvSpPr>
        <p:spPr bwMode="gray">
          <a:xfrm>
            <a:off x="4260850" y="1539550"/>
            <a:ext cx="3676650" cy="242597"/>
          </a:xfrm>
        </p:spPr>
        <p:txBody>
          <a:bodyPr/>
          <a:lstStyle>
            <a:lvl1pPr marL="719138" indent="-719138">
              <a:buFont typeface="+mj-lt"/>
              <a:buAutoNum type="arabicPeriod"/>
              <a:defRPr b="1">
                <a:solidFill>
                  <a:schemeClr val="bg1"/>
                </a:solidFill>
                <a:latin typeface="+mj-lt"/>
              </a:defRPr>
            </a:lvl1pPr>
          </a:lstStyle>
          <a:p>
            <a:pPr lvl="0"/>
            <a:r>
              <a:rPr lang="en-US" noProof="0"/>
              <a:t>Chapter heading</a:t>
            </a:r>
          </a:p>
        </p:txBody>
      </p:sp>
      <p:sp>
        <p:nvSpPr>
          <p:cNvPr id="3" name="Textplatzhalter 21">
            <a:extLst>
              <a:ext uri="{FF2B5EF4-FFF2-40B4-BE49-F238E27FC236}">
                <a16:creationId xmlns:a16="http://schemas.microsoft.com/office/drawing/2014/main" id="{9A5E3B74-AC92-D4E6-08FB-7E0E1D2E7CDB}"/>
              </a:ext>
            </a:extLst>
          </p:cNvPr>
          <p:cNvSpPr>
            <a:spLocks noGrp="1"/>
          </p:cNvSpPr>
          <p:nvPr>
            <p:ph type="body" sz="quarter" idx="15" hasCustomPrompt="1"/>
          </p:nvPr>
        </p:nvSpPr>
        <p:spPr bwMode="gray">
          <a:xfrm>
            <a:off x="4260850" y="1782148"/>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4" name="Textplatzhalter 19">
            <a:extLst>
              <a:ext uri="{FF2B5EF4-FFF2-40B4-BE49-F238E27FC236}">
                <a16:creationId xmlns:a16="http://schemas.microsoft.com/office/drawing/2014/main" id="{194A37A7-CCE0-C4DD-08FB-84CAC2A14E9F}"/>
              </a:ext>
            </a:extLst>
          </p:cNvPr>
          <p:cNvSpPr>
            <a:spLocks noGrp="1"/>
          </p:cNvSpPr>
          <p:nvPr>
            <p:ph type="body" sz="quarter" idx="16" hasCustomPrompt="1"/>
          </p:nvPr>
        </p:nvSpPr>
        <p:spPr bwMode="gray">
          <a:xfrm>
            <a:off x="4260850" y="2294745"/>
            <a:ext cx="3676650" cy="242597"/>
          </a:xfrm>
        </p:spPr>
        <p:txBody>
          <a:bodyPr/>
          <a:lstStyle>
            <a:lvl1pPr marL="719138" indent="-719138">
              <a:buFont typeface="+mj-lt"/>
              <a:buAutoNum type="arabicPeriod" startAt="2"/>
              <a:defRPr b="1">
                <a:solidFill>
                  <a:schemeClr val="bg1"/>
                </a:solidFill>
                <a:latin typeface="+mj-lt"/>
              </a:defRPr>
            </a:lvl1pPr>
          </a:lstStyle>
          <a:p>
            <a:pPr lvl="0"/>
            <a:r>
              <a:rPr lang="en-US" noProof="0"/>
              <a:t>Chapter heading</a:t>
            </a:r>
          </a:p>
        </p:txBody>
      </p:sp>
      <p:sp>
        <p:nvSpPr>
          <p:cNvPr id="5" name="Textplatzhalter 21">
            <a:extLst>
              <a:ext uri="{FF2B5EF4-FFF2-40B4-BE49-F238E27FC236}">
                <a16:creationId xmlns:a16="http://schemas.microsoft.com/office/drawing/2014/main" id="{CDCF2FC9-7F31-58A8-86E1-536ECADA3D7E}"/>
              </a:ext>
            </a:extLst>
          </p:cNvPr>
          <p:cNvSpPr>
            <a:spLocks noGrp="1"/>
          </p:cNvSpPr>
          <p:nvPr>
            <p:ph type="body" sz="quarter" idx="17" hasCustomPrompt="1"/>
          </p:nvPr>
        </p:nvSpPr>
        <p:spPr bwMode="gray">
          <a:xfrm>
            <a:off x="4260850" y="2537342"/>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6" name="Textplatzhalter 19">
            <a:extLst>
              <a:ext uri="{FF2B5EF4-FFF2-40B4-BE49-F238E27FC236}">
                <a16:creationId xmlns:a16="http://schemas.microsoft.com/office/drawing/2014/main" id="{7DF88484-847E-4926-F617-C732B90F6E1E}"/>
              </a:ext>
            </a:extLst>
          </p:cNvPr>
          <p:cNvSpPr>
            <a:spLocks noGrp="1"/>
          </p:cNvSpPr>
          <p:nvPr>
            <p:ph type="body" sz="quarter" idx="18" hasCustomPrompt="1"/>
          </p:nvPr>
        </p:nvSpPr>
        <p:spPr bwMode="gray">
          <a:xfrm>
            <a:off x="4260850" y="3049939"/>
            <a:ext cx="3676650" cy="242597"/>
          </a:xfrm>
        </p:spPr>
        <p:txBody>
          <a:bodyPr/>
          <a:lstStyle>
            <a:lvl1pPr marL="719138" indent="-719138">
              <a:buFont typeface="+mj-lt"/>
              <a:buAutoNum type="arabicPeriod" startAt="3"/>
              <a:defRPr b="1">
                <a:solidFill>
                  <a:schemeClr val="bg1"/>
                </a:solidFill>
                <a:latin typeface="+mj-lt"/>
              </a:defRPr>
            </a:lvl1pPr>
          </a:lstStyle>
          <a:p>
            <a:pPr lvl="0"/>
            <a:r>
              <a:rPr lang="en-US" noProof="0"/>
              <a:t>Chapter heading</a:t>
            </a:r>
          </a:p>
        </p:txBody>
      </p:sp>
      <p:sp>
        <p:nvSpPr>
          <p:cNvPr id="11" name="Textplatzhalter 21">
            <a:extLst>
              <a:ext uri="{FF2B5EF4-FFF2-40B4-BE49-F238E27FC236}">
                <a16:creationId xmlns:a16="http://schemas.microsoft.com/office/drawing/2014/main" id="{FA8EC28A-3440-0DF5-AE6F-F97C33C3335B}"/>
              </a:ext>
            </a:extLst>
          </p:cNvPr>
          <p:cNvSpPr>
            <a:spLocks noGrp="1"/>
          </p:cNvSpPr>
          <p:nvPr>
            <p:ph type="body" sz="quarter" idx="19" hasCustomPrompt="1"/>
          </p:nvPr>
        </p:nvSpPr>
        <p:spPr bwMode="gray">
          <a:xfrm>
            <a:off x="4260850" y="3292536"/>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12" name="Textplatzhalter 19">
            <a:extLst>
              <a:ext uri="{FF2B5EF4-FFF2-40B4-BE49-F238E27FC236}">
                <a16:creationId xmlns:a16="http://schemas.microsoft.com/office/drawing/2014/main" id="{8643FFF0-4582-651C-F184-4D64BD89C2AA}"/>
              </a:ext>
            </a:extLst>
          </p:cNvPr>
          <p:cNvSpPr>
            <a:spLocks noGrp="1"/>
          </p:cNvSpPr>
          <p:nvPr>
            <p:ph type="body" sz="quarter" idx="20" hasCustomPrompt="1"/>
          </p:nvPr>
        </p:nvSpPr>
        <p:spPr bwMode="gray">
          <a:xfrm>
            <a:off x="4260850" y="3805133"/>
            <a:ext cx="3676650" cy="242597"/>
          </a:xfrm>
        </p:spPr>
        <p:txBody>
          <a:bodyPr/>
          <a:lstStyle>
            <a:lvl1pPr marL="719138" indent="-719138">
              <a:buFont typeface="+mj-lt"/>
              <a:buAutoNum type="arabicPeriod" startAt="4"/>
              <a:defRPr b="1">
                <a:solidFill>
                  <a:schemeClr val="bg1"/>
                </a:solidFill>
                <a:latin typeface="+mj-lt"/>
              </a:defRPr>
            </a:lvl1pPr>
          </a:lstStyle>
          <a:p>
            <a:pPr lvl="0"/>
            <a:r>
              <a:rPr lang="en-US" noProof="0"/>
              <a:t>Chapter heading</a:t>
            </a:r>
          </a:p>
        </p:txBody>
      </p:sp>
      <p:sp>
        <p:nvSpPr>
          <p:cNvPr id="14" name="Textplatzhalter 21">
            <a:extLst>
              <a:ext uri="{FF2B5EF4-FFF2-40B4-BE49-F238E27FC236}">
                <a16:creationId xmlns:a16="http://schemas.microsoft.com/office/drawing/2014/main" id="{E2C72C6B-00DD-24EB-0D80-A696763DC761}"/>
              </a:ext>
            </a:extLst>
          </p:cNvPr>
          <p:cNvSpPr>
            <a:spLocks noGrp="1"/>
          </p:cNvSpPr>
          <p:nvPr>
            <p:ph type="body" sz="quarter" idx="21" hasCustomPrompt="1"/>
          </p:nvPr>
        </p:nvSpPr>
        <p:spPr bwMode="gray">
          <a:xfrm>
            <a:off x="4260850" y="4047730"/>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19" name="Textplatzhalter 19">
            <a:extLst>
              <a:ext uri="{FF2B5EF4-FFF2-40B4-BE49-F238E27FC236}">
                <a16:creationId xmlns:a16="http://schemas.microsoft.com/office/drawing/2014/main" id="{8D862FC6-3FEE-D8EA-0C5F-4D3300F00047}"/>
              </a:ext>
            </a:extLst>
          </p:cNvPr>
          <p:cNvSpPr>
            <a:spLocks noGrp="1"/>
          </p:cNvSpPr>
          <p:nvPr>
            <p:ph type="body" sz="quarter" idx="22" hasCustomPrompt="1"/>
          </p:nvPr>
        </p:nvSpPr>
        <p:spPr bwMode="gray">
          <a:xfrm>
            <a:off x="4260850" y="4560327"/>
            <a:ext cx="3676650" cy="242597"/>
          </a:xfrm>
        </p:spPr>
        <p:txBody>
          <a:bodyPr/>
          <a:lstStyle>
            <a:lvl1pPr marL="719138" indent="-719138">
              <a:buFont typeface="+mj-lt"/>
              <a:buAutoNum type="arabicPeriod" startAt="5"/>
              <a:defRPr b="1">
                <a:solidFill>
                  <a:schemeClr val="bg1"/>
                </a:solidFill>
                <a:latin typeface="+mj-lt"/>
              </a:defRPr>
            </a:lvl1pPr>
          </a:lstStyle>
          <a:p>
            <a:pPr lvl="0"/>
            <a:r>
              <a:rPr lang="en-US" noProof="0"/>
              <a:t>Chapter heading</a:t>
            </a:r>
          </a:p>
        </p:txBody>
      </p:sp>
      <p:sp>
        <p:nvSpPr>
          <p:cNvPr id="24" name="Textplatzhalter 21">
            <a:extLst>
              <a:ext uri="{FF2B5EF4-FFF2-40B4-BE49-F238E27FC236}">
                <a16:creationId xmlns:a16="http://schemas.microsoft.com/office/drawing/2014/main" id="{66374619-2AE0-8B11-57D0-3A61E5D540F9}"/>
              </a:ext>
            </a:extLst>
          </p:cNvPr>
          <p:cNvSpPr>
            <a:spLocks noGrp="1"/>
          </p:cNvSpPr>
          <p:nvPr>
            <p:ph type="body" sz="quarter" idx="23" hasCustomPrompt="1"/>
          </p:nvPr>
        </p:nvSpPr>
        <p:spPr bwMode="gray">
          <a:xfrm>
            <a:off x="4260850" y="4802924"/>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5" name="Textplatzhalter 19">
            <a:extLst>
              <a:ext uri="{FF2B5EF4-FFF2-40B4-BE49-F238E27FC236}">
                <a16:creationId xmlns:a16="http://schemas.microsoft.com/office/drawing/2014/main" id="{CD9F7968-3D9B-E69D-220F-F0CB15EC9726}"/>
              </a:ext>
            </a:extLst>
          </p:cNvPr>
          <p:cNvSpPr>
            <a:spLocks noGrp="1"/>
          </p:cNvSpPr>
          <p:nvPr>
            <p:ph type="body" sz="quarter" idx="24" hasCustomPrompt="1"/>
          </p:nvPr>
        </p:nvSpPr>
        <p:spPr bwMode="gray">
          <a:xfrm>
            <a:off x="8135938" y="1527175"/>
            <a:ext cx="3676650" cy="242597"/>
          </a:xfrm>
        </p:spPr>
        <p:txBody>
          <a:bodyPr/>
          <a:lstStyle>
            <a:lvl1pPr marL="719138" indent="-719138">
              <a:buFont typeface="+mj-lt"/>
              <a:buAutoNum type="arabicPeriod" startAt="6"/>
              <a:defRPr b="1">
                <a:solidFill>
                  <a:schemeClr val="bg1"/>
                </a:solidFill>
                <a:latin typeface="+mj-lt"/>
              </a:defRPr>
            </a:lvl1pPr>
          </a:lstStyle>
          <a:p>
            <a:pPr lvl="0"/>
            <a:r>
              <a:rPr lang="en-US" noProof="0"/>
              <a:t>Chapter heading</a:t>
            </a:r>
          </a:p>
        </p:txBody>
      </p:sp>
      <p:sp>
        <p:nvSpPr>
          <p:cNvPr id="26" name="Textplatzhalter 21">
            <a:extLst>
              <a:ext uri="{FF2B5EF4-FFF2-40B4-BE49-F238E27FC236}">
                <a16:creationId xmlns:a16="http://schemas.microsoft.com/office/drawing/2014/main" id="{D82B70E0-C476-78C4-3C02-71EBA0C9EDC0}"/>
              </a:ext>
            </a:extLst>
          </p:cNvPr>
          <p:cNvSpPr>
            <a:spLocks noGrp="1"/>
          </p:cNvSpPr>
          <p:nvPr>
            <p:ph type="body" sz="quarter" idx="25" hasCustomPrompt="1"/>
          </p:nvPr>
        </p:nvSpPr>
        <p:spPr bwMode="gray">
          <a:xfrm>
            <a:off x="8135938" y="1769773"/>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7" name="Textplatzhalter 19">
            <a:extLst>
              <a:ext uri="{FF2B5EF4-FFF2-40B4-BE49-F238E27FC236}">
                <a16:creationId xmlns:a16="http://schemas.microsoft.com/office/drawing/2014/main" id="{5C631519-6969-29C0-663C-5E51356E910E}"/>
              </a:ext>
            </a:extLst>
          </p:cNvPr>
          <p:cNvSpPr>
            <a:spLocks noGrp="1"/>
          </p:cNvSpPr>
          <p:nvPr>
            <p:ph type="body" sz="quarter" idx="26" hasCustomPrompt="1"/>
          </p:nvPr>
        </p:nvSpPr>
        <p:spPr bwMode="gray">
          <a:xfrm>
            <a:off x="8135938" y="2282370"/>
            <a:ext cx="3676650" cy="242597"/>
          </a:xfrm>
        </p:spPr>
        <p:txBody>
          <a:bodyPr/>
          <a:lstStyle>
            <a:lvl1pPr marL="719138" indent="-719138">
              <a:buFont typeface="+mj-lt"/>
              <a:buAutoNum type="arabicPeriod" startAt="7"/>
              <a:defRPr b="1">
                <a:solidFill>
                  <a:schemeClr val="bg1"/>
                </a:solidFill>
                <a:latin typeface="+mj-lt"/>
              </a:defRPr>
            </a:lvl1pPr>
          </a:lstStyle>
          <a:p>
            <a:pPr lvl="0"/>
            <a:r>
              <a:rPr lang="en-US" noProof="0"/>
              <a:t>Chapter heading</a:t>
            </a:r>
          </a:p>
        </p:txBody>
      </p:sp>
      <p:sp>
        <p:nvSpPr>
          <p:cNvPr id="28" name="Textplatzhalter 21">
            <a:extLst>
              <a:ext uri="{FF2B5EF4-FFF2-40B4-BE49-F238E27FC236}">
                <a16:creationId xmlns:a16="http://schemas.microsoft.com/office/drawing/2014/main" id="{D25547B7-3EA6-7411-FDC2-EC03C298DC3C}"/>
              </a:ext>
            </a:extLst>
          </p:cNvPr>
          <p:cNvSpPr>
            <a:spLocks noGrp="1"/>
          </p:cNvSpPr>
          <p:nvPr>
            <p:ph type="body" sz="quarter" idx="27" hasCustomPrompt="1"/>
          </p:nvPr>
        </p:nvSpPr>
        <p:spPr bwMode="gray">
          <a:xfrm>
            <a:off x="8135938" y="2524967"/>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9" name="Textplatzhalter 19">
            <a:extLst>
              <a:ext uri="{FF2B5EF4-FFF2-40B4-BE49-F238E27FC236}">
                <a16:creationId xmlns:a16="http://schemas.microsoft.com/office/drawing/2014/main" id="{AD000910-F934-F245-4303-3D3B3EB730D0}"/>
              </a:ext>
            </a:extLst>
          </p:cNvPr>
          <p:cNvSpPr>
            <a:spLocks noGrp="1"/>
          </p:cNvSpPr>
          <p:nvPr>
            <p:ph type="body" sz="quarter" idx="28" hasCustomPrompt="1"/>
          </p:nvPr>
        </p:nvSpPr>
        <p:spPr bwMode="gray">
          <a:xfrm>
            <a:off x="8135938" y="3037564"/>
            <a:ext cx="3676650" cy="242597"/>
          </a:xfrm>
        </p:spPr>
        <p:txBody>
          <a:bodyPr/>
          <a:lstStyle>
            <a:lvl1pPr marL="719138" indent="-719138">
              <a:buFont typeface="+mj-lt"/>
              <a:buAutoNum type="arabicPeriod" startAt="8"/>
              <a:defRPr b="1">
                <a:solidFill>
                  <a:schemeClr val="bg1"/>
                </a:solidFill>
                <a:latin typeface="+mj-lt"/>
              </a:defRPr>
            </a:lvl1pPr>
          </a:lstStyle>
          <a:p>
            <a:pPr lvl="0"/>
            <a:r>
              <a:rPr lang="en-US" noProof="0"/>
              <a:t>Chapter heading</a:t>
            </a:r>
          </a:p>
        </p:txBody>
      </p:sp>
      <p:sp>
        <p:nvSpPr>
          <p:cNvPr id="30" name="Textplatzhalter 21">
            <a:extLst>
              <a:ext uri="{FF2B5EF4-FFF2-40B4-BE49-F238E27FC236}">
                <a16:creationId xmlns:a16="http://schemas.microsoft.com/office/drawing/2014/main" id="{39E6C198-7F9D-691C-3FD0-A7A633446DFA}"/>
              </a:ext>
            </a:extLst>
          </p:cNvPr>
          <p:cNvSpPr>
            <a:spLocks noGrp="1"/>
          </p:cNvSpPr>
          <p:nvPr>
            <p:ph type="body" sz="quarter" idx="29" hasCustomPrompt="1"/>
          </p:nvPr>
        </p:nvSpPr>
        <p:spPr bwMode="gray">
          <a:xfrm>
            <a:off x="8135938" y="3280161"/>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31" name="Textplatzhalter 19">
            <a:extLst>
              <a:ext uri="{FF2B5EF4-FFF2-40B4-BE49-F238E27FC236}">
                <a16:creationId xmlns:a16="http://schemas.microsoft.com/office/drawing/2014/main" id="{851DA279-9FE1-1511-CA36-E1D42B2042E3}"/>
              </a:ext>
            </a:extLst>
          </p:cNvPr>
          <p:cNvSpPr>
            <a:spLocks noGrp="1"/>
          </p:cNvSpPr>
          <p:nvPr>
            <p:ph type="body" sz="quarter" idx="30" hasCustomPrompt="1"/>
          </p:nvPr>
        </p:nvSpPr>
        <p:spPr bwMode="gray">
          <a:xfrm>
            <a:off x="8135938" y="3792758"/>
            <a:ext cx="3676650" cy="242597"/>
          </a:xfrm>
        </p:spPr>
        <p:txBody>
          <a:bodyPr/>
          <a:lstStyle>
            <a:lvl1pPr marL="719138" indent="-719138">
              <a:buFont typeface="+mj-lt"/>
              <a:buAutoNum type="arabicPeriod" startAt="9"/>
              <a:defRPr b="1">
                <a:solidFill>
                  <a:schemeClr val="bg1"/>
                </a:solidFill>
                <a:latin typeface="+mj-lt"/>
              </a:defRPr>
            </a:lvl1pPr>
          </a:lstStyle>
          <a:p>
            <a:pPr lvl="0"/>
            <a:r>
              <a:rPr lang="en-US" noProof="0"/>
              <a:t>Chapter heading</a:t>
            </a:r>
          </a:p>
        </p:txBody>
      </p:sp>
      <p:sp>
        <p:nvSpPr>
          <p:cNvPr id="32" name="Textplatzhalter 21">
            <a:extLst>
              <a:ext uri="{FF2B5EF4-FFF2-40B4-BE49-F238E27FC236}">
                <a16:creationId xmlns:a16="http://schemas.microsoft.com/office/drawing/2014/main" id="{C9D6D55E-8585-D922-33D0-7FB69BDA977E}"/>
              </a:ext>
            </a:extLst>
          </p:cNvPr>
          <p:cNvSpPr>
            <a:spLocks noGrp="1"/>
          </p:cNvSpPr>
          <p:nvPr>
            <p:ph type="body" sz="quarter" idx="31" hasCustomPrompt="1"/>
          </p:nvPr>
        </p:nvSpPr>
        <p:spPr bwMode="gray">
          <a:xfrm>
            <a:off x="8135938" y="4035355"/>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33" name="Textplatzhalter 19">
            <a:extLst>
              <a:ext uri="{FF2B5EF4-FFF2-40B4-BE49-F238E27FC236}">
                <a16:creationId xmlns:a16="http://schemas.microsoft.com/office/drawing/2014/main" id="{63E4B976-3034-8602-58B1-664686D12DAC}"/>
              </a:ext>
            </a:extLst>
          </p:cNvPr>
          <p:cNvSpPr>
            <a:spLocks noGrp="1"/>
          </p:cNvSpPr>
          <p:nvPr>
            <p:ph type="body" sz="quarter" idx="32" hasCustomPrompt="1"/>
          </p:nvPr>
        </p:nvSpPr>
        <p:spPr bwMode="gray">
          <a:xfrm>
            <a:off x="8135938" y="4547952"/>
            <a:ext cx="3676650" cy="242597"/>
          </a:xfrm>
        </p:spPr>
        <p:txBody>
          <a:bodyPr/>
          <a:lstStyle>
            <a:lvl1pPr marL="719138" indent="-719138">
              <a:buFont typeface="+mj-lt"/>
              <a:buAutoNum type="arabicPeriod" startAt="10"/>
              <a:defRPr b="1">
                <a:solidFill>
                  <a:schemeClr val="bg1"/>
                </a:solidFill>
                <a:latin typeface="+mj-lt"/>
              </a:defRPr>
            </a:lvl1pPr>
          </a:lstStyle>
          <a:p>
            <a:pPr lvl="0"/>
            <a:r>
              <a:rPr lang="en-US" noProof="0"/>
              <a:t>Chapter heading</a:t>
            </a:r>
          </a:p>
        </p:txBody>
      </p:sp>
      <p:sp>
        <p:nvSpPr>
          <p:cNvPr id="34" name="Textplatzhalter 21">
            <a:extLst>
              <a:ext uri="{FF2B5EF4-FFF2-40B4-BE49-F238E27FC236}">
                <a16:creationId xmlns:a16="http://schemas.microsoft.com/office/drawing/2014/main" id="{A15B8A27-0CAB-13C7-C7B1-4EE3120EF1CB}"/>
              </a:ext>
            </a:extLst>
          </p:cNvPr>
          <p:cNvSpPr>
            <a:spLocks noGrp="1"/>
          </p:cNvSpPr>
          <p:nvPr>
            <p:ph type="body" sz="quarter" idx="33" hasCustomPrompt="1"/>
          </p:nvPr>
        </p:nvSpPr>
        <p:spPr bwMode="gray">
          <a:xfrm>
            <a:off x="8135938" y="4790549"/>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grpSp>
        <p:nvGrpSpPr>
          <p:cNvPr id="17" name="object 8">
            <a:extLst>
              <a:ext uri="{FF2B5EF4-FFF2-40B4-BE49-F238E27FC236}">
                <a16:creationId xmlns:a16="http://schemas.microsoft.com/office/drawing/2014/main" id="{2E908EBE-F967-9329-81E9-7B810613DF6B}"/>
              </a:ext>
            </a:extLst>
          </p:cNvPr>
          <p:cNvGrpSpPr/>
          <p:nvPr/>
        </p:nvGrpSpPr>
        <p:grpSpPr bwMode="gray">
          <a:xfrm>
            <a:off x="11523000" y="6201700"/>
            <a:ext cx="288000" cy="288000"/>
            <a:chOff x="18934851" y="10156759"/>
            <a:chExt cx="523875" cy="523875"/>
          </a:xfrm>
        </p:grpSpPr>
        <p:sp>
          <p:nvSpPr>
            <p:cNvPr id="18" name="object 9">
              <a:extLst>
                <a:ext uri="{FF2B5EF4-FFF2-40B4-BE49-F238E27FC236}">
                  <a16:creationId xmlns:a16="http://schemas.microsoft.com/office/drawing/2014/main" id="{E6569D25-8AEC-3A3B-9D43-C79D52E65E60}"/>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20" name="object 10">
              <a:extLst>
                <a:ext uri="{FF2B5EF4-FFF2-40B4-BE49-F238E27FC236}">
                  <a16:creationId xmlns:a16="http://schemas.microsoft.com/office/drawing/2014/main" id="{DC0F6B6E-DF3D-1D03-C385-8931E5EE74A7}"/>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21" name="object 11">
              <a:extLst>
                <a:ext uri="{FF2B5EF4-FFF2-40B4-BE49-F238E27FC236}">
                  <a16:creationId xmlns:a16="http://schemas.microsoft.com/office/drawing/2014/main" id="{0F50C465-C6CC-2CC9-89CE-2CE2665CF6F0}"/>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35" name="Slide Number Placeholder 34">
            <a:extLst>
              <a:ext uri="{FF2B5EF4-FFF2-40B4-BE49-F238E27FC236}">
                <a16:creationId xmlns:a16="http://schemas.microsoft.com/office/drawing/2014/main" id="{B7A8E120-4E47-7B44-3928-C0B3DD718E86}"/>
              </a:ext>
            </a:extLst>
          </p:cNvPr>
          <p:cNvSpPr>
            <a:spLocks noGrp="1"/>
          </p:cNvSpPr>
          <p:nvPr>
            <p:ph type="sldNum" sz="quarter" idx="37"/>
          </p:nvPr>
        </p:nvSpPr>
        <p:spPr bwMode="gray"/>
        <p:txBody>
          <a:bodyPr/>
          <a:lstStyle/>
          <a:p>
            <a:fld id="{A115CDC9-74CB-4F6C-8CD3-A6C89F254EE7}" type="slidenum">
              <a:rPr lang="en-US" noProof="0" smtClean="0"/>
              <a:pPr/>
              <a:t>‹#›</a:t>
            </a:fld>
            <a:endParaRPr lang="en-US" noProof="0"/>
          </a:p>
        </p:txBody>
      </p:sp>
      <p:sp>
        <p:nvSpPr>
          <p:cNvPr id="39" name="Date Placeholder 19">
            <a:extLst>
              <a:ext uri="{FF2B5EF4-FFF2-40B4-BE49-F238E27FC236}">
                <a16:creationId xmlns:a16="http://schemas.microsoft.com/office/drawing/2014/main" id="{22B0610B-304E-EABD-6B35-F97DEAF2DC28}"/>
              </a:ext>
            </a:extLst>
          </p:cNvPr>
          <p:cNvSpPr>
            <a:spLocks noGrp="1"/>
          </p:cNvSpPr>
          <p:nvPr>
            <p:ph type="dt" sz="half" idx="35"/>
          </p:nvPr>
        </p:nvSpPr>
        <p:spPr bwMode="gray">
          <a:xfrm>
            <a:off x="4263180" y="6387525"/>
            <a:ext cx="592173" cy="123111"/>
          </a:xfrm>
        </p:spPr>
        <p:txBody>
          <a:bodyPr/>
          <a:lstStyle>
            <a:lvl1pPr>
              <a:defRPr>
                <a:solidFill>
                  <a:schemeClr val="bg1"/>
                </a:solidFill>
              </a:defRPr>
            </a:lvl1pPr>
          </a:lstStyle>
          <a:p>
            <a:fld id="{52CB9F82-853E-4203-BFD6-C7B38675288B}" type="datetime1">
              <a:rPr lang="en-US" noProof="0" smtClean="0"/>
              <a:t>10/31/2024</a:t>
            </a:fld>
            <a:endParaRPr lang="en-US" noProof="0"/>
          </a:p>
        </p:txBody>
      </p:sp>
      <p:sp>
        <p:nvSpPr>
          <p:cNvPr id="40" name="Footer Placeholder 20">
            <a:extLst>
              <a:ext uri="{FF2B5EF4-FFF2-40B4-BE49-F238E27FC236}">
                <a16:creationId xmlns:a16="http://schemas.microsoft.com/office/drawing/2014/main" id="{C6B30D78-E972-8EAD-8A85-083C2DD6092B}"/>
              </a:ext>
            </a:extLst>
          </p:cNvPr>
          <p:cNvSpPr>
            <a:spLocks noGrp="1"/>
          </p:cNvSpPr>
          <p:nvPr>
            <p:ph type="ftr" sz="quarter" idx="36"/>
          </p:nvPr>
        </p:nvSpPr>
        <p:spPr bwMode="gray">
          <a:xfrm>
            <a:off x="5226683" y="6387525"/>
            <a:ext cx="5418160" cy="123111"/>
          </a:xfrm>
        </p:spPr>
        <p:txBody>
          <a:bodyPr/>
          <a:lstStyle>
            <a:lvl1pPr>
              <a:defRPr>
                <a:solidFill>
                  <a:schemeClr val="bg1"/>
                </a:solidFill>
              </a:defRPr>
            </a:lvl1pPr>
          </a:lstStyle>
          <a:p>
            <a:r>
              <a:rPr lang="en-US" noProof="0"/>
              <a:t>Group Presentation</a:t>
            </a:r>
          </a:p>
        </p:txBody>
      </p:sp>
      <p:sp>
        <p:nvSpPr>
          <p:cNvPr id="8" name="Bildplatzhalter 19">
            <a:extLst>
              <a:ext uri="{FF2B5EF4-FFF2-40B4-BE49-F238E27FC236}">
                <a16:creationId xmlns:a16="http://schemas.microsoft.com/office/drawing/2014/main" id="{996F1058-D187-C1F3-64A8-41B5EEC558F1}"/>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11043578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hapt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1A78EA-4C46-8D4F-3BA9-C08C27C30F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581A78EA-4C46-8D4F-3BA9-C08C27C30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ildplatzhalter 8">
            <a:extLst>
              <a:ext uri="{FF2B5EF4-FFF2-40B4-BE49-F238E27FC236}">
                <a16:creationId xmlns:a16="http://schemas.microsoft.com/office/drawing/2014/main" id="{804906D1-5671-CF95-96D1-F6820AB621A2}"/>
              </a:ext>
            </a:extLst>
          </p:cNvPr>
          <p:cNvSpPr>
            <a:spLocks noGrp="1"/>
          </p:cNvSpPr>
          <p:nvPr>
            <p:ph type="pic" sz="quarter" idx="14" hasCustomPrompt="1"/>
          </p:nvPr>
        </p:nvSpPr>
        <p:spPr bwMode="gray">
          <a:xfrm>
            <a:off x="0" y="1"/>
            <a:ext cx="12192000" cy="6858000"/>
          </a:xfrm>
          <a:solidFill>
            <a:schemeClr val="bg1"/>
          </a:solidFill>
        </p:spPr>
        <p:txBody>
          <a:bodyPr/>
          <a:lstStyle/>
          <a:p>
            <a:r>
              <a:rPr lang="en-US" noProof="0"/>
              <a:t>Add image by clicking on icon and set image in background</a:t>
            </a:r>
            <a:endParaRPr lang="en-GB" noProof="0"/>
          </a:p>
        </p:txBody>
      </p:sp>
      <p:sp>
        <p:nvSpPr>
          <p:cNvPr id="12" name="Titel 11">
            <a:extLst>
              <a:ext uri="{FF2B5EF4-FFF2-40B4-BE49-F238E27FC236}">
                <a16:creationId xmlns:a16="http://schemas.microsoft.com/office/drawing/2014/main" id="{2D8A5C73-A2DD-BB0B-F430-B85D39EE2790}"/>
              </a:ext>
            </a:extLst>
          </p:cNvPr>
          <p:cNvSpPr>
            <a:spLocks noGrp="1"/>
          </p:cNvSpPr>
          <p:nvPr>
            <p:ph type="title" hasCustomPrompt="1"/>
          </p:nvPr>
        </p:nvSpPr>
        <p:spPr bwMode="gray">
          <a:xfrm>
            <a:off x="1151690" y="1175328"/>
            <a:ext cx="1582727" cy="1760691"/>
          </a:xfrm>
        </p:spPr>
        <p:txBody>
          <a:bodyPr vert="horz" lIns="72000">
            <a:noAutofit/>
          </a:bodyPr>
          <a:lstStyle>
            <a:lvl1pPr>
              <a:defRPr sz="14000" b="0">
                <a:solidFill>
                  <a:schemeClr val="tx2"/>
                </a:solidFill>
                <a:latin typeface="Lexend Exa HM Xlight" pitchFamily="2" charset="0"/>
              </a:defRPr>
            </a:lvl1pPr>
          </a:lstStyle>
          <a:p>
            <a:r>
              <a:rPr lang="en-US" noProof="0"/>
              <a:t>1</a:t>
            </a:r>
          </a:p>
        </p:txBody>
      </p:sp>
      <p:sp>
        <p:nvSpPr>
          <p:cNvPr id="14" name="Textplatzhalter 13">
            <a:extLst>
              <a:ext uri="{FF2B5EF4-FFF2-40B4-BE49-F238E27FC236}">
                <a16:creationId xmlns:a16="http://schemas.microsoft.com/office/drawing/2014/main" id="{CB3A63BB-B6EA-EE27-B2B3-B402C39B8E24}"/>
              </a:ext>
            </a:extLst>
          </p:cNvPr>
          <p:cNvSpPr>
            <a:spLocks noGrp="1"/>
          </p:cNvSpPr>
          <p:nvPr>
            <p:ph type="body" sz="quarter" idx="10" hasCustomPrompt="1"/>
          </p:nvPr>
        </p:nvSpPr>
        <p:spPr bwMode="gray">
          <a:xfrm>
            <a:off x="5224682" y="1148367"/>
            <a:ext cx="5606831" cy="1662947"/>
          </a:xfrm>
        </p:spPr>
        <p:txBody>
          <a:bodyPr anchor="b" anchorCtr="0">
            <a:noAutofit/>
          </a:bodyPr>
          <a:lstStyle>
            <a:lvl1pPr marL="0" indent="0">
              <a:lnSpc>
                <a:spcPct val="90000"/>
              </a:lnSpc>
              <a:buFontTx/>
              <a:buNone/>
              <a:defRPr sz="4000" b="1">
                <a:solidFill>
                  <a:schemeClr val="tx2"/>
                </a:solidFill>
                <a:latin typeface="+mj-lt"/>
              </a:defRPr>
            </a:lvl1pPr>
            <a:lvl6pPr>
              <a:defRPr sz="2000">
                <a:solidFill>
                  <a:schemeClr val="bg1"/>
                </a:solidFill>
                <a:latin typeface="+mj-lt"/>
              </a:defRPr>
            </a:lvl6pPr>
          </a:lstStyle>
          <a:p>
            <a:pPr lvl="0"/>
            <a:r>
              <a:rPr lang="en-US" noProof="0"/>
              <a:t>Chapter heading</a:t>
            </a:r>
          </a:p>
        </p:txBody>
      </p:sp>
      <p:sp>
        <p:nvSpPr>
          <p:cNvPr id="13" name="Textplatzhalter 12">
            <a:extLst>
              <a:ext uri="{FF2B5EF4-FFF2-40B4-BE49-F238E27FC236}">
                <a16:creationId xmlns:a16="http://schemas.microsoft.com/office/drawing/2014/main" id="{C9A78DCD-CA90-CB5B-DB87-B59699DA0508}"/>
              </a:ext>
            </a:extLst>
          </p:cNvPr>
          <p:cNvSpPr>
            <a:spLocks noGrp="1"/>
          </p:cNvSpPr>
          <p:nvPr>
            <p:ph type="body" sz="quarter" idx="13" hasCustomPrompt="1"/>
          </p:nvPr>
        </p:nvSpPr>
        <p:spPr bwMode="gray">
          <a:xfrm>
            <a:off x="5224463" y="2791512"/>
            <a:ext cx="5607097" cy="2897939"/>
          </a:xfrm>
        </p:spPr>
        <p:txBody>
          <a:bodyPr tIns="324000">
            <a:noAutofit/>
          </a:bodyPr>
          <a:lstStyle>
            <a:lvl1pPr marL="811213" indent="-811213">
              <a:buFont typeface="+mj-lt"/>
              <a:buAutoNum type="arabicPeriod"/>
              <a:tabLst>
                <a:tab pos="811213" algn="l"/>
              </a:tabLst>
              <a:defRPr sz="2000">
                <a:solidFill>
                  <a:schemeClr val="tx2"/>
                </a:solidFill>
              </a:defRPr>
            </a:lvl1pPr>
          </a:lstStyle>
          <a:p>
            <a:pPr lvl="0"/>
            <a:r>
              <a:rPr lang="en-US" noProof="0"/>
              <a:t>Lorem Ipsum</a:t>
            </a:r>
          </a:p>
          <a:p>
            <a:pPr lvl="0"/>
            <a:r>
              <a:rPr lang="en-US" noProof="0"/>
              <a:t>Lorem Ipsum</a:t>
            </a:r>
            <a:br>
              <a:rPr lang="en-US" noProof="0"/>
            </a:br>
            <a:endParaRPr lang="en-US" noProof="0"/>
          </a:p>
        </p:txBody>
      </p:sp>
      <p:sp>
        <p:nvSpPr>
          <p:cNvPr id="5" name="Text Placeholder 7">
            <a:extLst>
              <a:ext uri="{FF2B5EF4-FFF2-40B4-BE49-F238E27FC236}">
                <a16:creationId xmlns:a16="http://schemas.microsoft.com/office/drawing/2014/main" id="{1DAFBBA3-4019-5537-807D-D6B6C9FC3399}"/>
              </a:ext>
            </a:extLst>
          </p:cNvPr>
          <p:cNvSpPr>
            <a:spLocks noGrp="1"/>
          </p:cNvSpPr>
          <p:nvPr>
            <p:ph type="body" sz="quarter" idx="35" hasCustomPrompt="1"/>
          </p:nvPr>
        </p:nvSpPr>
        <p:spPr>
          <a:xfrm>
            <a:off x="11523000" y="6201700"/>
            <a:ext cx="288000" cy="288000"/>
          </a:xfrm>
          <a:blipFill>
            <a:blip r:embed="rId5"/>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339279797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Chapter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89BA70-C2AB-9B67-33C8-4A42E35130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5" name="Object 4" hidden="1">
                        <a:extLst>
                          <a:ext uri="{FF2B5EF4-FFF2-40B4-BE49-F238E27FC236}">
                            <a16:creationId xmlns:a16="http://schemas.microsoft.com/office/drawing/2014/main" id="{FE89BA70-C2AB-9B67-33C8-4A42E35130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EFBA8DA6-FAED-C98B-E05F-320D099996E8}"/>
              </a:ext>
            </a:extLst>
          </p:cNvPr>
          <p:cNvSpPr>
            <a:spLocks noGrp="1"/>
          </p:cNvSpPr>
          <p:nvPr>
            <p:ph type="pic" sz="quarter" idx="14" hasCustomPrompt="1"/>
          </p:nvPr>
        </p:nvSpPr>
        <p:spPr bwMode="gray">
          <a:xfrm>
            <a:off x="0" y="1"/>
            <a:ext cx="12192000" cy="6858000"/>
          </a:xfrm>
          <a:noFill/>
        </p:spPr>
        <p:txBody>
          <a:bodyPr/>
          <a:lstStyle/>
          <a:p>
            <a:r>
              <a:rPr lang="en-US" noProof="0"/>
              <a:t>Add image by clicking on icon and set image in background</a:t>
            </a:r>
            <a:endParaRPr lang="en-GB" noProof="0"/>
          </a:p>
          <a:p>
            <a:endParaRPr lang="en-GB" noProof="0"/>
          </a:p>
        </p:txBody>
      </p:sp>
      <p:sp>
        <p:nvSpPr>
          <p:cNvPr id="2" name="Textplatzhalter 13">
            <a:extLst>
              <a:ext uri="{FF2B5EF4-FFF2-40B4-BE49-F238E27FC236}">
                <a16:creationId xmlns:a16="http://schemas.microsoft.com/office/drawing/2014/main" id="{4DB97531-A006-85B1-9028-667488C84C6B}"/>
              </a:ext>
            </a:extLst>
          </p:cNvPr>
          <p:cNvSpPr>
            <a:spLocks noGrp="1"/>
          </p:cNvSpPr>
          <p:nvPr>
            <p:ph type="body" sz="quarter" idx="10" hasCustomPrompt="1"/>
          </p:nvPr>
        </p:nvSpPr>
        <p:spPr bwMode="gray">
          <a:xfrm>
            <a:off x="5224682" y="1137216"/>
            <a:ext cx="5606831" cy="1662947"/>
          </a:xfrm>
          <a:noFill/>
        </p:spPr>
        <p:txBody>
          <a:bodyPr anchor="b" anchorCtr="0">
            <a:noAutofit/>
          </a:bodyPr>
          <a:lstStyle>
            <a:lvl1pPr marL="0" indent="0">
              <a:lnSpc>
                <a:spcPct val="90000"/>
              </a:lnSpc>
              <a:buFontTx/>
              <a:buNone/>
              <a:defRPr sz="4000" b="1">
                <a:solidFill>
                  <a:schemeClr val="bg1"/>
                </a:solidFill>
                <a:latin typeface="+mj-lt"/>
              </a:defRPr>
            </a:lvl1pPr>
            <a:lvl6pPr>
              <a:defRPr sz="2000">
                <a:solidFill>
                  <a:schemeClr val="bg1"/>
                </a:solidFill>
                <a:latin typeface="+mj-lt"/>
              </a:defRPr>
            </a:lvl6pPr>
          </a:lstStyle>
          <a:p>
            <a:pPr lvl="0"/>
            <a:r>
              <a:rPr lang="en-US" noProof="0"/>
              <a:t>Chapter heading</a:t>
            </a:r>
          </a:p>
        </p:txBody>
      </p:sp>
      <p:sp>
        <p:nvSpPr>
          <p:cNvPr id="3" name="Textplatzhalter 12">
            <a:extLst>
              <a:ext uri="{FF2B5EF4-FFF2-40B4-BE49-F238E27FC236}">
                <a16:creationId xmlns:a16="http://schemas.microsoft.com/office/drawing/2014/main" id="{39993FEF-8F94-0E94-4556-4B8D8E28D1E2}"/>
              </a:ext>
            </a:extLst>
          </p:cNvPr>
          <p:cNvSpPr>
            <a:spLocks noGrp="1"/>
          </p:cNvSpPr>
          <p:nvPr>
            <p:ph type="body" sz="quarter" idx="13" hasCustomPrompt="1"/>
          </p:nvPr>
        </p:nvSpPr>
        <p:spPr bwMode="gray">
          <a:xfrm>
            <a:off x="5224463" y="2791512"/>
            <a:ext cx="5607097" cy="2897939"/>
          </a:xfrm>
        </p:spPr>
        <p:txBody>
          <a:bodyPr tIns="324000">
            <a:noAutofit/>
          </a:bodyPr>
          <a:lstStyle>
            <a:lvl1pPr marL="811213" indent="-811213">
              <a:buFont typeface="+mj-lt"/>
              <a:buAutoNum type="arabicPeriod"/>
              <a:tabLst>
                <a:tab pos="811213" algn="l"/>
              </a:tabLst>
              <a:defRPr sz="2000">
                <a:solidFill>
                  <a:schemeClr val="bg1"/>
                </a:solidFill>
              </a:defRPr>
            </a:lvl1pPr>
          </a:lstStyle>
          <a:p>
            <a:pPr lvl="0"/>
            <a:r>
              <a:rPr lang="en-US" noProof="0"/>
              <a:t>Lorem Ipsum</a:t>
            </a:r>
          </a:p>
          <a:p>
            <a:pPr lvl="0"/>
            <a:r>
              <a:rPr lang="en-US" noProof="0"/>
              <a:t>Lorem Ipsum</a:t>
            </a:r>
          </a:p>
        </p:txBody>
      </p:sp>
      <p:sp>
        <p:nvSpPr>
          <p:cNvPr id="4" name="Text Placeholder 9">
            <a:extLst>
              <a:ext uri="{FF2B5EF4-FFF2-40B4-BE49-F238E27FC236}">
                <a16:creationId xmlns:a16="http://schemas.microsoft.com/office/drawing/2014/main" id="{316E74F7-231F-FE02-2B8C-B320AAF8A139}"/>
              </a:ext>
            </a:extLst>
          </p:cNvPr>
          <p:cNvSpPr>
            <a:spLocks noGrp="1"/>
          </p:cNvSpPr>
          <p:nvPr>
            <p:ph type="body" sz="quarter" idx="19" hasCustomPrompt="1"/>
          </p:nvPr>
        </p:nvSpPr>
        <p:spPr>
          <a:xfrm>
            <a:off x="11523000" y="6201700"/>
            <a:ext cx="288000" cy="28800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de-DE"/>
              <a:t> </a:t>
            </a:r>
            <a:endParaRPr lang="en-US"/>
          </a:p>
        </p:txBody>
      </p:sp>
      <p:sp>
        <p:nvSpPr>
          <p:cNvPr id="22" name="Titel 11">
            <a:extLst>
              <a:ext uri="{FF2B5EF4-FFF2-40B4-BE49-F238E27FC236}">
                <a16:creationId xmlns:a16="http://schemas.microsoft.com/office/drawing/2014/main" id="{91832271-2CDD-6DF6-A19A-0B91A3EC737D}"/>
              </a:ext>
            </a:extLst>
          </p:cNvPr>
          <p:cNvSpPr>
            <a:spLocks noGrp="1"/>
          </p:cNvSpPr>
          <p:nvPr>
            <p:ph type="title" hasCustomPrompt="1"/>
          </p:nvPr>
        </p:nvSpPr>
        <p:spPr bwMode="gray">
          <a:xfrm>
            <a:off x="1157156" y="1175328"/>
            <a:ext cx="1582727" cy="1760691"/>
          </a:xfrm>
        </p:spPr>
        <p:txBody>
          <a:bodyPr vert="horz" lIns="72000">
            <a:noAutofit/>
          </a:bodyPr>
          <a:lstStyle>
            <a:lvl1pPr>
              <a:defRPr sz="14000" b="0">
                <a:solidFill>
                  <a:schemeClr val="bg1"/>
                </a:solidFill>
                <a:latin typeface="Lexend Exa HM Xlight" pitchFamily="2" charset="0"/>
              </a:defRPr>
            </a:lvl1pPr>
          </a:lstStyle>
          <a:p>
            <a:r>
              <a:rPr lang="en-US" noProof="0"/>
              <a:t>1</a:t>
            </a:r>
          </a:p>
        </p:txBody>
      </p:sp>
    </p:spTree>
    <p:extLst>
      <p:ext uri="{BB962C8B-B14F-4D97-AF65-F5344CB8AC3E}">
        <p14:creationId xmlns:p14="http://schemas.microsoft.com/office/powerpoint/2010/main" val="21017552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Chapter 3">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D7ECC0-B462-069E-B566-F053D7C7CE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10" name="Object 9" hidden="1">
                        <a:extLst>
                          <a:ext uri="{FF2B5EF4-FFF2-40B4-BE49-F238E27FC236}">
                            <a16:creationId xmlns:a16="http://schemas.microsoft.com/office/drawing/2014/main" id="{E5D7ECC0-B462-069E-B566-F053D7C7C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1BE47DBF-D117-B79A-DED7-47CA43B56B56}"/>
              </a:ext>
            </a:extLst>
          </p:cNvPr>
          <p:cNvSpPr/>
          <p:nvPr/>
        </p:nvSpPr>
        <p:spPr>
          <a:xfrm>
            <a:off x="-29256" y="0"/>
            <a:ext cx="1222125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Single Corner Rounded 13">
            <a:extLst>
              <a:ext uri="{FF2B5EF4-FFF2-40B4-BE49-F238E27FC236}">
                <a16:creationId xmlns:a16="http://schemas.microsoft.com/office/drawing/2014/main" id="{C918C3B2-6357-BB29-BAC0-97A30DE1DBE7}"/>
              </a:ext>
            </a:extLst>
          </p:cNvPr>
          <p:cNvSpPr/>
          <p:nvPr/>
        </p:nvSpPr>
        <p:spPr>
          <a:xfrm flipV="1">
            <a:off x="382588" y="371475"/>
            <a:ext cx="11428412" cy="5349876"/>
          </a:xfrm>
          <a:prstGeom prst="round1Rect">
            <a:avLst>
              <a:gd name="adj" fmla="val 24528"/>
            </a:avLst>
          </a:prstGeom>
          <a:solidFill>
            <a:srgbClr val="FF64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object 8">
            <a:extLst>
              <a:ext uri="{FF2B5EF4-FFF2-40B4-BE49-F238E27FC236}">
                <a16:creationId xmlns:a16="http://schemas.microsoft.com/office/drawing/2014/main" id="{52ECCF31-69AC-9CEA-C1E4-5708D54FB47E}"/>
              </a:ext>
            </a:extLst>
          </p:cNvPr>
          <p:cNvGrpSpPr/>
          <p:nvPr/>
        </p:nvGrpSpPr>
        <p:grpSpPr bwMode="gray">
          <a:xfrm>
            <a:off x="11523000" y="6201700"/>
            <a:ext cx="288000" cy="288000"/>
            <a:chOff x="18934851" y="10156759"/>
            <a:chExt cx="523875" cy="523875"/>
          </a:xfrm>
        </p:grpSpPr>
        <p:sp>
          <p:nvSpPr>
            <p:cNvPr id="5" name="object 9">
              <a:extLst>
                <a:ext uri="{FF2B5EF4-FFF2-40B4-BE49-F238E27FC236}">
                  <a16:creationId xmlns:a16="http://schemas.microsoft.com/office/drawing/2014/main" id="{AB3FF80B-3217-461E-9EED-D73254788616}"/>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6" name="object 10">
              <a:extLst>
                <a:ext uri="{FF2B5EF4-FFF2-40B4-BE49-F238E27FC236}">
                  <a16:creationId xmlns:a16="http://schemas.microsoft.com/office/drawing/2014/main" id="{35DAF4AE-B974-4682-762E-50DC88D418C1}"/>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7" name="object 11">
              <a:extLst>
                <a:ext uri="{FF2B5EF4-FFF2-40B4-BE49-F238E27FC236}">
                  <a16:creationId xmlns:a16="http://schemas.microsoft.com/office/drawing/2014/main" id="{4901FE11-EBAA-3FAC-777D-B01915CC9BF0}"/>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3" name="Textplatzhalter 13">
            <a:extLst>
              <a:ext uri="{FF2B5EF4-FFF2-40B4-BE49-F238E27FC236}">
                <a16:creationId xmlns:a16="http://schemas.microsoft.com/office/drawing/2014/main" id="{56A57B19-DF55-3B48-4FC0-747DE23EA985}"/>
              </a:ext>
            </a:extLst>
          </p:cNvPr>
          <p:cNvSpPr>
            <a:spLocks noGrp="1"/>
          </p:cNvSpPr>
          <p:nvPr>
            <p:ph type="body" sz="quarter" idx="10" hasCustomPrompt="1"/>
          </p:nvPr>
        </p:nvSpPr>
        <p:spPr bwMode="gray">
          <a:xfrm>
            <a:off x="5024437" y="1148770"/>
            <a:ext cx="5807076" cy="1624939"/>
          </a:xfrm>
        </p:spPr>
        <p:txBody>
          <a:bodyPr anchor="b" anchorCtr="0">
            <a:noAutofit/>
          </a:bodyPr>
          <a:lstStyle>
            <a:lvl1pPr marL="0" indent="0">
              <a:lnSpc>
                <a:spcPct val="90000"/>
              </a:lnSpc>
              <a:buFontTx/>
              <a:buNone/>
              <a:defRPr sz="3000" b="1">
                <a:solidFill>
                  <a:schemeClr val="bg1"/>
                </a:solidFill>
                <a:latin typeface="+mj-lt"/>
              </a:defRPr>
            </a:lvl1pPr>
            <a:lvl6pPr>
              <a:defRPr sz="2000">
                <a:solidFill>
                  <a:schemeClr val="bg1"/>
                </a:solidFill>
                <a:latin typeface="+mj-lt"/>
              </a:defRPr>
            </a:lvl6pPr>
          </a:lstStyle>
          <a:p>
            <a:pPr lvl="0"/>
            <a:r>
              <a:rPr lang="en-US" noProof="0"/>
              <a:t>Chapter heading</a:t>
            </a:r>
          </a:p>
        </p:txBody>
      </p:sp>
      <p:sp>
        <p:nvSpPr>
          <p:cNvPr id="8" name="Textplatzhalter 12">
            <a:extLst>
              <a:ext uri="{FF2B5EF4-FFF2-40B4-BE49-F238E27FC236}">
                <a16:creationId xmlns:a16="http://schemas.microsoft.com/office/drawing/2014/main" id="{841F7DF6-F856-464C-6B24-0E5D6E8AB70A}"/>
              </a:ext>
            </a:extLst>
          </p:cNvPr>
          <p:cNvSpPr>
            <a:spLocks noGrp="1"/>
          </p:cNvSpPr>
          <p:nvPr>
            <p:ph type="body" sz="quarter" idx="13" hasCustomPrompt="1"/>
          </p:nvPr>
        </p:nvSpPr>
        <p:spPr bwMode="gray">
          <a:xfrm>
            <a:off x="5024437" y="2819805"/>
            <a:ext cx="5807075" cy="2435661"/>
          </a:xfrm>
        </p:spPr>
        <p:txBody>
          <a:bodyPr tIns="360000">
            <a:noAutofit/>
          </a:bodyPr>
          <a:lstStyle>
            <a:lvl1pPr marL="0" indent="0">
              <a:buFontTx/>
              <a:buNone/>
              <a:tabLst>
                <a:tab pos="811213" algn="l"/>
              </a:tabLst>
              <a:defRPr sz="2000">
                <a:solidFill>
                  <a:schemeClr val="bg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tab pos="811213" algn="l"/>
              </a:tabLst>
              <a:defRPr/>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a:t>
            </a:r>
          </a:p>
          <a:p>
            <a:pPr lvl="0"/>
            <a:br>
              <a:rPr lang="en-US" noProof="0"/>
            </a:br>
            <a:br>
              <a:rPr lang="en-US" noProof="0"/>
            </a:br>
            <a:endParaRPr lang="en-US" noProof="0"/>
          </a:p>
        </p:txBody>
      </p:sp>
      <p:sp>
        <p:nvSpPr>
          <p:cNvPr id="9" name="Titel 11">
            <a:extLst>
              <a:ext uri="{FF2B5EF4-FFF2-40B4-BE49-F238E27FC236}">
                <a16:creationId xmlns:a16="http://schemas.microsoft.com/office/drawing/2014/main" id="{1843CEE1-6AB3-E361-6310-85AD9D2D1761}"/>
              </a:ext>
            </a:extLst>
          </p:cNvPr>
          <p:cNvSpPr>
            <a:spLocks noGrp="1"/>
          </p:cNvSpPr>
          <p:nvPr>
            <p:ph type="title" hasCustomPrompt="1"/>
          </p:nvPr>
        </p:nvSpPr>
        <p:spPr bwMode="gray">
          <a:xfrm>
            <a:off x="1146175" y="1160463"/>
            <a:ext cx="1411200" cy="1760691"/>
          </a:xfrm>
        </p:spPr>
        <p:txBody>
          <a:bodyPr vert="horz" lIns="72000">
            <a:noAutofit/>
          </a:bodyPr>
          <a:lstStyle>
            <a:lvl1pPr algn="l">
              <a:defRPr sz="14000" b="0">
                <a:solidFill>
                  <a:schemeClr val="bg1"/>
                </a:solidFill>
                <a:latin typeface="Lexend Exa HM Xlight" pitchFamily="2" charset="0"/>
              </a:defRPr>
            </a:lvl1pPr>
          </a:lstStyle>
          <a:p>
            <a:r>
              <a:rPr lang="en-US" noProof="0"/>
              <a:t>1</a:t>
            </a:r>
          </a:p>
        </p:txBody>
      </p:sp>
    </p:spTree>
    <p:extLst>
      <p:ext uri="{BB962C8B-B14F-4D97-AF65-F5344CB8AC3E}">
        <p14:creationId xmlns:p14="http://schemas.microsoft.com/office/powerpoint/2010/main" val="39322580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Chapter 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915C72-C121-422E-AB81-634BD98E7B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4" name="Object 3" hidden="1">
                        <a:extLst>
                          <a:ext uri="{FF2B5EF4-FFF2-40B4-BE49-F238E27FC236}">
                            <a16:creationId xmlns:a16="http://schemas.microsoft.com/office/drawing/2014/main" id="{5B915C72-C121-422E-AB81-634BD98E7B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F1F249F-1E91-A697-ADB1-18396B61E5F9}"/>
              </a:ext>
            </a:extLst>
          </p:cNvPr>
          <p:cNvSpPr/>
          <p:nvPr/>
        </p:nvSpPr>
        <p:spPr>
          <a:xfrm>
            <a:off x="-29256" y="0"/>
            <a:ext cx="1222125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Single Corner Rounded 13">
            <a:extLst>
              <a:ext uri="{FF2B5EF4-FFF2-40B4-BE49-F238E27FC236}">
                <a16:creationId xmlns:a16="http://schemas.microsoft.com/office/drawing/2014/main" id="{BFF8BD01-2E10-6B8D-175E-25D52887A9E7}"/>
              </a:ext>
            </a:extLst>
          </p:cNvPr>
          <p:cNvSpPr/>
          <p:nvPr/>
        </p:nvSpPr>
        <p:spPr>
          <a:xfrm flipV="1">
            <a:off x="382589" y="371474"/>
            <a:ext cx="11428412" cy="5349876"/>
          </a:xfrm>
          <a:prstGeom prst="round1Rect">
            <a:avLst>
              <a:gd name="adj" fmla="val 24528"/>
            </a:avLst>
          </a:prstGeom>
          <a:solidFill>
            <a:srgbClr val="FAFA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platzhalter 13">
            <a:extLst>
              <a:ext uri="{FF2B5EF4-FFF2-40B4-BE49-F238E27FC236}">
                <a16:creationId xmlns:a16="http://schemas.microsoft.com/office/drawing/2014/main" id="{FB87A77B-7253-80CF-FAB0-40E1094C941C}"/>
              </a:ext>
            </a:extLst>
          </p:cNvPr>
          <p:cNvSpPr>
            <a:spLocks noGrp="1"/>
          </p:cNvSpPr>
          <p:nvPr>
            <p:ph type="body" sz="quarter" idx="10" hasCustomPrompt="1"/>
          </p:nvPr>
        </p:nvSpPr>
        <p:spPr bwMode="gray">
          <a:xfrm>
            <a:off x="5024347" y="1137619"/>
            <a:ext cx="5806394" cy="1624939"/>
          </a:xfrm>
        </p:spPr>
        <p:txBody>
          <a:bodyPr anchor="b" anchorCtr="0">
            <a:noAutofit/>
          </a:bodyPr>
          <a:lstStyle>
            <a:lvl1pPr marL="0" indent="0">
              <a:lnSpc>
                <a:spcPct val="90000"/>
              </a:lnSpc>
              <a:buFontTx/>
              <a:buNone/>
              <a:defRPr sz="3000" b="1">
                <a:solidFill>
                  <a:schemeClr val="accent1"/>
                </a:solidFill>
                <a:latin typeface="+mj-lt"/>
              </a:defRPr>
            </a:lvl1pPr>
            <a:lvl6pPr>
              <a:defRPr sz="2000">
                <a:solidFill>
                  <a:schemeClr val="bg1"/>
                </a:solidFill>
                <a:latin typeface="+mj-lt"/>
              </a:defRPr>
            </a:lvl6pPr>
          </a:lstStyle>
          <a:p>
            <a:pPr lvl="0"/>
            <a:r>
              <a:rPr lang="en-US" noProof="0"/>
              <a:t>Chapter heading</a:t>
            </a:r>
          </a:p>
        </p:txBody>
      </p:sp>
      <p:sp>
        <p:nvSpPr>
          <p:cNvPr id="15" name="Textplatzhalter 12">
            <a:extLst>
              <a:ext uri="{FF2B5EF4-FFF2-40B4-BE49-F238E27FC236}">
                <a16:creationId xmlns:a16="http://schemas.microsoft.com/office/drawing/2014/main" id="{EDA90ACF-CCC2-9F69-6411-8F7AA60BECEA}"/>
              </a:ext>
            </a:extLst>
          </p:cNvPr>
          <p:cNvSpPr>
            <a:spLocks noGrp="1"/>
          </p:cNvSpPr>
          <p:nvPr>
            <p:ph type="body" sz="quarter" idx="13" hasCustomPrompt="1"/>
          </p:nvPr>
        </p:nvSpPr>
        <p:spPr bwMode="gray">
          <a:xfrm>
            <a:off x="5024437" y="2819805"/>
            <a:ext cx="5807075" cy="2435661"/>
          </a:xfrm>
        </p:spPr>
        <p:txBody>
          <a:bodyPr tIns="360000">
            <a:noAutofit/>
          </a:bodyPr>
          <a:lstStyle>
            <a:lvl1pPr marL="0" indent="0">
              <a:buFontTx/>
              <a:buNone/>
              <a:tabLst>
                <a:tab pos="811213" algn="l"/>
              </a:tabLst>
              <a:defRPr sz="2000">
                <a:solidFill>
                  <a:schemeClr val="accent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tab pos="811213" algn="l"/>
              </a:tabLst>
              <a:defRPr/>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a:t>
            </a:r>
          </a:p>
          <a:p>
            <a:pPr lvl="0"/>
            <a:br>
              <a:rPr lang="en-US" noProof="0"/>
            </a:br>
            <a:br>
              <a:rPr lang="en-US" noProof="0"/>
            </a:br>
            <a:endParaRPr lang="en-US" noProof="0"/>
          </a:p>
        </p:txBody>
      </p:sp>
      <p:sp>
        <p:nvSpPr>
          <p:cNvPr id="16" name="Titel 11">
            <a:extLst>
              <a:ext uri="{FF2B5EF4-FFF2-40B4-BE49-F238E27FC236}">
                <a16:creationId xmlns:a16="http://schemas.microsoft.com/office/drawing/2014/main" id="{DA5D6635-B9AE-5071-1563-6CA9EFADAB78}"/>
              </a:ext>
            </a:extLst>
          </p:cNvPr>
          <p:cNvSpPr>
            <a:spLocks noGrp="1"/>
          </p:cNvSpPr>
          <p:nvPr>
            <p:ph type="title" hasCustomPrompt="1"/>
          </p:nvPr>
        </p:nvSpPr>
        <p:spPr bwMode="gray">
          <a:xfrm>
            <a:off x="1156261" y="1160463"/>
            <a:ext cx="1411573" cy="1786393"/>
          </a:xfrm>
        </p:spPr>
        <p:txBody>
          <a:bodyPr vert="horz" lIns="72000">
            <a:noAutofit/>
          </a:bodyPr>
          <a:lstStyle>
            <a:lvl1pPr algn="l">
              <a:defRPr sz="14000" b="0">
                <a:solidFill>
                  <a:schemeClr val="accent1"/>
                </a:solidFill>
                <a:latin typeface="Lexend Exa HM Xlight" pitchFamily="2" charset="0"/>
              </a:defRPr>
            </a:lvl1pPr>
          </a:lstStyle>
          <a:p>
            <a:r>
              <a:rPr lang="en-US" noProof="0"/>
              <a:t>2</a:t>
            </a:r>
          </a:p>
        </p:txBody>
      </p:sp>
      <p:grpSp>
        <p:nvGrpSpPr>
          <p:cNvPr id="21" name="object 8">
            <a:extLst>
              <a:ext uri="{FF2B5EF4-FFF2-40B4-BE49-F238E27FC236}">
                <a16:creationId xmlns:a16="http://schemas.microsoft.com/office/drawing/2014/main" id="{D8E68360-62C8-855C-2A94-DE976E84A397}"/>
              </a:ext>
            </a:extLst>
          </p:cNvPr>
          <p:cNvGrpSpPr/>
          <p:nvPr/>
        </p:nvGrpSpPr>
        <p:grpSpPr bwMode="gray">
          <a:xfrm>
            <a:off x="11523000" y="6201700"/>
            <a:ext cx="288000" cy="288000"/>
            <a:chOff x="18934851" y="10156759"/>
            <a:chExt cx="523875" cy="523875"/>
          </a:xfrm>
        </p:grpSpPr>
        <p:sp>
          <p:nvSpPr>
            <p:cNvPr id="22" name="object 9">
              <a:extLst>
                <a:ext uri="{FF2B5EF4-FFF2-40B4-BE49-F238E27FC236}">
                  <a16:creationId xmlns:a16="http://schemas.microsoft.com/office/drawing/2014/main" id="{DCCFFEFA-8322-1DBA-4D35-E3B4061CBAEF}"/>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23" name="object 10">
              <a:extLst>
                <a:ext uri="{FF2B5EF4-FFF2-40B4-BE49-F238E27FC236}">
                  <a16:creationId xmlns:a16="http://schemas.microsoft.com/office/drawing/2014/main" id="{26E11FD1-E39E-364C-40C2-3E8B8A25330C}"/>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24" name="object 11">
              <a:extLst>
                <a:ext uri="{FF2B5EF4-FFF2-40B4-BE49-F238E27FC236}">
                  <a16:creationId xmlns:a16="http://schemas.microsoft.com/office/drawing/2014/main" id="{300AD9A4-6A99-8838-EC28-0369D946715E}"/>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Tree>
    <p:extLst>
      <p:ext uri="{BB962C8B-B14F-4D97-AF65-F5344CB8AC3E}">
        <p14:creationId xmlns:p14="http://schemas.microsoft.com/office/powerpoint/2010/main" val="258185208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Chapter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A25D504-A3C0-2BBB-6C47-2D69B4F8EB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5A25D504-A3C0-2BBB-6C47-2D69B4F8EB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EB7F665-83C8-9245-DA87-235726885C90}"/>
              </a:ext>
            </a:extLst>
          </p:cNvPr>
          <p:cNvSpPr/>
          <p:nvPr/>
        </p:nvSpPr>
        <p:spPr>
          <a:xfrm>
            <a:off x="-29256" y="0"/>
            <a:ext cx="1222125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Single Corner Rounded 13">
            <a:extLst>
              <a:ext uri="{FF2B5EF4-FFF2-40B4-BE49-F238E27FC236}">
                <a16:creationId xmlns:a16="http://schemas.microsoft.com/office/drawing/2014/main" id="{F68022E9-F686-8054-5E08-96FC2E030741}"/>
              </a:ext>
            </a:extLst>
          </p:cNvPr>
          <p:cNvSpPr/>
          <p:nvPr/>
        </p:nvSpPr>
        <p:spPr bwMode="gray">
          <a:xfrm flipV="1">
            <a:off x="382589" y="371474"/>
            <a:ext cx="11428412" cy="5349876"/>
          </a:xfrm>
          <a:prstGeom prst="round1Rect">
            <a:avLst>
              <a:gd name="adj" fmla="val 24528"/>
            </a:avLst>
          </a:prstGeom>
          <a:solidFill>
            <a:srgbClr val="873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platzhalter 13">
            <a:extLst>
              <a:ext uri="{FF2B5EF4-FFF2-40B4-BE49-F238E27FC236}">
                <a16:creationId xmlns:a16="http://schemas.microsoft.com/office/drawing/2014/main" id="{65F6E5E4-D892-5620-0A20-317AF2BB7334}"/>
              </a:ext>
            </a:extLst>
          </p:cNvPr>
          <p:cNvSpPr>
            <a:spLocks noGrp="1"/>
          </p:cNvSpPr>
          <p:nvPr>
            <p:ph type="body" sz="quarter" idx="10" hasCustomPrompt="1"/>
          </p:nvPr>
        </p:nvSpPr>
        <p:spPr bwMode="gray">
          <a:xfrm>
            <a:off x="5024437" y="1137619"/>
            <a:ext cx="5807076" cy="1624939"/>
          </a:xfrm>
        </p:spPr>
        <p:txBody>
          <a:bodyPr anchor="b" anchorCtr="0">
            <a:noAutofit/>
          </a:bodyPr>
          <a:lstStyle>
            <a:lvl1pPr marL="0" indent="0">
              <a:lnSpc>
                <a:spcPct val="90000"/>
              </a:lnSpc>
              <a:buFontTx/>
              <a:buNone/>
              <a:defRPr sz="3000" b="1">
                <a:solidFill>
                  <a:schemeClr val="bg1"/>
                </a:solidFill>
                <a:latin typeface="+mj-lt"/>
              </a:defRPr>
            </a:lvl1pPr>
            <a:lvl6pPr>
              <a:defRPr sz="2000">
                <a:solidFill>
                  <a:schemeClr val="bg1"/>
                </a:solidFill>
                <a:latin typeface="+mj-lt"/>
              </a:defRPr>
            </a:lvl6pPr>
          </a:lstStyle>
          <a:p>
            <a:pPr lvl="0"/>
            <a:r>
              <a:rPr lang="en-US" noProof="0"/>
              <a:t>Chapter heading</a:t>
            </a:r>
          </a:p>
        </p:txBody>
      </p:sp>
      <p:sp>
        <p:nvSpPr>
          <p:cNvPr id="18" name="Textplatzhalter 12">
            <a:extLst>
              <a:ext uri="{FF2B5EF4-FFF2-40B4-BE49-F238E27FC236}">
                <a16:creationId xmlns:a16="http://schemas.microsoft.com/office/drawing/2014/main" id="{3DA35646-5A17-918C-A9AA-C4786CD5B3EA}"/>
              </a:ext>
            </a:extLst>
          </p:cNvPr>
          <p:cNvSpPr>
            <a:spLocks noGrp="1"/>
          </p:cNvSpPr>
          <p:nvPr>
            <p:ph type="body" sz="quarter" idx="13" hasCustomPrompt="1"/>
          </p:nvPr>
        </p:nvSpPr>
        <p:spPr bwMode="gray">
          <a:xfrm>
            <a:off x="5024437" y="2819805"/>
            <a:ext cx="5807075" cy="2435661"/>
          </a:xfrm>
        </p:spPr>
        <p:txBody>
          <a:bodyPr tIns="360000">
            <a:noAutofit/>
          </a:bodyPr>
          <a:lstStyle>
            <a:lvl1pPr marL="0" indent="0">
              <a:buFontTx/>
              <a:buNone/>
              <a:tabLst>
                <a:tab pos="811213" algn="l"/>
              </a:tabLst>
              <a:defRPr sz="2000">
                <a:solidFill>
                  <a:schemeClr val="bg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tab pos="811213" algn="l"/>
              </a:tabLst>
              <a:defRPr/>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a:t>
            </a:r>
            <a:br>
              <a:rPr lang="en-US" noProof="0"/>
            </a:br>
            <a:br>
              <a:rPr lang="en-US" noProof="0"/>
            </a:br>
            <a:endParaRPr lang="en-US" noProof="0"/>
          </a:p>
        </p:txBody>
      </p:sp>
      <p:sp>
        <p:nvSpPr>
          <p:cNvPr id="19" name="Titel 11">
            <a:extLst>
              <a:ext uri="{FF2B5EF4-FFF2-40B4-BE49-F238E27FC236}">
                <a16:creationId xmlns:a16="http://schemas.microsoft.com/office/drawing/2014/main" id="{B00EC901-646E-EADF-3FDD-88E6F22F480C}"/>
              </a:ext>
            </a:extLst>
          </p:cNvPr>
          <p:cNvSpPr>
            <a:spLocks noGrp="1"/>
          </p:cNvSpPr>
          <p:nvPr>
            <p:ph type="title" hasCustomPrompt="1"/>
          </p:nvPr>
        </p:nvSpPr>
        <p:spPr bwMode="gray">
          <a:xfrm>
            <a:off x="1146175" y="1160463"/>
            <a:ext cx="1412640" cy="1727238"/>
          </a:xfrm>
        </p:spPr>
        <p:txBody>
          <a:bodyPr vert="horz" lIns="72000">
            <a:noAutofit/>
          </a:bodyPr>
          <a:lstStyle>
            <a:lvl1pPr algn="l">
              <a:defRPr sz="14000" b="0">
                <a:solidFill>
                  <a:schemeClr val="bg1"/>
                </a:solidFill>
                <a:latin typeface="Lexend Exa HM Xlight" pitchFamily="2" charset="0"/>
              </a:defRPr>
            </a:lvl1pPr>
          </a:lstStyle>
          <a:p>
            <a:r>
              <a:rPr lang="en-US" noProof="0"/>
              <a:t>3</a:t>
            </a:r>
          </a:p>
        </p:txBody>
      </p:sp>
      <p:grpSp>
        <p:nvGrpSpPr>
          <p:cNvPr id="24" name="object 8">
            <a:extLst>
              <a:ext uri="{FF2B5EF4-FFF2-40B4-BE49-F238E27FC236}">
                <a16:creationId xmlns:a16="http://schemas.microsoft.com/office/drawing/2014/main" id="{DDC8DA74-888F-66DB-78B8-520226CA675D}"/>
              </a:ext>
            </a:extLst>
          </p:cNvPr>
          <p:cNvGrpSpPr/>
          <p:nvPr/>
        </p:nvGrpSpPr>
        <p:grpSpPr bwMode="gray">
          <a:xfrm>
            <a:off x="11523000" y="6201700"/>
            <a:ext cx="288000" cy="288000"/>
            <a:chOff x="18934851" y="10156759"/>
            <a:chExt cx="523875" cy="523875"/>
          </a:xfrm>
        </p:grpSpPr>
        <p:sp>
          <p:nvSpPr>
            <p:cNvPr id="25" name="object 9">
              <a:extLst>
                <a:ext uri="{FF2B5EF4-FFF2-40B4-BE49-F238E27FC236}">
                  <a16:creationId xmlns:a16="http://schemas.microsoft.com/office/drawing/2014/main" id="{2BA99526-81F7-A649-8AD6-5083F3E82424}"/>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26" name="object 10">
              <a:extLst>
                <a:ext uri="{FF2B5EF4-FFF2-40B4-BE49-F238E27FC236}">
                  <a16:creationId xmlns:a16="http://schemas.microsoft.com/office/drawing/2014/main" id="{DE98E96C-2ACD-D7F9-733F-B26D40794C48}"/>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27" name="object 11">
              <a:extLst>
                <a:ext uri="{FF2B5EF4-FFF2-40B4-BE49-F238E27FC236}">
                  <a16:creationId xmlns:a16="http://schemas.microsoft.com/office/drawing/2014/main" id="{2E9D84A4-E4C6-1F87-310D-DF00CD3D2372}"/>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Tree>
    <p:extLst>
      <p:ext uri="{BB962C8B-B14F-4D97-AF65-F5344CB8AC3E}">
        <p14:creationId xmlns:p14="http://schemas.microsoft.com/office/powerpoint/2010/main" val="4632772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Chapter 6">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577D30B-54C3-8B31-B090-913E717374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8577D30B-54C3-8B31-B090-913E717374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61A366BD-7110-0250-45C0-88021C56C0F3}"/>
              </a:ext>
            </a:extLst>
          </p:cNvPr>
          <p:cNvSpPr/>
          <p:nvPr/>
        </p:nvSpPr>
        <p:spPr>
          <a:xfrm>
            <a:off x="-29256" y="0"/>
            <a:ext cx="1222125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Single Corner Rounded 13">
            <a:extLst>
              <a:ext uri="{FF2B5EF4-FFF2-40B4-BE49-F238E27FC236}">
                <a16:creationId xmlns:a16="http://schemas.microsoft.com/office/drawing/2014/main" id="{D2507DC2-6336-EEDD-8704-2CB7316AB4C4}"/>
              </a:ext>
            </a:extLst>
          </p:cNvPr>
          <p:cNvSpPr/>
          <p:nvPr/>
        </p:nvSpPr>
        <p:spPr bwMode="gray">
          <a:xfrm flipV="1">
            <a:off x="382589" y="371474"/>
            <a:ext cx="11428412" cy="5349876"/>
          </a:xfrm>
          <a:prstGeom prst="round1Rect">
            <a:avLst>
              <a:gd name="adj" fmla="val 24528"/>
            </a:avLst>
          </a:prstGeom>
          <a:solidFill>
            <a:srgbClr val="FF0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platzhalter 13">
            <a:extLst>
              <a:ext uri="{FF2B5EF4-FFF2-40B4-BE49-F238E27FC236}">
                <a16:creationId xmlns:a16="http://schemas.microsoft.com/office/drawing/2014/main" id="{FE86372C-68B9-0D92-40E5-25F5F8D770EF}"/>
              </a:ext>
            </a:extLst>
          </p:cNvPr>
          <p:cNvSpPr>
            <a:spLocks noGrp="1"/>
          </p:cNvSpPr>
          <p:nvPr>
            <p:ph type="body" sz="quarter" idx="10" hasCustomPrompt="1"/>
          </p:nvPr>
        </p:nvSpPr>
        <p:spPr bwMode="gray">
          <a:xfrm>
            <a:off x="5024437" y="1137619"/>
            <a:ext cx="5807075" cy="1624939"/>
          </a:xfrm>
        </p:spPr>
        <p:txBody>
          <a:bodyPr anchor="b" anchorCtr="0">
            <a:noAutofit/>
          </a:bodyPr>
          <a:lstStyle>
            <a:lvl1pPr marL="0" indent="0">
              <a:lnSpc>
                <a:spcPct val="90000"/>
              </a:lnSpc>
              <a:buFontTx/>
              <a:buNone/>
              <a:defRPr sz="3000" b="1">
                <a:solidFill>
                  <a:schemeClr val="bg1"/>
                </a:solidFill>
                <a:latin typeface="+mj-lt"/>
              </a:defRPr>
            </a:lvl1pPr>
            <a:lvl6pPr>
              <a:defRPr sz="2000">
                <a:solidFill>
                  <a:schemeClr val="bg1"/>
                </a:solidFill>
                <a:latin typeface="+mj-lt"/>
              </a:defRPr>
            </a:lvl6pPr>
          </a:lstStyle>
          <a:p>
            <a:pPr lvl="0"/>
            <a:r>
              <a:rPr lang="en-US" noProof="0"/>
              <a:t>Chapter heading</a:t>
            </a:r>
          </a:p>
        </p:txBody>
      </p:sp>
      <p:sp>
        <p:nvSpPr>
          <p:cNvPr id="19" name="Titel 11">
            <a:extLst>
              <a:ext uri="{FF2B5EF4-FFF2-40B4-BE49-F238E27FC236}">
                <a16:creationId xmlns:a16="http://schemas.microsoft.com/office/drawing/2014/main" id="{5D93261F-8572-3704-5A09-C33EC06C5D2F}"/>
              </a:ext>
            </a:extLst>
          </p:cNvPr>
          <p:cNvSpPr>
            <a:spLocks noGrp="1"/>
          </p:cNvSpPr>
          <p:nvPr>
            <p:ph type="title" hasCustomPrompt="1"/>
          </p:nvPr>
        </p:nvSpPr>
        <p:spPr bwMode="gray">
          <a:xfrm>
            <a:off x="1152899" y="1160463"/>
            <a:ext cx="1411200" cy="1725288"/>
          </a:xfrm>
        </p:spPr>
        <p:txBody>
          <a:bodyPr vert="horz" lIns="72000">
            <a:noAutofit/>
          </a:bodyPr>
          <a:lstStyle>
            <a:lvl1pPr algn="l">
              <a:defRPr sz="14000" b="0">
                <a:solidFill>
                  <a:schemeClr val="bg1"/>
                </a:solidFill>
                <a:latin typeface="Lexend Exa HM Xlight" pitchFamily="2" charset="0"/>
              </a:defRPr>
            </a:lvl1pPr>
          </a:lstStyle>
          <a:p>
            <a:r>
              <a:rPr lang="en-US" noProof="0"/>
              <a:t>4</a:t>
            </a:r>
          </a:p>
        </p:txBody>
      </p:sp>
      <p:grpSp>
        <p:nvGrpSpPr>
          <p:cNvPr id="20" name="object 8">
            <a:extLst>
              <a:ext uri="{FF2B5EF4-FFF2-40B4-BE49-F238E27FC236}">
                <a16:creationId xmlns:a16="http://schemas.microsoft.com/office/drawing/2014/main" id="{36231B1D-A549-EF4E-F43C-B10418994CA0}"/>
              </a:ext>
            </a:extLst>
          </p:cNvPr>
          <p:cNvGrpSpPr/>
          <p:nvPr/>
        </p:nvGrpSpPr>
        <p:grpSpPr bwMode="gray">
          <a:xfrm>
            <a:off x="11523000" y="6201700"/>
            <a:ext cx="288000" cy="288000"/>
            <a:chOff x="18934851" y="10156759"/>
            <a:chExt cx="523875" cy="523875"/>
          </a:xfrm>
        </p:grpSpPr>
        <p:sp>
          <p:nvSpPr>
            <p:cNvPr id="21" name="object 9">
              <a:extLst>
                <a:ext uri="{FF2B5EF4-FFF2-40B4-BE49-F238E27FC236}">
                  <a16:creationId xmlns:a16="http://schemas.microsoft.com/office/drawing/2014/main" id="{9718E20F-E51A-DF70-49F7-32C9E1B92FB2}"/>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22" name="object 10">
              <a:extLst>
                <a:ext uri="{FF2B5EF4-FFF2-40B4-BE49-F238E27FC236}">
                  <a16:creationId xmlns:a16="http://schemas.microsoft.com/office/drawing/2014/main" id="{3519D0D1-1767-6672-77C6-65E2D843042C}"/>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23" name="object 11">
              <a:extLst>
                <a:ext uri="{FF2B5EF4-FFF2-40B4-BE49-F238E27FC236}">
                  <a16:creationId xmlns:a16="http://schemas.microsoft.com/office/drawing/2014/main" id="{5FC3DA40-4E0B-AB34-2FE3-D16E77DA7412}"/>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5" name="Textplatzhalter 12">
            <a:extLst>
              <a:ext uri="{FF2B5EF4-FFF2-40B4-BE49-F238E27FC236}">
                <a16:creationId xmlns:a16="http://schemas.microsoft.com/office/drawing/2014/main" id="{BD6D6E8C-3CB6-128D-B8B2-D85CB4A38044}"/>
              </a:ext>
            </a:extLst>
          </p:cNvPr>
          <p:cNvSpPr>
            <a:spLocks noGrp="1"/>
          </p:cNvSpPr>
          <p:nvPr>
            <p:ph type="body" sz="quarter" idx="13" hasCustomPrompt="1"/>
          </p:nvPr>
        </p:nvSpPr>
        <p:spPr bwMode="gray">
          <a:xfrm>
            <a:off x="5024438" y="2819805"/>
            <a:ext cx="5807074" cy="2435661"/>
          </a:xfrm>
        </p:spPr>
        <p:txBody>
          <a:bodyPr tIns="360000">
            <a:noAutofit/>
          </a:bodyPr>
          <a:lstStyle>
            <a:lvl1pPr marL="0" indent="0">
              <a:buFontTx/>
              <a:buNone/>
              <a:tabLst>
                <a:tab pos="811213" algn="l"/>
              </a:tabLst>
              <a:defRPr sz="2000">
                <a:solidFill>
                  <a:schemeClr val="bg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tab pos="811213" algn="l"/>
              </a:tabLst>
              <a:defRPr/>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a:t>
            </a:r>
            <a:br>
              <a:rPr lang="en-US" noProof="0"/>
            </a:br>
            <a:br>
              <a:rPr lang="en-US" noProof="0"/>
            </a:br>
            <a:endParaRPr lang="en-US" noProof="0"/>
          </a:p>
        </p:txBody>
      </p:sp>
    </p:spTree>
    <p:extLst>
      <p:ext uri="{BB962C8B-B14F-4D97-AF65-F5344CB8AC3E}">
        <p14:creationId xmlns:p14="http://schemas.microsoft.com/office/powerpoint/2010/main" val="145816191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Subchapter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D2233D9-AD43-3006-AB11-7F66E0A011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ct 1" hidden="1">
                        <a:extLst>
                          <a:ext uri="{FF2B5EF4-FFF2-40B4-BE49-F238E27FC236}">
                            <a16:creationId xmlns:a16="http://schemas.microsoft.com/office/drawing/2014/main" id="{4D2233D9-AD43-3006-AB11-7F66E0A011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7">
            <a:extLst>
              <a:ext uri="{FF2B5EF4-FFF2-40B4-BE49-F238E27FC236}">
                <a16:creationId xmlns:a16="http://schemas.microsoft.com/office/drawing/2014/main" id="{EBC529DE-BD85-7126-DB1D-B1D170E694D0}"/>
              </a:ext>
            </a:extLst>
          </p:cNvPr>
          <p:cNvSpPr>
            <a:spLocks noGrp="1"/>
          </p:cNvSpPr>
          <p:nvPr>
            <p:ph type="pic" sz="quarter" idx="36" hasCustomPrompt="1"/>
          </p:nvPr>
        </p:nvSpPr>
        <p:spPr>
          <a:xfrm>
            <a:off x="0" y="0"/>
            <a:ext cx="12192000" cy="6858000"/>
          </a:xfrm>
        </p:spPr>
        <p:txBody>
          <a:bodyPr/>
          <a:lstStyle>
            <a:lvl1pPr algn="r">
              <a:defRPr>
                <a:solidFill>
                  <a:schemeClr val="tx1"/>
                </a:solidFill>
              </a:defRPr>
            </a:lvl1pPr>
          </a:lstStyle>
          <a:p>
            <a:pPr marL="0" marR="0" lvl="0" indent="0" algn="r"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3" name="Textplatzhalter 12">
            <a:extLst>
              <a:ext uri="{FF2B5EF4-FFF2-40B4-BE49-F238E27FC236}">
                <a16:creationId xmlns:a16="http://schemas.microsoft.com/office/drawing/2014/main" id="{943E6C74-D355-1868-9414-38273831E967}"/>
              </a:ext>
            </a:extLst>
          </p:cNvPr>
          <p:cNvSpPr>
            <a:spLocks noGrp="1"/>
          </p:cNvSpPr>
          <p:nvPr>
            <p:ph type="body" sz="quarter" idx="37" hasCustomPrompt="1"/>
          </p:nvPr>
        </p:nvSpPr>
        <p:spPr>
          <a:xfrm>
            <a:off x="0" y="0"/>
            <a:ext cx="5024438" cy="648970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12" name="Titel 11">
            <a:extLst>
              <a:ext uri="{FF2B5EF4-FFF2-40B4-BE49-F238E27FC236}">
                <a16:creationId xmlns:a16="http://schemas.microsoft.com/office/drawing/2014/main" id="{2D8A5C73-A2DD-BB0B-F430-B85D39EE2790}"/>
              </a:ext>
            </a:extLst>
          </p:cNvPr>
          <p:cNvSpPr>
            <a:spLocks noGrp="1"/>
          </p:cNvSpPr>
          <p:nvPr>
            <p:ph type="title" hasCustomPrompt="1"/>
          </p:nvPr>
        </p:nvSpPr>
        <p:spPr bwMode="gray">
          <a:xfrm>
            <a:off x="386459" y="371475"/>
            <a:ext cx="2184213" cy="1547823"/>
          </a:xfrm>
        </p:spPr>
        <p:txBody>
          <a:bodyPr vert="horz" tIns="72000">
            <a:noAutofit/>
          </a:bodyPr>
          <a:lstStyle>
            <a:lvl1pPr>
              <a:defRPr sz="10000" b="0">
                <a:solidFill>
                  <a:schemeClr val="bg1"/>
                </a:solidFill>
                <a:latin typeface="Lexend Exa HM Xlight" pitchFamily="2" charset="0"/>
              </a:defRPr>
            </a:lvl1pPr>
          </a:lstStyle>
          <a:p>
            <a:r>
              <a:rPr lang="en-US" noProof="0"/>
              <a:t>0.0</a:t>
            </a:r>
          </a:p>
        </p:txBody>
      </p:sp>
      <p:sp>
        <p:nvSpPr>
          <p:cNvPr id="14" name="Textplatzhalter 13">
            <a:extLst>
              <a:ext uri="{FF2B5EF4-FFF2-40B4-BE49-F238E27FC236}">
                <a16:creationId xmlns:a16="http://schemas.microsoft.com/office/drawing/2014/main" id="{CB3A63BB-B6EA-EE27-B2B3-B402C39B8E24}"/>
              </a:ext>
            </a:extLst>
          </p:cNvPr>
          <p:cNvSpPr>
            <a:spLocks noGrp="1"/>
          </p:cNvSpPr>
          <p:nvPr>
            <p:ph type="body" sz="quarter" idx="10" hasCustomPrompt="1"/>
          </p:nvPr>
        </p:nvSpPr>
        <p:spPr bwMode="gray">
          <a:xfrm>
            <a:off x="382588" y="3397094"/>
            <a:ext cx="3878262" cy="894502"/>
          </a:xfrm>
        </p:spPr>
        <p:txBody>
          <a:bodyPr anchor="b" anchorCtr="0">
            <a:noAutofit/>
          </a:bodyPr>
          <a:lstStyle>
            <a:lvl1pPr marL="0" indent="0">
              <a:lnSpc>
                <a:spcPct val="90000"/>
              </a:lnSpc>
              <a:buFontTx/>
              <a:buNone/>
              <a:defRPr sz="2500" b="1">
                <a:solidFill>
                  <a:schemeClr val="bg1"/>
                </a:solidFill>
                <a:latin typeface="+mj-lt"/>
              </a:defRPr>
            </a:lvl1pPr>
            <a:lvl6pPr>
              <a:defRPr sz="2000">
                <a:solidFill>
                  <a:schemeClr val="bg1"/>
                </a:solidFill>
                <a:latin typeface="+mj-lt"/>
              </a:defRPr>
            </a:lvl6pPr>
          </a:lstStyle>
          <a:p>
            <a:pPr lvl="0"/>
            <a:r>
              <a:rPr lang="en-US" noProof="0"/>
              <a:t>Subchapter heading</a:t>
            </a:r>
          </a:p>
        </p:txBody>
      </p:sp>
      <p:sp>
        <p:nvSpPr>
          <p:cNvPr id="9" name="Text Placeholder 8">
            <a:extLst>
              <a:ext uri="{FF2B5EF4-FFF2-40B4-BE49-F238E27FC236}">
                <a16:creationId xmlns:a16="http://schemas.microsoft.com/office/drawing/2014/main" id="{622E67F6-E679-E68D-4550-9744659DC089}"/>
              </a:ext>
            </a:extLst>
          </p:cNvPr>
          <p:cNvSpPr>
            <a:spLocks noGrp="1"/>
          </p:cNvSpPr>
          <p:nvPr>
            <p:ph type="body" sz="quarter" idx="17" hasCustomPrompt="1"/>
          </p:nvPr>
        </p:nvSpPr>
        <p:spPr bwMode="gray">
          <a:xfrm>
            <a:off x="382588" y="4291596"/>
            <a:ext cx="3878262" cy="1404530"/>
          </a:xfrm>
        </p:spPr>
        <p:txBody>
          <a:bodyPr tIns="144000"/>
          <a:lstStyle>
            <a:lvl1pPr marL="0" indent="0">
              <a:buFontTx/>
              <a:buNone/>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noProof="0"/>
              <a:t>Lorem Ipsum dolor esse</a:t>
            </a:r>
          </a:p>
        </p:txBody>
      </p:sp>
      <p:sp>
        <p:nvSpPr>
          <p:cNvPr id="3" name="Text Placeholder 7">
            <a:extLst>
              <a:ext uri="{FF2B5EF4-FFF2-40B4-BE49-F238E27FC236}">
                <a16:creationId xmlns:a16="http://schemas.microsoft.com/office/drawing/2014/main" id="{0AC6D1E4-744E-1AFF-FC94-03D559437849}"/>
              </a:ext>
            </a:extLst>
          </p:cNvPr>
          <p:cNvSpPr>
            <a:spLocks noGrp="1" noChangeAspect="1"/>
          </p:cNvSpPr>
          <p:nvPr>
            <p:ph type="body" sz="quarter" idx="35" hasCustomPrompt="1"/>
          </p:nvPr>
        </p:nvSpPr>
        <p:spPr>
          <a:xfrm>
            <a:off x="11523000" y="6201700"/>
            <a:ext cx="288000" cy="288000"/>
          </a:xfrm>
          <a:blipFill>
            <a:blip r:embed="rId7"/>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4833811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638062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23" name="Plassholder for tekst 5">
            <a:extLst>
              <a:ext uri="{FF2B5EF4-FFF2-40B4-BE49-F238E27FC236}">
                <a16:creationId xmlns:a16="http://schemas.microsoft.com/office/drawing/2014/main" id="{95762A28-1FF6-6C25-FB79-F0AF55DE9B3C}"/>
              </a:ext>
            </a:extLst>
          </p:cNvPr>
          <p:cNvSpPr>
            <a:spLocks noGrp="1"/>
          </p:cNvSpPr>
          <p:nvPr>
            <p:ph type="body" sz="quarter" idx="16" hasCustomPrompt="1"/>
          </p:nvPr>
        </p:nvSpPr>
        <p:spPr>
          <a:xfrm>
            <a:off x="959978" y="2072789"/>
            <a:ext cx="6032494"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8389584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Subchapter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FF7FA7-E13D-6F76-2937-9ADA15D377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Object 1" hidden="1">
                        <a:extLst>
                          <a:ext uri="{FF2B5EF4-FFF2-40B4-BE49-F238E27FC236}">
                            <a16:creationId xmlns:a16="http://schemas.microsoft.com/office/drawing/2014/main" id="{B8FF7FA7-E13D-6F76-2937-9ADA15D377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7">
            <a:extLst>
              <a:ext uri="{FF2B5EF4-FFF2-40B4-BE49-F238E27FC236}">
                <a16:creationId xmlns:a16="http://schemas.microsoft.com/office/drawing/2014/main" id="{58F8E833-2B33-6B72-1121-95A5B42894B7}"/>
              </a:ext>
            </a:extLst>
          </p:cNvPr>
          <p:cNvSpPr>
            <a:spLocks noGrp="1"/>
          </p:cNvSpPr>
          <p:nvPr>
            <p:ph type="pic" sz="quarter" idx="36" hasCustomPrompt="1"/>
          </p:nvPr>
        </p:nvSpPr>
        <p:spPr>
          <a:xfrm>
            <a:off x="0" y="0"/>
            <a:ext cx="12192000" cy="6858000"/>
          </a:xfrm>
          <a:noFill/>
        </p:spPr>
        <p:txBody>
          <a:bodyPr/>
          <a:lstStyle>
            <a:lvl1pPr algn="r">
              <a:defRPr>
                <a:solidFill>
                  <a:schemeClr val="tx1"/>
                </a:solidFill>
              </a:defRPr>
            </a:lvl1pPr>
          </a:lstStyle>
          <a:p>
            <a:pPr marL="0" marR="0" lvl="0" indent="0" algn="r"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9" name="Textplatzhalter 12">
            <a:extLst>
              <a:ext uri="{FF2B5EF4-FFF2-40B4-BE49-F238E27FC236}">
                <a16:creationId xmlns:a16="http://schemas.microsoft.com/office/drawing/2014/main" id="{C06A5956-1E7A-44AA-C503-06D1607B703E}"/>
              </a:ext>
            </a:extLst>
          </p:cNvPr>
          <p:cNvSpPr>
            <a:spLocks noGrp="1"/>
          </p:cNvSpPr>
          <p:nvPr>
            <p:ph type="body" sz="quarter" idx="37" hasCustomPrompt="1"/>
          </p:nvPr>
        </p:nvSpPr>
        <p:spPr>
          <a:xfrm>
            <a:off x="0" y="0"/>
            <a:ext cx="5024438" cy="648970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7" name="Titel 11">
            <a:extLst>
              <a:ext uri="{FF2B5EF4-FFF2-40B4-BE49-F238E27FC236}">
                <a16:creationId xmlns:a16="http://schemas.microsoft.com/office/drawing/2014/main" id="{08129F2E-A42C-92D4-6841-A94998C5CD19}"/>
              </a:ext>
            </a:extLst>
          </p:cNvPr>
          <p:cNvSpPr>
            <a:spLocks noGrp="1"/>
          </p:cNvSpPr>
          <p:nvPr>
            <p:ph type="title" hasCustomPrompt="1"/>
          </p:nvPr>
        </p:nvSpPr>
        <p:spPr bwMode="gray">
          <a:xfrm>
            <a:off x="386459" y="371475"/>
            <a:ext cx="2185200" cy="1544638"/>
          </a:xfrm>
        </p:spPr>
        <p:txBody>
          <a:bodyPr vert="horz" tIns="72000">
            <a:noAutofit/>
          </a:bodyPr>
          <a:lstStyle>
            <a:lvl1pPr>
              <a:defRPr sz="10000" b="0">
                <a:solidFill>
                  <a:schemeClr val="bg1"/>
                </a:solidFill>
                <a:latin typeface="Lexend Exa HM Xlight" pitchFamily="2" charset="0"/>
              </a:defRPr>
            </a:lvl1pPr>
          </a:lstStyle>
          <a:p>
            <a:r>
              <a:rPr lang="en-US" noProof="0"/>
              <a:t>0.0</a:t>
            </a:r>
          </a:p>
        </p:txBody>
      </p:sp>
      <p:sp>
        <p:nvSpPr>
          <p:cNvPr id="3" name="Textplatzhalter 13">
            <a:extLst>
              <a:ext uri="{FF2B5EF4-FFF2-40B4-BE49-F238E27FC236}">
                <a16:creationId xmlns:a16="http://schemas.microsoft.com/office/drawing/2014/main" id="{ED8E0A6B-168B-F7DB-349C-A43726864C73}"/>
              </a:ext>
            </a:extLst>
          </p:cNvPr>
          <p:cNvSpPr>
            <a:spLocks noGrp="1"/>
          </p:cNvSpPr>
          <p:nvPr>
            <p:ph type="body" sz="quarter" idx="10" hasCustomPrompt="1"/>
          </p:nvPr>
        </p:nvSpPr>
        <p:spPr bwMode="gray">
          <a:xfrm>
            <a:off x="382588" y="3403400"/>
            <a:ext cx="3878262" cy="894502"/>
          </a:xfrm>
        </p:spPr>
        <p:txBody>
          <a:bodyPr anchor="b" anchorCtr="0">
            <a:noAutofit/>
          </a:bodyPr>
          <a:lstStyle>
            <a:lvl1pPr marL="0" indent="0">
              <a:lnSpc>
                <a:spcPct val="90000"/>
              </a:lnSpc>
              <a:buFontTx/>
              <a:buNone/>
              <a:defRPr sz="2500" b="1">
                <a:solidFill>
                  <a:schemeClr val="bg1"/>
                </a:solidFill>
                <a:latin typeface="+mj-lt"/>
              </a:defRPr>
            </a:lvl1pPr>
            <a:lvl6pPr>
              <a:defRPr sz="2000">
                <a:solidFill>
                  <a:schemeClr val="bg1"/>
                </a:solidFill>
                <a:latin typeface="+mj-lt"/>
              </a:defRPr>
            </a:lvl6pPr>
          </a:lstStyle>
          <a:p>
            <a:pPr lvl="0"/>
            <a:r>
              <a:rPr lang="en-US" noProof="0"/>
              <a:t>Subchapter heading</a:t>
            </a:r>
          </a:p>
        </p:txBody>
      </p:sp>
      <p:sp>
        <p:nvSpPr>
          <p:cNvPr id="4" name="Text Placeholder 8">
            <a:extLst>
              <a:ext uri="{FF2B5EF4-FFF2-40B4-BE49-F238E27FC236}">
                <a16:creationId xmlns:a16="http://schemas.microsoft.com/office/drawing/2014/main" id="{D84E3E57-C65E-36ED-3ABB-CAF076010396}"/>
              </a:ext>
            </a:extLst>
          </p:cNvPr>
          <p:cNvSpPr>
            <a:spLocks noGrp="1"/>
          </p:cNvSpPr>
          <p:nvPr>
            <p:ph type="body" sz="quarter" idx="17" hasCustomPrompt="1"/>
          </p:nvPr>
        </p:nvSpPr>
        <p:spPr bwMode="gray">
          <a:xfrm>
            <a:off x="382588" y="4297902"/>
            <a:ext cx="3878262" cy="1404530"/>
          </a:xfrm>
        </p:spPr>
        <p:txBody>
          <a:bodyPr tIns="144000"/>
          <a:lstStyle>
            <a:lvl1pPr marL="0" indent="0">
              <a:buFontTx/>
              <a:buNone/>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noProof="0"/>
              <a:t>Lorem Ipsum dolor esse</a:t>
            </a:r>
          </a:p>
        </p:txBody>
      </p:sp>
      <p:sp>
        <p:nvSpPr>
          <p:cNvPr id="5" name="Text Placeholder 9">
            <a:extLst>
              <a:ext uri="{FF2B5EF4-FFF2-40B4-BE49-F238E27FC236}">
                <a16:creationId xmlns:a16="http://schemas.microsoft.com/office/drawing/2014/main" id="{39549E45-09AA-257F-7C5E-1FD256192A2A}"/>
              </a:ext>
            </a:extLst>
          </p:cNvPr>
          <p:cNvSpPr>
            <a:spLocks noGrp="1" noChangeAspect="1"/>
          </p:cNvSpPr>
          <p:nvPr>
            <p:ph type="body" sz="quarter" idx="19" hasCustomPrompt="1"/>
          </p:nvPr>
        </p:nvSpPr>
        <p:spPr>
          <a:xfrm>
            <a:off x="11523000" y="6201700"/>
            <a:ext cx="288000" cy="288000"/>
          </a:xfrm>
          <a:blipFill>
            <a:blip r:embed="rId7">
              <a:extLst>
                <a:ext uri="{96DAC541-7B7A-43D3-8B79-37D633B846F1}">
                  <asvg:svgBlip xmlns:asvg="http://schemas.microsoft.com/office/drawing/2016/SVG/main" r:embed="rId8"/>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151663745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D31562-7BC5-D715-D365-FFA8E640BE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ACD31562-7BC5-D715-D365-FFA8E640BE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7">
            <a:extLst>
              <a:ext uri="{FF2B5EF4-FFF2-40B4-BE49-F238E27FC236}">
                <a16:creationId xmlns:a16="http://schemas.microsoft.com/office/drawing/2014/main" id="{F5C1F063-5B50-B99C-A1B1-78A65971AE14}"/>
              </a:ext>
            </a:extLst>
          </p:cNvPr>
          <p:cNvSpPr>
            <a:spLocks noGrp="1"/>
          </p:cNvSpPr>
          <p:nvPr>
            <p:ph type="pic" sz="quarter" idx="36" hasCustomPrompt="1"/>
          </p:nvPr>
        </p:nvSpPr>
        <p:spPr>
          <a:xfrm>
            <a:off x="0" y="0"/>
            <a:ext cx="12192000" cy="6858000"/>
          </a:xfrm>
        </p:spPr>
        <p:txBody>
          <a:bodyPr/>
          <a:lstStyle>
            <a:lvl1pPr algn="l">
              <a:defRPr>
                <a:solidFill>
                  <a:schemeClr val="tx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7" name="Textplatzhalter 16">
            <a:extLst>
              <a:ext uri="{FF2B5EF4-FFF2-40B4-BE49-F238E27FC236}">
                <a16:creationId xmlns:a16="http://schemas.microsoft.com/office/drawing/2014/main" id="{F9EBE1B4-D926-D291-BEFB-2CE053CF4012}"/>
              </a:ext>
            </a:extLst>
          </p:cNvPr>
          <p:cNvSpPr>
            <a:spLocks noGrp="1"/>
          </p:cNvSpPr>
          <p:nvPr>
            <p:ph type="body" sz="quarter" idx="37" hasCustomPrompt="1"/>
          </p:nvPr>
        </p:nvSpPr>
        <p:spPr>
          <a:xfrm>
            <a:off x="382588" y="2673350"/>
            <a:ext cx="5622383" cy="381635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9" name="Titel 11">
            <a:extLst>
              <a:ext uri="{FF2B5EF4-FFF2-40B4-BE49-F238E27FC236}">
                <a16:creationId xmlns:a16="http://schemas.microsoft.com/office/drawing/2014/main" id="{2D768B8D-9784-A00A-28D7-76651ACE8EF4}"/>
              </a:ext>
            </a:extLst>
          </p:cNvPr>
          <p:cNvSpPr>
            <a:spLocks noGrp="1"/>
          </p:cNvSpPr>
          <p:nvPr>
            <p:ph type="title" hasCustomPrompt="1"/>
          </p:nvPr>
        </p:nvSpPr>
        <p:spPr bwMode="gray">
          <a:xfrm>
            <a:off x="1146175" y="3429000"/>
            <a:ext cx="4078287" cy="460093"/>
          </a:xfrm>
        </p:spPr>
        <p:txBody>
          <a:bodyPr vert="horz" anchor="t" anchorCtr="0">
            <a:noAutofit/>
          </a:bodyPr>
          <a:lstStyle>
            <a:lvl1pPr>
              <a:defRPr sz="2500">
                <a:solidFill>
                  <a:schemeClr val="bg1"/>
                </a:solidFill>
                <a:latin typeface="+mj-lt"/>
              </a:defRPr>
            </a:lvl1pPr>
          </a:lstStyle>
          <a:p>
            <a:pPr lvl="0"/>
            <a:r>
              <a:rPr lang="en-US" noProof="0"/>
              <a:t>Divider heading</a:t>
            </a:r>
          </a:p>
        </p:txBody>
      </p:sp>
      <p:sp>
        <p:nvSpPr>
          <p:cNvPr id="16" name="Text Placeholder 15">
            <a:extLst>
              <a:ext uri="{FF2B5EF4-FFF2-40B4-BE49-F238E27FC236}">
                <a16:creationId xmlns:a16="http://schemas.microsoft.com/office/drawing/2014/main" id="{C3F63DD7-5F60-54AE-C989-345BE1D55F25}"/>
              </a:ext>
            </a:extLst>
          </p:cNvPr>
          <p:cNvSpPr>
            <a:spLocks noGrp="1"/>
          </p:cNvSpPr>
          <p:nvPr>
            <p:ph type="body" sz="quarter" idx="17" hasCustomPrompt="1"/>
          </p:nvPr>
        </p:nvSpPr>
        <p:spPr bwMode="gray">
          <a:xfrm>
            <a:off x="1146175" y="3889094"/>
            <a:ext cx="4078287" cy="1832255"/>
          </a:xfrm>
        </p:spPr>
        <p:txBody>
          <a:bodyPr tIns="36000" bIns="0"/>
          <a:lstStyle>
            <a:lvl1pPr marL="0" indent="0">
              <a:buFontTx/>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t>Lorem ipsum dolor sit </a:t>
            </a:r>
            <a:r>
              <a:rPr lang="en-US" err="1"/>
              <a:t>amet</a:t>
            </a:r>
            <a:r>
              <a:rPr lang="en-US"/>
              <a:t>, </a:t>
            </a:r>
            <a:r>
              <a:rPr lang="en-US" err="1"/>
              <a:t>consetetur</a:t>
            </a:r>
            <a:r>
              <a:rPr lang="en-US"/>
              <a:t> </a:t>
            </a:r>
            <a:r>
              <a:rPr lang="en-US" err="1"/>
              <a:t>sadipscing</a:t>
            </a:r>
            <a:r>
              <a:rPr lang="en-US"/>
              <a:t> </a:t>
            </a:r>
            <a:r>
              <a:rPr lang="en-US" err="1"/>
              <a:t>elitr</a:t>
            </a:r>
            <a:endParaRPr lang="en-US"/>
          </a:p>
        </p:txBody>
      </p:sp>
      <p:sp>
        <p:nvSpPr>
          <p:cNvPr id="2" name="Text Placeholder 7">
            <a:extLst>
              <a:ext uri="{FF2B5EF4-FFF2-40B4-BE49-F238E27FC236}">
                <a16:creationId xmlns:a16="http://schemas.microsoft.com/office/drawing/2014/main" id="{50B44CA8-076B-20F0-BB6C-528A016307D2}"/>
              </a:ext>
            </a:extLst>
          </p:cNvPr>
          <p:cNvSpPr>
            <a:spLocks noGrp="1" noChangeAspect="1"/>
          </p:cNvSpPr>
          <p:nvPr>
            <p:ph type="body" sz="quarter" idx="35" hasCustomPrompt="1"/>
          </p:nvPr>
        </p:nvSpPr>
        <p:spPr>
          <a:xfrm>
            <a:off x="11523000" y="6201700"/>
            <a:ext cx="288000" cy="288000"/>
          </a:xfrm>
          <a:blipFill>
            <a:blip r:embed="rId7"/>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11465818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D31562-7BC5-D715-D365-FFA8E640BE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ACD31562-7BC5-D715-D365-FFA8E640BE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7">
            <a:extLst>
              <a:ext uri="{FF2B5EF4-FFF2-40B4-BE49-F238E27FC236}">
                <a16:creationId xmlns:a16="http://schemas.microsoft.com/office/drawing/2014/main" id="{D8EA46A1-7552-2A96-70B7-218693D14D97}"/>
              </a:ext>
            </a:extLst>
          </p:cNvPr>
          <p:cNvSpPr>
            <a:spLocks noGrp="1"/>
          </p:cNvSpPr>
          <p:nvPr>
            <p:ph type="pic" sz="quarter" idx="36" hasCustomPrompt="1"/>
          </p:nvPr>
        </p:nvSpPr>
        <p:spPr>
          <a:xfrm>
            <a:off x="0" y="0"/>
            <a:ext cx="12192000" cy="6858000"/>
          </a:xfrm>
          <a:noFill/>
        </p:spPr>
        <p:txBody>
          <a:bodyPr/>
          <a:lstStyle>
            <a:lvl1pPr algn="l">
              <a:defRPr>
                <a:solidFill>
                  <a:schemeClr val="tx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5" name="Textplatzhalter 16">
            <a:extLst>
              <a:ext uri="{FF2B5EF4-FFF2-40B4-BE49-F238E27FC236}">
                <a16:creationId xmlns:a16="http://schemas.microsoft.com/office/drawing/2014/main" id="{A0867601-BAED-E063-E97E-02E226D65A97}"/>
              </a:ext>
            </a:extLst>
          </p:cNvPr>
          <p:cNvSpPr>
            <a:spLocks noGrp="1"/>
          </p:cNvSpPr>
          <p:nvPr>
            <p:ph type="body" sz="quarter" idx="37" hasCustomPrompt="1"/>
          </p:nvPr>
        </p:nvSpPr>
        <p:spPr>
          <a:xfrm>
            <a:off x="382588" y="2673350"/>
            <a:ext cx="5622383" cy="381635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4" name="Titel 11">
            <a:extLst>
              <a:ext uri="{FF2B5EF4-FFF2-40B4-BE49-F238E27FC236}">
                <a16:creationId xmlns:a16="http://schemas.microsoft.com/office/drawing/2014/main" id="{325E53B7-FC92-6F0C-2963-98101615DBEA}"/>
              </a:ext>
            </a:extLst>
          </p:cNvPr>
          <p:cNvSpPr>
            <a:spLocks noGrp="1"/>
          </p:cNvSpPr>
          <p:nvPr>
            <p:ph type="title" hasCustomPrompt="1"/>
          </p:nvPr>
        </p:nvSpPr>
        <p:spPr bwMode="gray">
          <a:xfrm>
            <a:off x="1146175" y="3429000"/>
            <a:ext cx="4078287" cy="460093"/>
          </a:xfrm>
        </p:spPr>
        <p:txBody>
          <a:bodyPr vert="horz" anchor="t" anchorCtr="0">
            <a:noAutofit/>
          </a:bodyPr>
          <a:lstStyle>
            <a:lvl1pPr>
              <a:defRPr sz="2500">
                <a:solidFill>
                  <a:schemeClr val="bg1"/>
                </a:solidFill>
                <a:latin typeface="+mj-lt"/>
              </a:defRPr>
            </a:lvl1pPr>
          </a:lstStyle>
          <a:p>
            <a:pPr lvl="0"/>
            <a:r>
              <a:rPr lang="en-US" noProof="0"/>
              <a:t>Divider heading</a:t>
            </a:r>
          </a:p>
        </p:txBody>
      </p:sp>
      <p:sp>
        <p:nvSpPr>
          <p:cNvPr id="7" name="Text Placeholder 15">
            <a:extLst>
              <a:ext uri="{FF2B5EF4-FFF2-40B4-BE49-F238E27FC236}">
                <a16:creationId xmlns:a16="http://schemas.microsoft.com/office/drawing/2014/main" id="{9ABE049B-5BF6-8664-4649-0CA9C16559F1}"/>
              </a:ext>
            </a:extLst>
          </p:cNvPr>
          <p:cNvSpPr>
            <a:spLocks noGrp="1"/>
          </p:cNvSpPr>
          <p:nvPr>
            <p:ph type="body" sz="quarter" idx="17" hasCustomPrompt="1"/>
          </p:nvPr>
        </p:nvSpPr>
        <p:spPr bwMode="gray">
          <a:xfrm>
            <a:off x="1146175" y="3889094"/>
            <a:ext cx="4078287" cy="1832255"/>
          </a:xfrm>
        </p:spPr>
        <p:txBody>
          <a:bodyPr tIns="36000"/>
          <a:lstStyle>
            <a:lvl1pPr marL="0" indent="0">
              <a:buFontTx/>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t>Lorem ipsum dolor sit </a:t>
            </a:r>
            <a:r>
              <a:rPr lang="en-US" err="1"/>
              <a:t>amet</a:t>
            </a:r>
            <a:r>
              <a:rPr lang="en-US"/>
              <a:t>, </a:t>
            </a:r>
            <a:r>
              <a:rPr lang="en-US" err="1"/>
              <a:t>consetetur</a:t>
            </a:r>
            <a:r>
              <a:rPr lang="en-US"/>
              <a:t> </a:t>
            </a:r>
            <a:r>
              <a:rPr lang="en-US" err="1"/>
              <a:t>sadipscing</a:t>
            </a:r>
            <a:r>
              <a:rPr lang="en-US"/>
              <a:t> </a:t>
            </a:r>
            <a:r>
              <a:rPr lang="en-US" err="1"/>
              <a:t>elitr</a:t>
            </a:r>
            <a:endParaRPr lang="en-US"/>
          </a:p>
        </p:txBody>
      </p:sp>
      <p:sp>
        <p:nvSpPr>
          <p:cNvPr id="9" name="Text Placeholder 9">
            <a:extLst>
              <a:ext uri="{FF2B5EF4-FFF2-40B4-BE49-F238E27FC236}">
                <a16:creationId xmlns:a16="http://schemas.microsoft.com/office/drawing/2014/main" id="{C022F5F3-633C-1C8C-54E0-243677838EA6}"/>
              </a:ext>
            </a:extLst>
          </p:cNvPr>
          <p:cNvSpPr>
            <a:spLocks noGrp="1"/>
          </p:cNvSpPr>
          <p:nvPr>
            <p:ph type="body" sz="quarter" idx="19" hasCustomPrompt="1"/>
          </p:nvPr>
        </p:nvSpPr>
        <p:spPr>
          <a:xfrm>
            <a:off x="11523000" y="6201700"/>
            <a:ext cx="288000" cy="288000"/>
          </a:xfrm>
          <a:blipFill>
            <a:blip r:embed="rId7">
              <a:extLst>
                <a:ext uri="{96DAC541-7B7A-43D3-8B79-37D633B846F1}">
                  <asvg:svgBlip xmlns:asvg="http://schemas.microsoft.com/office/drawing/2016/SVG/main" r:embed="rId8"/>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38810600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62CB8F-6A1B-9C5C-8211-8F5DC82C37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ct 1" hidden="1">
                        <a:extLst>
                          <a:ext uri="{FF2B5EF4-FFF2-40B4-BE49-F238E27FC236}">
                            <a16:creationId xmlns:a16="http://schemas.microsoft.com/office/drawing/2014/main" id="{5662CB8F-6A1B-9C5C-8211-8F5DC82C3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04924"/>
            <a:ext cx="7551041" cy="4608513"/>
          </a:xfrm>
        </p:spPr>
        <p:txBody>
          <a:bodyPr>
            <a:noAutofit/>
          </a:bodyPr>
          <a:lstStyle>
            <a:lvl1pPr>
              <a:defRPr sz="1600"/>
            </a:lvl1pPr>
            <a:lvl2pPr>
              <a:defRPr sz="1600"/>
            </a:lvl2pPr>
            <a:lvl3pPr>
              <a:defRPr sz="1600"/>
            </a:lvl3pPr>
            <a:lvl4pPr>
              <a:defRPr sz="1600"/>
            </a:lvl4pPr>
            <a:lvl5pPr>
              <a:defRPr sz="1600"/>
            </a:lvl5pPr>
            <a:lvl6pPr marL="0" indent="0">
              <a:buFontTx/>
              <a:buNone/>
              <a:defRPr sz="1600"/>
            </a:lvl6pPr>
          </a:lstStyle>
          <a:p>
            <a:pPr lvl="0"/>
            <a:r>
              <a:rPr lang="en-GB" noProof="0"/>
              <a:t>16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a:p>
            <a:pPr lvl="0"/>
            <a:r>
              <a:rPr lang="en-GB" sz="1400" noProof="0"/>
              <a:t>Sixth level</a:t>
            </a:r>
            <a:endParaRPr lang="en-GB" noProof="0"/>
          </a:p>
          <a:p>
            <a:pPr lvl="0"/>
            <a:endParaRPr lang="en-US"/>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4" name="Textplatzhalter 3">
            <a:extLst>
              <a:ext uri="{FF2B5EF4-FFF2-40B4-BE49-F238E27FC236}">
                <a16:creationId xmlns:a16="http://schemas.microsoft.com/office/drawing/2014/main" id="{537592A9-6BED-AF0C-E702-4EC8B336A27C}"/>
              </a:ext>
            </a:extLst>
          </p:cNvPr>
          <p:cNvSpPr>
            <a:spLocks noGrp="1"/>
          </p:cNvSpPr>
          <p:nvPr>
            <p:ph type="body" sz="quarter" idx="13"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22" name="Date Placeholder 21">
            <a:extLst>
              <a:ext uri="{FF2B5EF4-FFF2-40B4-BE49-F238E27FC236}">
                <a16:creationId xmlns:a16="http://schemas.microsoft.com/office/drawing/2014/main" id="{411E37CD-AF36-95F6-6ED3-816F4E44326D}"/>
              </a:ext>
            </a:extLst>
          </p:cNvPr>
          <p:cNvSpPr>
            <a:spLocks noGrp="1"/>
          </p:cNvSpPr>
          <p:nvPr>
            <p:ph type="dt" sz="half" idx="14"/>
          </p:nvPr>
        </p:nvSpPr>
        <p:spPr/>
        <p:txBody>
          <a:bodyPr/>
          <a:lstStyle/>
          <a:p>
            <a:fld id="{0A17D72B-C982-4649-A3E8-8D8E7B130E8C}" type="datetime1">
              <a:rPr lang="en-US" noProof="0" smtClean="0"/>
              <a:t>10/31/2024</a:t>
            </a:fld>
            <a:endParaRPr lang="en-US" noProof="0"/>
          </a:p>
        </p:txBody>
      </p:sp>
      <p:sp>
        <p:nvSpPr>
          <p:cNvPr id="23" name="Footer Placeholder 22">
            <a:extLst>
              <a:ext uri="{FF2B5EF4-FFF2-40B4-BE49-F238E27FC236}">
                <a16:creationId xmlns:a16="http://schemas.microsoft.com/office/drawing/2014/main" id="{5FE61737-8B11-B32D-F957-796C8D9B7745}"/>
              </a:ext>
            </a:extLst>
          </p:cNvPr>
          <p:cNvSpPr>
            <a:spLocks noGrp="1"/>
          </p:cNvSpPr>
          <p:nvPr>
            <p:ph type="ftr" sz="quarter" idx="15"/>
          </p:nvPr>
        </p:nvSpPr>
        <p:spPr/>
        <p:txBody>
          <a:bodyPr/>
          <a:lstStyle/>
          <a:p>
            <a:r>
              <a:rPr lang="en-US"/>
              <a:t>Group Presentation</a:t>
            </a:r>
          </a:p>
        </p:txBody>
      </p:sp>
      <p:sp>
        <p:nvSpPr>
          <p:cNvPr id="24" name="Slide Number Placeholder 23">
            <a:extLst>
              <a:ext uri="{FF2B5EF4-FFF2-40B4-BE49-F238E27FC236}">
                <a16:creationId xmlns:a16="http://schemas.microsoft.com/office/drawing/2014/main" id="{394DD5CA-BBEB-7A90-8816-D7000113CAFD}"/>
              </a:ext>
            </a:extLst>
          </p:cNvPr>
          <p:cNvSpPr>
            <a:spLocks noGrp="1"/>
          </p:cNvSpPr>
          <p:nvPr>
            <p:ph type="sldNum" sz="quarter" idx="16"/>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372427535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2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9016ED-28CA-C732-AD0E-BA08925040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189016ED-28CA-C732-AD0E-BA08925040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41438"/>
            <a:ext cx="5609529" cy="4571999"/>
          </a:xfrm>
        </p:spPr>
        <p:txBody>
          <a:bodyPr>
            <a:noAutofit/>
          </a:bodyPr>
          <a:lstStyle>
            <a:lvl5pPr>
              <a:defRPr/>
            </a:lvl5pPr>
            <a:lvl6pPr marL="0" indent="0">
              <a:buFontTx/>
              <a:buNone/>
              <a:defRPr sz="1400"/>
            </a:lvl6p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a:p>
            <a:pPr lvl="0"/>
            <a:r>
              <a:rPr lang="en-GB" sz="1400" noProof="0"/>
              <a:t>Sixth level</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6201471" y="1341438"/>
            <a:ext cx="5609529" cy="4574474"/>
          </a:xfrm>
        </p:spPr>
        <p:txBody>
          <a:bodyPr>
            <a:noAutofit/>
          </a:bodyPr>
          <a:lstStyle>
            <a:lvl5pPr>
              <a:defRPr/>
            </a:lvl5pPr>
            <a:lvl6pPr marL="0" indent="0">
              <a:buFontTx/>
              <a:buNone/>
              <a:defRPr sz="1400"/>
            </a:lvl6p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a:p>
            <a:pPr lvl="0"/>
            <a:r>
              <a:rPr lang="en-GB" sz="1400" noProof="0"/>
              <a:t>Sixth level</a:t>
            </a:r>
            <a:endParaRPr lang="en-GB" noProof="0"/>
          </a:p>
        </p:txBody>
      </p:sp>
      <p:sp>
        <p:nvSpPr>
          <p:cNvPr id="8" name="Textplatzhalter 3">
            <a:extLst>
              <a:ext uri="{FF2B5EF4-FFF2-40B4-BE49-F238E27FC236}">
                <a16:creationId xmlns:a16="http://schemas.microsoft.com/office/drawing/2014/main" id="{EEAF1444-D87B-9A2C-4132-42B1FF6E8046}"/>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21" name="Date Placeholder 20">
            <a:extLst>
              <a:ext uri="{FF2B5EF4-FFF2-40B4-BE49-F238E27FC236}">
                <a16:creationId xmlns:a16="http://schemas.microsoft.com/office/drawing/2014/main" id="{F1E4091A-C06D-7292-52B3-512D09B7A391}"/>
              </a:ext>
            </a:extLst>
          </p:cNvPr>
          <p:cNvSpPr>
            <a:spLocks noGrp="1"/>
          </p:cNvSpPr>
          <p:nvPr>
            <p:ph type="dt" sz="half" idx="15"/>
          </p:nvPr>
        </p:nvSpPr>
        <p:spPr/>
        <p:txBody>
          <a:bodyPr/>
          <a:lstStyle/>
          <a:p>
            <a:fld id="{161895A0-2148-42B8-A959-9F82B7B407BD}" type="datetime1">
              <a:rPr lang="en-US" noProof="0" smtClean="0"/>
              <a:t>10/31/2024</a:t>
            </a:fld>
            <a:endParaRPr lang="en-US" noProof="0"/>
          </a:p>
        </p:txBody>
      </p:sp>
      <p:sp>
        <p:nvSpPr>
          <p:cNvPr id="22" name="Footer Placeholder 21">
            <a:extLst>
              <a:ext uri="{FF2B5EF4-FFF2-40B4-BE49-F238E27FC236}">
                <a16:creationId xmlns:a16="http://schemas.microsoft.com/office/drawing/2014/main" id="{A16DD943-987E-34EB-F2AB-12339C3E09AE}"/>
              </a:ext>
            </a:extLst>
          </p:cNvPr>
          <p:cNvSpPr>
            <a:spLocks noGrp="1"/>
          </p:cNvSpPr>
          <p:nvPr>
            <p:ph type="ftr" sz="quarter" idx="16"/>
          </p:nvPr>
        </p:nvSpPr>
        <p:spPr/>
        <p:txBody>
          <a:bodyPr/>
          <a:lstStyle/>
          <a:p>
            <a:r>
              <a:rPr lang="en-US"/>
              <a:t>Group Presentation</a:t>
            </a:r>
          </a:p>
        </p:txBody>
      </p:sp>
      <p:sp>
        <p:nvSpPr>
          <p:cNvPr id="23" name="Slide Number Placeholder 22">
            <a:extLst>
              <a:ext uri="{FF2B5EF4-FFF2-40B4-BE49-F238E27FC236}">
                <a16:creationId xmlns:a16="http://schemas.microsoft.com/office/drawing/2014/main" id="{DA54DAF6-6A97-80EA-6021-9696B2C19ABF}"/>
              </a:ext>
            </a:extLst>
          </p:cNvPr>
          <p:cNvSpPr>
            <a:spLocks noGrp="1"/>
          </p:cNvSpPr>
          <p:nvPr>
            <p:ph type="sldNum" sz="quarter" idx="17"/>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100473962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3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77500A-4B5A-E5FE-BBA5-0C70E6AF5F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6477500A-4B5A-E5FE-BBA5-0C70E6AF5F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0" y="1338962"/>
            <a:ext cx="3675953" cy="4574475"/>
          </a:xfrm>
        </p:spPr>
        <p:txBody>
          <a:bodyPr>
            <a:noAutofit/>
          </a:body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4260851" y="1341437"/>
            <a:ext cx="3675953" cy="4572001"/>
          </a:xfrm>
        </p:spPr>
        <p:txBody>
          <a:bodyPr>
            <a:noAutofit/>
          </a:body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Inhaltsplatzhalter 2">
            <a:extLst>
              <a:ext uri="{FF2B5EF4-FFF2-40B4-BE49-F238E27FC236}">
                <a16:creationId xmlns:a16="http://schemas.microsoft.com/office/drawing/2014/main" id="{8F530E16-8DA4-62B7-4109-A39DAD31439C}"/>
              </a:ext>
            </a:extLst>
          </p:cNvPr>
          <p:cNvSpPr>
            <a:spLocks noGrp="1"/>
          </p:cNvSpPr>
          <p:nvPr>
            <p:ph idx="14" hasCustomPrompt="1"/>
          </p:nvPr>
        </p:nvSpPr>
        <p:spPr>
          <a:xfrm>
            <a:off x="8135939" y="1341437"/>
            <a:ext cx="3675954" cy="4574475"/>
          </a:xfrm>
        </p:spPr>
        <p:txBody>
          <a:bodyPr>
            <a:noAutofit/>
          </a:body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platzhalter 3">
            <a:extLst>
              <a:ext uri="{FF2B5EF4-FFF2-40B4-BE49-F238E27FC236}">
                <a16:creationId xmlns:a16="http://schemas.microsoft.com/office/drawing/2014/main" id="{493A8D7E-252D-BFA7-B151-6478C5238C06}"/>
              </a:ext>
            </a:extLst>
          </p:cNvPr>
          <p:cNvSpPr>
            <a:spLocks noGrp="1"/>
          </p:cNvSpPr>
          <p:nvPr>
            <p:ph type="body" sz="quarter" idx="15"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4" name="Date Placeholder 13">
            <a:extLst>
              <a:ext uri="{FF2B5EF4-FFF2-40B4-BE49-F238E27FC236}">
                <a16:creationId xmlns:a16="http://schemas.microsoft.com/office/drawing/2014/main" id="{8B6A5E83-D0E0-5937-5914-F611A55308F8}"/>
              </a:ext>
            </a:extLst>
          </p:cNvPr>
          <p:cNvSpPr>
            <a:spLocks noGrp="1"/>
          </p:cNvSpPr>
          <p:nvPr>
            <p:ph type="dt" sz="half" idx="16"/>
          </p:nvPr>
        </p:nvSpPr>
        <p:spPr/>
        <p:txBody>
          <a:bodyPr/>
          <a:lstStyle/>
          <a:p>
            <a:fld id="{D01202E9-2D4B-460D-A73B-9113397D4E8C}" type="datetime1">
              <a:rPr lang="en-US" noProof="0" smtClean="0"/>
              <a:t>10/31/2024</a:t>
            </a:fld>
            <a:endParaRPr lang="en-US" noProof="0"/>
          </a:p>
        </p:txBody>
      </p:sp>
      <p:sp>
        <p:nvSpPr>
          <p:cNvPr id="18" name="Footer Placeholder 17">
            <a:extLst>
              <a:ext uri="{FF2B5EF4-FFF2-40B4-BE49-F238E27FC236}">
                <a16:creationId xmlns:a16="http://schemas.microsoft.com/office/drawing/2014/main" id="{F044BE73-25A2-465E-6B26-7A5CADCE6691}"/>
              </a:ext>
            </a:extLst>
          </p:cNvPr>
          <p:cNvSpPr>
            <a:spLocks noGrp="1"/>
          </p:cNvSpPr>
          <p:nvPr>
            <p:ph type="ftr" sz="quarter" idx="17"/>
          </p:nvPr>
        </p:nvSpPr>
        <p:spPr/>
        <p:txBody>
          <a:bodyPr/>
          <a:lstStyle/>
          <a:p>
            <a:r>
              <a:rPr lang="en-US"/>
              <a:t>Group Presentation</a:t>
            </a:r>
          </a:p>
        </p:txBody>
      </p:sp>
      <p:sp>
        <p:nvSpPr>
          <p:cNvPr id="19" name="Slide Number Placeholder 18">
            <a:extLst>
              <a:ext uri="{FF2B5EF4-FFF2-40B4-BE49-F238E27FC236}">
                <a16:creationId xmlns:a16="http://schemas.microsoft.com/office/drawing/2014/main" id="{934528B9-90E2-8813-08E6-172BF1BCC396}"/>
              </a:ext>
            </a:extLst>
          </p:cNvPr>
          <p:cNvSpPr>
            <a:spLocks noGrp="1"/>
          </p:cNvSpPr>
          <p:nvPr>
            <p:ph type="sldNum" sz="quarter" idx="18"/>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33109180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FE16BE-9339-7BA6-7AE7-3CEFBD907A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46FE16BE-9339-7BA6-7AE7-3CEFBD907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2" y="1341438"/>
            <a:ext cx="2698052"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3310679" y="1341438"/>
            <a:ext cx="2685309"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6192837" y="1341438"/>
            <a:ext cx="2700338"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104312" y="1341438"/>
            <a:ext cx="2706687"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platzhalter 3">
            <a:extLst>
              <a:ext uri="{FF2B5EF4-FFF2-40B4-BE49-F238E27FC236}">
                <a16:creationId xmlns:a16="http://schemas.microsoft.com/office/drawing/2014/main" id="{8C743180-9A9A-7A61-7443-2B641F2E7A7D}"/>
              </a:ext>
            </a:extLst>
          </p:cNvPr>
          <p:cNvSpPr>
            <a:spLocks noGrp="1"/>
          </p:cNvSpPr>
          <p:nvPr>
            <p:ph type="body" sz="quarter" idx="16"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CA9AF2A0-4622-D25A-F06F-3649DF801159}"/>
              </a:ext>
            </a:extLst>
          </p:cNvPr>
          <p:cNvSpPr>
            <a:spLocks noGrp="1"/>
          </p:cNvSpPr>
          <p:nvPr>
            <p:ph type="dt" sz="half" idx="17"/>
          </p:nvPr>
        </p:nvSpPr>
        <p:spPr/>
        <p:txBody>
          <a:bodyPr/>
          <a:lstStyle/>
          <a:p>
            <a:fld id="{2D7D00DB-C53F-41CA-B06A-A078734CBFDC}" type="datetime1">
              <a:rPr lang="en-US" noProof="0" smtClean="0"/>
              <a:t>10/31/2024</a:t>
            </a:fld>
            <a:endParaRPr lang="en-US" noProof="0"/>
          </a:p>
        </p:txBody>
      </p:sp>
      <p:sp>
        <p:nvSpPr>
          <p:cNvPr id="16" name="Footer Placeholder 15">
            <a:extLst>
              <a:ext uri="{FF2B5EF4-FFF2-40B4-BE49-F238E27FC236}">
                <a16:creationId xmlns:a16="http://schemas.microsoft.com/office/drawing/2014/main" id="{828330B8-4C9F-C5CD-F8D4-41A6F99429FB}"/>
              </a:ext>
            </a:extLst>
          </p:cNvPr>
          <p:cNvSpPr>
            <a:spLocks noGrp="1"/>
          </p:cNvSpPr>
          <p:nvPr>
            <p:ph type="ftr" sz="quarter" idx="18"/>
          </p:nvPr>
        </p:nvSpPr>
        <p:spPr/>
        <p:txBody>
          <a:bodyPr/>
          <a:lstStyle/>
          <a:p>
            <a:r>
              <a:rPr lang="en-US"/>
              <a:t>Group Presentation</a:t>
            </a:r>
          </a:p>
        </p:txBody>
      </p:sp>
      <p:sp>
        <p:nvSpPr>
          <p:cNvPr id="17" name="Slide Number Placeholder 16">
            <a:extLst>
              <a:ext uri="{FF2B5EF4-FFF2-40B4-BE49-F238E27FC236}">
                <a16:creationId xmlns:a16="http://schemas.microsoft.com/office/drawing/2014/main" id="{F03C78B1-C370-46E4-E528-1EDD2E048B4D}"/>
              </a:ext>
            </a:extLst>
          </p:cNvPr>
          <p:cNvSpPr>
            <a:spLocks noGrp="1"/>
          </p:cNvSpPr>
          <p:nvPr>
            <p:ph type="sldNum" sz="quarter" idx="19"/>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6331688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5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71766A-B2F3-3EEB-135C-F02E563845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1871766A-B2F3-3EEB-135C-F02E563845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1" y="1341438"/>
            <a:ext cx="2140908"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5028277" y="1341438"/>
            <a:ext cx="2136111"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7349186" y="1341438"/>
            <a:ext cx="2140908"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670094" y="1341438"/>
            <a:ext cx="2140908"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Inhaltsplatzhalter 2">
            <a:extLst>
              <a:ext uri="{FF2B5EF4-FFF2-40B4-BE49-F238E27FC236}">
                <a16:creationId xmlns:a16="http://schemas.microsoft.com/office/drawing/2014/main" id="{B59E7BBC-4720-3876-8ED5-67EBB8C485A8}"/>
              </a:ext>
            </a:extLst>
          </p:cNvPr>
          <p:cNvSpPr>
            <a:spLocks noGrp="1"/>
          </p:cNvSpPr>
          <p:nvPr>
            <p:ph idx="16" hasCustomPrompt="1"/>
          </p:nvPr>
        </p:nvSpPr>
        <p:spPr>
          <a:xfrm>
            <a:off x="2707369" y="1341438"/>
            <a:ext cx="2140908"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Textplatzhalter 3">
            <a:extLst>
              <a:ext uri="{FF2B5EF4-FFF2-40B4-BE49-F238E27FC236}">
                <a16:creationId xmlns:a16="http://schemas.microsoft.com/office/drawing/2014/main" id="{18FA52C9-910E-F0F4-0390-17C09D5CDC16}"/>
              </a:ext>
            </a:extLst>
          </p:cNvPr>
          <p:cNvSpPr>
            <a:spLocks noGrp="1"/>
          </p:cNvSpPr>
          <p:nvPr>
            <p:ph type="body" sz="quarter" idx="17"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D6747863-E3F2-8F4A-F40A-EED6F908AF8A}"/>
              </a:ext>
            </a:extLst>
          </p:cNvPr>
          <p:cNvSpPr>
            <a:spLocks noGrp="1"/>
          </p:cNvSpPr>
          <p:nvPr>
            <p:ph type="dt" sz="half" idx="18"/>
          </p:nvPr>
        </p:nvSpPr>
        <p:spPr/>
        <p:txBody>
          <a:bodyPr/>
          <a:lstStyle/>
          <a:p>
            <a:fld id="{E44EA565-847D-4E4B-AAF7-D7B6FC29F9DE}" type="datetime1">
              <a:rPr lang="en-US" noProof="0" smtClean="0"/>
              <a:t>10/31/2024</a:t>
            </a:fld>
            <a:endParaRPr lang="en-US" noProof="0"/>
          </a:p>
        </p:txBody>
      </p:sp>
      <p:sp>
        <p:nvSpPr>
          <p:cNvPr id="17" name="Footer Placeholder 16">
            <a:extLst>
              <a:ext uri="{FF2B5EF4-FFF2-40B4-BE49-F238E27FC236}">
                <a16:creationId xmlns:a16="http://schemas.microsoft.com/office/drawing/2014/main" id="{3CD7394D-BFB8-1D40-38BF-6DEE8CC4F7F8}"/>
              </a:ext>
            </a:extLst>
          </p:cNvPr>
          <p:cNvSpPr>
            <a:spLocks noGrp="1"/>
          </p:cNvSpPr>
          <p:nvPr>
            <p:ph type="ftr" sz="quarter" idx="19"/>
          </p:nvPr>
        </p:nvSpPr>
        <p:spPr/>
        <p:txBody>
          <a:bodyPr/>
          <a:lstStyle/>
          <a:p>
            <a:r>
              <a:rPr lang="en-US"/>
              <a:t>Group Presentation</a:t>
            </a:r>
          </a:p>
        </p:txBody>
      </p:sp>
      <p:sp>
        <p:nvSpPr>
          <p:cNvPr id="18" name="Slide Number Placeholder 17">
            <a:extLst>
              <a:ext uri="{FF2B5EF4-FFF2-40B4-BE49-F238E27FC236}">
                <a16:creationId xmlns:a16="http://schemas.microsoft.com/office/drawing/2014/main" id="{0DF2D411-1E85-0CA3-F601-7EE2C5BA4334}"/>
              </a:ext>
            </a:extLst>
          </p:cNvPr>
          <p:cNvSpPr>
            <a:spLocks noGrp="1"/>
          </p:cNvSpPr>
          <p:nvPr>
            <p:ph type="sldNum" sz="quarter" idx="20"/>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24294780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6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B75234-748A-D9F6-B2B1-259C53147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8FB75234-748A-D9F6-B2B1-259C531474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8127" y="1341438"/>
            <a:ext cx="1732774"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5" name="Inhaltsplatzhalter 2">
            <a:extLst>
              <a:ext uri="{FF2B5EF4-FFF2-40B4-BE49-F238E27FC236}">
                <a16:creationId xmlns:a16="http://schemas.microsoft.com/office/drawing/2014/main" id="{70BE7BEC-B8D6-86C0-5A5F-9A8CAABC2BDE}"/>
              </a:ext>
            </a:extLst>
          </p:cNvPr>
          <p:cNvSpPr>
            <a:spLocks noGrp="1"/>
          </p:cNvSpPr>
          <p:nvPr>
            <p:ph idx="13" hasCustomPrompt="1"/>
          </p:nvPr>
        </p:nvSpPr>
        <p:spPr>
          <a:xfrm>
            <a:off x="2324087" y="1341438"/>
            <a:ext cx="1738326"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Inhaltsplatzhalter 2">
            <a:extLst>
              <a:ext uri="{FF2B5EF4-FFF2-40B4-BE49-F238E27FC236}">
                <a16:creationId xmlns:a16="http://schemas.microsoft.com/office/drawing/2014/main" id="{172C675A-87FD-6815-15D8-60B110A5DF46}"/>
              </a:ext>
            </a:extLst>
          </p:cNvPr>
          <p:cNvSpPr>
            <a:spLocks noGrp="1"/>
          </p:cNvSpPr>
          <p:nvPr>
            <p:ph idx="14" hasCustomPrompt="1"/>
          </p:nvPr>
        </p:nvSpPr>
        <p:spPr>
          <a:xfrm>
            <a:off x="4260047" y="1341438"/>
            <a:ext cx="1732774"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Inhaltsplatzhalter 2">
            <a:extLst>
              <a:ext uri="{FF2B5EF4-FFF2-40B4-BE49-F238E27FC236}">
                <a16:creationId xmlns:a16="http://schemas.microsoft.com/office/drawing/2014/main" id="{6B96BCB2-00D1-234F-3E2B-E073EA01C7BB}"/>
              </a:ext>
            </a:extLst>
          </p:cNvPr>
          <p:cNvSpPr>
            <a:spLocks noGrp="1"/>
          </p:cNvSpPr>
          <p:nvPr>
            <p:ph idx="15" hasCustomPrompt="1"/>
          </p:nvPr>
        </p:nvSpPr>
        <p:spPr>
          <a:xfrm>
            <a:off x="6196006" y="1341438"/>
            <a:ext cx="1741493"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Inhaltsplatzhalter 2">
            <a:extLst>
              <a:ext uri="{FF2B5EF4-FFF2-40B4-BE49-F238E27FC236}">
                <a16:creationId xmlns:a16="http://schemas.microsoft.com/office/drawing/2014/main" id="{5D72F866-5BF4-AF41-FA3F-77D90B5F3E23}"/>
              </a:ext>
            </a:extLst>
          </p:cNvPr>
          <p:cNvSpPr>
            <a:spLocks noGrp="1"/>
          </p:cNvSpPr>
          <p:nvPr>
            <p:ph idx="16" hasCustomPrompt="1"/>
          </p:nvPr>
        </p:nvSpPr>
        <p:spPr>
          <a:xfrm>
            <a:off x="8135938" y="1341438"/>
            <a:ext cx="1733549"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Inhaltsplatzhalter 2">
            <a:extLst>
              <a:ext uri="{FF2B5EF4-FFF2-40B4-BE49-F238E27FC236}">
                <a16:creationId xmlns:a16="http://schemas.microsoft.com/office/drawing/2014/main" id="{0A18367D-43AA-66AE-0288-5A3E861FE085}"/>
              </a:ext>
            </a:extLst>
          </p:cNvPr>
          <p:cNvSpPr>
            <a:spLocks noGrp="1"/>
          </p:cNvSpPr>
          <p:nvPr>
            <p:ph idx="17" hasCustomPrompt="1"/>
          </p:nvPr>
        </p:nvSpPr>
        <p:spPr>
          <a:xfrm>
            <a:off x="10067924" y="1341438"/>
            <a:ext cx="1743075"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platzhalter 3">
            <a:extLst>
              <a:ext uri="{FF2B5EF4-FFF2-40B4-BE49-F238E27FC236}">
                <a16:creationId xmlns:a16="http://schemas.microsoft.com/office/drawing/2014/main" id="{40863AFC-CB12-B931-7439-FF1F54041D22}"/>
              </a:ext>
            </a:extLst>
          </p:cNvPr>
          <p:cNvSpPr>
            <a:spLocks noGrp="1"/>
          </p:cNvSpPr>
          <p:nvPr>
            <p:ph type="body" sz="quarter" idx="18"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2DC3E203-69A2-160D-EEBE-589B89A39A8E}"/>
              </a:ext>
            </a:extLst>
          </p:cNvPr>
          <p:cNvSpPr>
            <a:spLocks noGrp="1"/>
          </p:cNvSpPr>
          <p:nvPr>
            <p:ph type="dt" sz="half" idx="19"/>
          </p:nvPr>
        </p:nvSpPr>
        <p:spPr/>
        <p:txBody>
          <a:bodyPr/>
          <a:lstStyle/>
          <a:p>
            <a:fld id="{B4665EED-5931-4F4B-9D30-093112ED30A5}" type="datetime1">
              <a:rPr lang="en-US" noProof="0" smtClean="0"/>
              <a:t>10/31/2024</a:t>
            </a:fld>
            <a:endParaRPr lang="en-US" noProof="0"/>
          </a:p>
        </p:txBody>
      </p:sp>
      <p:sp>
        <p:nvSpPr>
          <p:cNvPr id="18" name="Footer Placeholder 17">
            <a:extLst>
              <a:ext uri="{FF2B5EF4-FFF2-40B4-BE49-F238E27FC236}">
                <a16:creationId xmlns:a16="http://schemas.microsoft.com/office/drawing/2014/main" id="{A458B0B2-2432-07C8-E70C-828C34FE304D}"/>
              </a:ext>
            </a:extLst>
          </p:cNvPr>
          <p:cNvSpPr>
            <a:spLocks noGrp="1"/>
          </p:cNvSpPr>
          <p:nvPr>
            <p:ph type="ftr" sz="quarter" idx="20"/>
          </p:nvPr>
        </p:nvSpPr>
        <p:spPr/>
        <p:txBody>
          <a:bodyPr/>
          <a:lstStyle/>
          <a:p>
            <a:r>
              <a:rPr lang="en-US"/>
              <a:t>Group Presentation</a:t>
            </a:r>
          </a:p>
        </p:txBody>
      </p:sp>
      <p:sp>
        <p:nvSpPr>
          <p:cNvPr id="19" name="Slide Number Placeholder 18">
            <a:extLst>
              <a:ext uri="{FF2B5EF4-FFF2-40B4-BE49-F238E27FC236}">
                <a16:creationId xmlns:a16="http://schemas.microsoft.com/office/drawing/2014/main" id="{EF1C347A-5BE1-76D4-EDD7-E57DC121F6AF}"/>
              </a:ext>
            </a:extLst>
          </p:cNvPr>
          <p:cNvSpPr>
            <a:spLocks noGrp="1"/>
          </p:cNvSpPr>
          <p:nvPr>
            <p:ph type="sldNum" sz="quarter" idx="21"/>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19091657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op Picture and Text">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B0424574-F2EF-6F0F-6985-FE797AF04F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6" name="Object 15" hidden="1">
                        <a:extLst>
                          <a:ext uri="{FF2B5EF4-FFF2-40B4-BE49-F238E27FC236}">
                            <a16:creationId xmlns:a16="http://schemas.microsoft.com/office/drawing/2014/main" id="{B0424574-F2EF-6F0F-6985-FE797AF04F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5D1B4D5C-2621-759C-671D-04FC1FE6F76F}"/>
              </a:ext>
            </a:extLst>
          </p:cNvPr>
          <p:cNvSpPr>
            <a:spLocks noGrp="1"/>
          </p:cNvSpPr>
          <p:nvPr>
            <p:ph type="pic" sz="quarter" idx="15"/>
          </p:nvPr>
        </p:nvSpPr>
        <p:spPr>
          <a:xfrm>
            <a:off x="-1" y="0"/>
            <a:ext cx="12192000" cy="3429000"/>
          </a:xfrm>
        </p:spPr>
        <p:txBody>
          <a:bodyPr/>
          <a:lstStyle/>
          <a:p>
            <a:r>
              <a:rPr lang="de-DE"/>
              <a:t>Bild durch Klicken auf Symbol hinzufügen</a:t>
            </a:r>
            <a:endParaRPr lang="en-US"/>
          </a:p>
        </p:txBody>
      </p:sp>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4555894"/>
            <a:ext cx="5609529" cy="1357544"/>
          </a:xfrm>
        </p:spPr>
        <p:txBody>
          <a:bodyPr>
            <a:noAutofit/>
          </a:bodyPr>
          <a:lstStyle>
            <a:lvl1pPr>
              <a:defRPr/>
            </a:lvl1pPr>
            <a:lvl5pPr>
              <a:defRPr/>
            </a:lvl5pPr>
            <a:lvl6pPr marL="0" indent="0">
              <a:buFontTx/>
              <a:buNone/>
              <a:defRPr sz="1400"/>
            </a:lvl6pPr>
          </a:lstStyle>
          <a:p>
            <a:pPr lvl="0"/>
            <a:r>
              <a:rPr lang="en-GB" noProof="0"/>
              <a:t>Edit text format</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US"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a:xfrm>
            <a:off x="386459" y="3733924"/>
            <a:ext cx="11419082" cy="283219"/>
          </a:xfrm>
        </p:spPr>
        <p:txBody>
          <a:bodyPr vert="horz"/>
          <a:lstStyle>
            <a:lvl1pPr>
              <a:defRPr/>
            </a:lvl1pPr>
          </a:lstStyle>
          <a:p>
            <a:r>
              <a:rPr lang="en-US" noProof="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6192839" y="4555894"/>
            <a:ext cx="5618162" cy="1357544"/>
          </a:xfrm>
        </p:spPr>
        <p:txBody>
          <a:bodyPr>
            <a:noAutofit/>
          </a:bodyPr>
          <a:lstStyle>
            <a:lvl5pPr>
              <a:defRPr/>
            </a:lvl5pPr>
            <a:lvl6pPr marL="0" indent="0">
              <a:buFontTx/>
              <a:buNone/>
              <a:defRPr sz="1400"/>
            </a:lvl6pPr>
          </a:lstStyle>
          <a:p>
            <a:pPr lvl="0"/>
            <a:r>
              <a:rPr lang="en-GB" noProof="0"/>
              <a:t>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extplatzhalter 3">
            <a:extLst>
              <a:ext uri="{FF2B5EF4-FFF2-40B4-BE49-F238E27FC236}">
                <a16:creationId xmlns:a16="http://schemas.microsoft.com/office/drawing/2014/main" id="{CE19DDA9-5DBE-37E8-5124-73FF70661113}"/>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0150C1B8-1002-6599-05CD-19916CFF204A}"/>
              </a:ext>
            </a:extLst>
          </p:cNvPr>
          <p:cNvSpPr>
            <a:spLocks noGrp="1"/>
          </p:cNvSpPr>
          <p:nvPr>
            <p:ph type="dt" sz="half" idx="16"/>
          </p:nvPr>
        </p:nvSpPr>
        <p:spPr/>
        <p:txBody>
          <a:bodyPr/>
          <a:lstStyle/>
          <a:p>
            <a:fld id="{05F1CFB3-C7A6-4AD1-9F95-9359338FEA97}" type="datetime1">
              <a:rPr lang="en-US" noProof="0" smtClean="0"/>
              <a:t>10/31/2024</a:t>
            </a:fld>
            <a:endParaRPr lang="en-US" noProof="0"/>
          </a:p>
        </p:txBody>
      </p:sp>
      <p:sp>
        <p:nvSpPr>
          <p:cNvPr id="13" name="Footer Placeholder 12">
            <a:extLst>
              <a:ext uri="{FF2B5EF4-FFF2-40B4-BE49-F238E27FC236}">
                <a16:creationId xmlns:a16="http://schemas.microsoft.com/office/drawing/2014/main" id="{6077152C-7416-C256-0067-33E0606C381D}"/>
              </a:ext>
            </a:extLst>
          </p:cNvPr>
          <p:cNvSpPr>
            <a:spLocks noGrp="1"/>
          </p:cNvSpPr>
          <p:nvPr>
            <p:ph type="ftr" sz="quarter" idx="17"/>
          </p:nvPr>
        </p:nvSpPr>
        <p:spPr/>
        <p:txBody>
          <a:bodyPr/>
          <a:lstStyle/>
          <a:p>
            <a:r>
              <a:rPr lang="en-US"/>
              <a:t>Group Presentation</a:t>
            </a:r>
          </a:p>
        </p:txBody>
      </p:sp>
      <p:sp>
        <p:nvSpPr>
          <p:cNvPr id="15" name="Slide Number Placeholder 14">
            <a:extLst>
              <a:ext uri="{FF2B5EF4-FFF2-40B4-BE49-F238E27FC236}">
                <a16:creationId xmlns:a16="http://schemas.microsoft.com/office/drawing/2014/main" id="{59760782-AB04-847E-EAB8-C3D1449B81FD}"/>
              </a:ext>
            </a:extLst>
          </p:cNvPr>
          <p:cNvSpPr>
            <a:spLocks noGrp="1"/>
          </p:cNvSpPr>
          <p:nvPr>
            <p:ph type="sldNum" sz="quarter" idx="18"/>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23747951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Image left - Title + bullets">
    <p:spTree>
      <p:nvGrpSpPr>
        <p:cNvPr id="1" name=""/>
        <p:cNvGrpSpPr/>
        <p:nvPr/>
      </p:nvGrpSpPr>
      <p:grpSpPr>
        <a:xfrm>
          <a:off x="0" y="0"/>
          <a:ext cx="0" cy="0"/>
          <a:chOff x="0" y="0"/>
          <a:chExt cx="0" cy="0"/>
        </a:xfrm>
      </p:grpSpPr>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Picture 4" descr="Icon&#10;&#10;Description automatically generated">
            <a:extLst>
              <a:ext uri="{FF2B5EF4-FFF2-40B4-BE49-F238E27FC236}">
                <a16:creationId xmlns:a16="http://schemas.microsoft.com/office/drawing/2014/main" id="{9E91DBB7-EE17-D492-C5AB-200877B5403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6574B9BB-7178-7D68-8A45-8960B35AFBB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33112619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ottom Picture and Text">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F39FA74-0166-8C94-DB61-09725ECB42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4" name="Object 13" hidden="1">
                        <a:extLst>
                          <a:ext uri="{FF2B5EF4-FFF2-40B4-BE49-F238E27FC236}">
                            <a16:creationId xmlns:a16="http://schemas.microsoft.com/office/drawing/2014/main" id="{1F39FA74-0166-8C94-DB61-09725ECB42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3">
            <a:extLst>
              <a:ext uri="{FF2B5EF4-FFF2-40B4-BE49-F238E27FC236}">
                <a16:creationId xmlns:a16="http://schemas.microsoft.com/office/drawing/2014/main" id="{860B7CEC-0563-34E6-837C-B1F3CC84237B}"/>
              </a:ext>
            </a:extLst>
          </p:cNvPr>
          <p:cNvSpPr>
            <a:spLocks noGrp="1"/>
          </p:cNvSpPr>
          <p:nvPr>
            <p:ph type="pic" sz="quarter" idx="15" hasCustomPrompt="1"/>
          </p:nvPr>
        </p:nvSpPr>
        <p:spPr>
          <a:xfrm>
            <a:off x="-1" y="3429000"/>
            <a:ext cx="12192000" cy="3429000"/>
          </a:xfrm>
          <a:solidFill>
            <a:schemeClr val="bg1"/>
          </a:solidFill>
        </p:spPr>
        <p:txBody>
          <a:bodyPr/>
          <a:lstStyle/>
          <a:p>
            <a:r>
              <a:rPr lang="en-US" noProof="0"/>
              <a:t>Add image by clicking on icon and set image in background</a:t>
            </a:r>
            <a:endParaRPr lang="en-GB" noProof="0"/>
          </a:p>
        </p:txBody>
      </p:sp>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45995"/>
            <a:ext cx="5609529" cy="1470208"/>
          </a:xfrm>
        </p:spPr>
        <p:txBody>
          <a:bodyPr>
            <a:noAutofit/>
          </a:bodyPr>
          <a:lstStyle>
            <a:lvl5pPr>
              <a:defRPr/>
            </a:lvl5pPr>
            <a:lvl6pPr marL="0" indent="0">
              <a:buFontTx/>
              <a:buNone/>
              <a:defRPr sz="1400"/>
            </a:lvl6pPr>
          </a:lstStyle>
          <a:p>
            <a:pPr lvl="0"/>
            <a:r>
              <a:rPr lang="en-GB" noProof="0"/>
              <a:t>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6192839" y="1348470"/>
            <a:ext cx="5618162" cy="1470208"/>
          </a:xfrm>
        </p:spPr>
        <p:txBody>
          <a:bodyPr>
            <a:noAutofit/>
          </a:bodyPr>
          <a:lstStyle>
            <a:lvl5pPr>
              <a:defRPr/>
            </a:lvl5pPr>
            <a:lvl6pPr marL="0" indent="0">
              <a:buFontTx/>
              <a:buNone/>
              <a:defRPr sz="1400"/>
            </a:lvl6pPr>
          </a:lstStyle>
          <a:p>
            <a:pPr lvl="0"/>
            <a:r>
              <a:rPr lang="en-GB" noProof="0"/>
              <a:t>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extplatzhalter 3">
            <a:extLst>
              <a:ext uri="{FF2B5EF4-FFF2-40B4-BE49-F238E27FC236}">
                <a16:creationId xmlns:a16="http://schemas.microsoft.com/office/drawing/2014/main" id="{56CB2845-29EF-A433-7282-343B47161539}"/>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6101AC69-FD34-6DA3-4C0E-349B03EA7A3A}"/>
              </a:ext>
            </a:extLst>
          </p:cNvPr>
          <p:cNvSpPr>
            <a:spLocks noGrp="1"/>
          </p:cNvSpPr>
          <p:nvPr>
            <p:ph type="dt" sz="half" idx="17"/>
          </p:nvPr>
        </p:nvSpPr>
        <p:spPr/>
        <p:txBody>
          <a:bodyPr/>
          <a:lstStyle>
            <a:lvl1pPr>
              <a:defRPr>
                <a:solidFill>
                  <a:schemeClr val="bg1"/>
                </a:solidFill>
              </a:defRPr>
            </a:lvl1pPr>
          </a:lstStyle>
          <a:p>
            <a:fld id="{7BF05C7C-DDD4-4E4D-801C-4C6297EE8476}" type="datetime1">
              <a:rPr lang="en-US" smtClean="0"/>
              <a:t>10/31/2024</a:t>
            </a:fld>
            <a:endParaRPr lang="en-US"/>
          </a:p>
        </p:txBody>
      </p:sp>
      <p:sp>
        <p:nvSpPr>
          <p:cNvPr id="16" name="Footer Placeholder 15">
            <a:extLst>
              <a:ext uri="{FF2B5EF4-FFF2-40B4-BE49-F238E27FC236}">
                <a16:creationId xmlns:a16="http://schemas.microsoft.com/office/drawing/2014/main" id="{6CF7E9E1-45F2-A093-242B-ABA0EFA4EA9F}"/>
              </a:ext>
            </a:extLst>
          </p:cNvPr>
          <p:cNvSpPr>
            <a:spLocks noGrp="1"/>
          </p:cNvSpPr>
          <p:nvPr>
            <p:ph type="ftr" sz="quarter" idx="18"/>
          </p:nvPr>
        </p:nvSpPr>
        <p:spPr/>
        <p:txBody>
          <a:bodyPr/>
          <a:lstStyle>
            <a:lvl1pPr>
              <a:defRPr>
                <a:solidFill>
                  <a:schemeClr val="bg1"/>
                </a:solidFill>
              </a:defRPr>
            </a:lvl1pPr>
          </a:lstStyle>
          <a:p>
            <a:r>
              <a:rPr lang="en-US"/>
              <a:t>Group Presentation</a:t>
            </a:r>
          </a:p>
        </p:txBody>
      </p:sp>
      <p:sp>
        <p:nvSpPr>
          <p:cNvPr id="17" name="Slide Number Placeholder 16">
            <a:extLst>
              <a:ext uri="{FF2B5EF4-FFF2-40B4-BE49-F238E27FC236}">
                <a16:creationId xmlns:a16="http://schemas.microsoft.com/office/drawing/2014/main" id="{39260DF3-311C-5B40-05A3-43AEDD7D6941}"/>
              </a:ext>
            </a:extLst>
          </p:cNvPr>
          <p:cNvSpPr>
            <a:spLocks noGrp="1"/>
          </p:cNvSpPr>
          <p:nvPr>
            <p:ph type="sldNum" sz="quarter" idx="19"/>
          </p:nvPr>
        </p:nvSpPr>
        <p:spPr/>
        <p:txBody>
          <a:bodyPr/>
          <a:lstStyle>
            <a:lvl1pPr>
              <a:defRPr>
                <a:solidFill>
                  <a:schemeClr val="bg1"/>
                </a:solidFill>
              </a:defRPr>
            </a:lvl1pPr>
          </a:lstStyle>
          <a:p>
            <a:fld id="{A115CDC9-74CB-4F6C-8CD3-A6C89F254EE7}" type="slidenum">
              <a:rPr lang="en-US" smtClean="0"/>
              <a:pPr/>
              <a:t>‹#›</a:t>
            </a:fld>
            <a:endParaRPr lang="en-US"/>
          </a:p>
        </p:txBody>
      </p:sp>
      <p:sp>
        <p:nvSpPr>
          <p:cNvPr id="4" name="Bildplatzhalter 19">
            <a:extLst>
              <a:ext uri="{FF2B5EF4-FFF2-40B4-BE49-F238E27FC236}">
                <a16:creationId xmlns:a16="http://schemas.microsoft.com/office/drawing/2014/main" id="{685DA2B1-FCB3-6D34-693B-2498A687E29D}"/>
              </a:ext>
            </a:extLst>
          </p:cNvPr>
          <p:cNvSpPr>
            <a:spLocks noGrp="1"/>
          </p:cNvSpPr>
          <p:nvPr>
            <p:ph type="pic" sz="quarter" idx="36"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6" name="Text Placeholder 7">
            <a:extLst>
              <a:ext uri="{FF2B5EF4-FFF2-40B4-BE49-F238E27FC236}">
                <a16:creationId xmlns:a16="http://schemas.microsoft.com/office/drawing/2014/main" id="{4FEBA41B-ECC8-664F-FC66-E7D0361A9833}"/>
              </a:ext>
            </a:extLst>
          </p:cNvPr>
          <p:cNvSpPr>
            <a:spLocks noGrp="1" noChangeAspect="1"/>
          </p:cNvSpPr>
          <p:nvPr>
            <p:ph type="body" sz="quarter" idx="35" hasCustomPrompt="1"/>
          </p:nvPr>
        </p:nvSpPr>
        <p:spPr>
          <a:xfrm>
            <a:off x="11523000" y="6201700"/>
            <a:ext cx="288000" cy="288000"/>
          </a:xfrm>
          <a:blipFill>
            <a:blip r:embed="rId6"/>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401003616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4 Pictures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FE16BE-9339-7BA6-7AE7-3CEFBD907A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46FE16BE-9339-7BA6-7AE7-3CEFBD907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2F6DA52E-E922-7AD0-7D98-1428F1C35503}"/>
              </a:ext>
            </a:extLst>
          </p:cNvPr>
          <p:cNvSpPr>
            <a:spLocks noGrp="1"/>
          </p:cNvSpPr>
          <p:nvPr>
            <p:ph type="pic" sz="quarter" idx="17"/>
          </p:nvPr>
        </p:nvSpPr>
        <p:spPr>
          <a:xfrm>
            <a:off x="382588" y="1348508"/>
            <a:ext cx="2701925" cy="1703515"/>
          </a:xfrm>
        </p:spPr>
        <p:txBody>
          <a:bodyPr/>
          <a:lstStyle/>
          <a:p>
            <a:r>
              <a:rPr lang="de-DE"/>
              <a:t>Bild durch Klicken auf Symbol hinzufügen</a:t>
            </a:r>
            <a:endParaRPr lang="en-US"/>
          </a:p>
        </p:txBody>
      </p:sp>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2588" y="3834614"/>
            <a:ext cx="2701925" cy="2078823"/>
          </a:xfrm>
        </p:spPr>
        <p:txBody>
          <a:bodyPr tIns="0">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3295650" y="3834614"/>
            <a:ext cx="2700111" cy="207882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6192838" y="3834614"/>
            <a:ext cx="2700338" cy="207882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104312" y="3834614"/>
            <a:ext cx="2706687" cy="207882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Picture Placeholder 18">
            <a:extLst>
              <a:ext uri="{FF2B5EF4-FFF2-40B4-BE49-F238E27FC236}">
                <a16:creationId xmlns:a16="http://schemas.microsoft.com/office/drawing/2014/main" id="{F154C221-9C00-ECDE-F668-E674D81FB98B}"/>
              </a:ext>
            </a:extLst>
          </p:cNvPr>
          <p:cNvSpPr>
            <a:spLocks noGrp="1"/>
          </p:cNvSpPr>
          <p:nvPr>
            <p:ph type="pic" sz="quarter" idx="18"/>
          </p:nvPr>
        </p:nvSpPr>
        <p:spPr>
          <a:xfrm>
            <a:off x="3295650" y="1340768"/>
            <a:ext cx="2700338" cy="1703515"/>
          </a:xfrm>
        </p:spPr>
        <p:txBody>
          <a:bodyPr/>
          <a:lstStyle/>
          <a:p>
            <a:r>
              <a:rPr lang="de-DE"/>
              <a:t>Bild durch Klicken auf Symbol hinzufügen</a:t>
            </a:r>
            <a:endParaRPr lang="en-US"/>
          </a:p>
        </p:txBody>
      </p:sp>
      <p:sp>
        <p:nvSpPr>
          <p:cNvPr id="21" name="Picture Placeholder 18">
            <a:extLst>
              <a:ext uri="{FF2B5EF4-FFF2-40B4-BE49-F238E27FC236}">
                <a16:creationId xmlns:a16="http://schemas.microsoft.com/office/drawing/2014/main" id="{5C60685B-D5AC-71CD-B49B-D9AECE0F7438}"/>
              </a:ext>
            </a:extLst>
          </p:cNvPr>
          <p:cNvSpPr>
            <a:spLocks noGrp="1"/>
          </p:cNvSpPr>
          <p:nvPr>
            <p:ph type="pic" sz="quarter" idx="19"/>
          </p:nvPr>
        </p:nvSpPr>
        <p:spPr>
          <a:xfrm>
            <a:off x="6192838" y="1340768"/>
            <a:ext cx="2700338" cy="1703515"/>
          </a:xfrm>
        </p:spPr>
        <p:txBody>
          <a:bodyPr/>
          <a:lstStyle/>
          <a:p>
            <a:r>
              <a:rPr lang="de-DE"/>
              <a:t>Bild durch Klicken auf Symbol hinzufügen</a:t>
            </a:r>
            <a:endParaRPr lang="en-US"/>
          </a:p>
        </p:txBody>
      </p:sp>
      <p:sp>
        <p:nvSpPr>
          <p:cNvPr id="22" name="Picture Placeholder 18">
            <a:extLst>
              <a:ext uri="{FF2B5EF4-FFF2-40B4-BE49-F238E27FC236}">
                <a16:creationId xmlns:a16="http://schemas.microsoft.com/office/drawing/2014/main" id="{8CDD6BF0-123C-5B2D-F772-3B6E8C0B8090}"/>
              </a:ext>
            </a:extLst>
          </p:cNvPr>
          <p:cNvSpPr>
            <a:spLocks noGrp="1"/>
          </p:cNvSpPr>
          <p:nvPr>
            <p:ph type="pic" sz="quarter" idx="20"/>
          </p:nvPr>
        </p:nvSpPr>
        <p:spPr>
          <a:xfrm>
            <a:off x="9104312" y="1340768"/>
            <a:ext cx="2706687" cy="1703515"/>
          </a:xfrm>
        </p:spPr>
        <p:txBody>
          <a:bodyPr/>
          <a:lstStyle/>
          <a:p>
            <a:r>
              <a:rPr lang="de-DE"/>
              <a:t>Bild durch Klicken auf Symbol hinzufügen</a:t>
            </a:r>
            <a:endParaRPr lang="en-US"/>
          </a:p>
        </p:txBody>
      </p:sp>
      <p:sp>
        <p:nvSpPr>
          <p:cNvPr id="24" name="Text Placeholder 23">
            <a:extLst>
              <a:ext uri="{FF2B5EF4-FFF2-40B4-BE49-F238E27FC236}">
                <a16:creationId xmlns:a16="http://schemas.microsoft.com/office/drawing/2014/main" id="{1B3A694E-5CDB-D14C-28EC-3F759D36336E}"/>
              </a:ext>
            </a:extLst>
          </p:cNvPr>
          <p:cNvSpPr>
            <a:spLocks noGrp="1"/>
          </p:cNvSpPr>
          <p:nvPr>
            <p:ph type="body" sz="quarter" idx="21" hasCustomPrompt="1"/>
          </p:nvPr>
        </p:nvSpPr>
        <p:spPr>
          <a:xfrm>
            <a:off x="382588" y="3524249"/>
            <a:ext cx="2701925" cy="310365"/>
          </a:xfrm>
        </p:spPr>
        <p:txBody>
          <a:bodyPr vert="horz"/>
          <a:lstStyle>
            <a:lvl1pPr marL="0" indent="0">
              <a:buFontTx/>
              <a:buNone/>
              <a:defRPr sz="2000">
                <a:solidFill>
                  <a:schemeClr val="tx2"/>
                </a:solidFill>
                <a:latin typeface="+mj-lt"/>
              </a:defRPr>
            </a:lvl1pPr>
          </a:lstStyle>
          <a:p>
            <a:pPr lvl="0"/>
            <a:r>
              <a:rPr lang="en-US"/>
              <a:t>1.</a:t>
            </a:r>
          </a:p>
        </p:txBody>
      </p:sp>
      <p:sp>
        <p:nvSpPr>
          <p:cNvPr id="25" name="Text Placeholder 23">
            <a:extLst>
              <a:ext uri="{FF2B5EF4-FFF2-40B4-BE49-F238E27FC236}">
                <a16:creationId xmlns:a16="http://schemas.microsoft.com/office/drawing/2014/main" id="{873F4DC0-10C2-7B88-9543-7D95ECD7B0D2}"/>
              </a:ext>
            </a:extLst>
          </p:cNvPr>
          <p:cNvSpPr>
            <a:spLocks noGrp="1"/>
          </p:cNvSpPr>
          <p:nvPr>
            <p:ph type="body" sz="quarter" idx="22" hasCustomPrompt="1"/>
          </p:nvPr>
        </p:nvSpPr>
        <p:spPr>
          <a:xfrm>
            <a:off x="3295650" y="3524249"/>
            <a:ext cx="2700111" cy="310365"/>
          </a:xfrm>
        </p:spPr>
        <p:txBody>
          <a:bodyPr vert="horz"/>
          <a:lstStyle>
            <a:lvl1pPr marL="0" indent="0">
              <a:buFontTx/>
              <a:buNone/>
              <a:defRPr sz="2000">
                <a:solidFill>
                  <a:schemeClr val="tx2"/>
                </a:solidFill>
                <a:latin typeface="+mj-lt"/>
              </a:defRPr>
            </a:lvl1pPr>
          </a:lstStyle>
          <a:p>
            <a:pPr lvl="0"/>
            <a:r>
              <a:rPr lang="en-US"/>
              <a:t>1.</a:t>
            </a:r>
          </a:p>
        </p:txBody>
      </p:sp>
      <p:sp>
        <p:nvSpPr>
          <p:cNvPr id="26" name="Text Placeholder 23">
            <a:extLst>
              <a:ext uri="{FF2B5EF4-FFF2-40B4-BE49-F238E27FC236}">
                <a16:creationId xmlns:a16="http://schemas.microsoft.com/office/drawing/2014/main" id="{C554B584-0BBC-032E-DAF5-922382F6C62A}"/>
              </a:ext>
            </a:extLst>
          </p:cNvPr>
          <p:cNvSpPr>
            <a:spLocks noGrp="1"/>
          </p:cNvSpPr>
          <p:nvPr>
            <p:ph type="body" sz="quarter" idx="23" hasCustomPrompt="1"/>
          </p:nvPr>
        </p:nvSpPr>
        <p:spPr>
          <a:xfrm>
            <a:off x="6192838" y="3524249"/>
            <a:ext cx="2700338" cy="310365"/>
          </a:xfrm>
        </p:spPr>
        <p:txBody>
          <a:bodyPr vert="horz"/>
          <a:lstStyle>
            <a:lvl1pPr marL="0" indent="0">
              <a:buFontTx/>
              <a:buNone/>
              <a:defRPr sz="2000">
                <a:solidFill>
                  <a:schemeClr val="tx2"/>
                </a:solidFill>
                <a:latin typeface="+mj-lt"/>
              </a:defRPr>
            </a:lvl1pPr>
          </a:lstStyle>
          <a:p>
            <a:pPr lvl="0"/>
            <a:r>
              <a:rPr lang="en-US"/>
              <a:t>1.</a:t>
            </a:r>
          </a:p>
        </p:txBody>
      </p:sp>
      <p:sp>
        <p:nvSpPr>
          <p:cNvPr id="27" name="Text Placeholder 23">
            <a:extLst>
              <a:ext uri="{FF2B5EF4-FFF2-40B4-BE49-F238E27FC236}">
                <a16:creationId xmlns:a16="http://schemas.microsoft.com/office/drawing/2014/main" id="{05B6CA0D-4194-3D94-49CE-56F6E0548F62}"/>
              </a:ext>
            </a:extLst>
          </p:cNvPr>
          <p:cNvSpPr>
            <a:spLocks noGrp="1"/>
          </p:cNvSpPr>
          <p:nvPr>
            <p:ph type="body" sz="quarter" idx="24" hasCustomPrompt="1"/>
          </p:nvPr>
        </p:nvSpPr>
        <p:spPr>
          <a:xfrm>
            <a:off x="9104312" y="3524249"/>
            <a:ext cx="2706687" cy="310365"/>
          </a:xfrm>
        </p:spPr>
        <p:txBody>
          <a:bodyPr vert="horz"/>
          <a:lstStyle>
            <a:lvl1pPr marL="0" indent="0">
              <a:buFontTx/>
              <a:buNone/>
              <a:defRPr sz="2000">
                <a:solidFill>
                  <a:schemeClr val="tx2"/>
                </a:solidFill>
                <a:latin typeface="+mj-lt"/>
              </a:defRPr>
            </a:lvl1pPr>
          </a:lstStyle>
          <a:p>
            <a:pPr lvl="0"/>
            <a:r>
              <a:rPr lang="en-US"/>
              <a:t>1.</a:t>
            </a:r>
          </a:p>
        </p:txBody>
      </p:sp>
      <p:sp>
        <p:nvSpPr>
          <p:cNvPr id="5" name="Textplatzhalter 3">
            <a:extLst>
              <a:ext uri="{FF2B5EF4-FFF2-40B4-BE49-F238E27FC236}">
                <a16:creationId xmlns:a16="http://schemas.microsoft.com/office/drawing/2014/main" id="{A0589B6B-456C-4B95-EBBD-4B9E3A69E175}"/>
              </a:ext>
            </a:extLst>
          </p:cNvPr>
          <p:cNvSpPr>
            <a:spLocks noGrp="1"/>
          </p:cNvSpPr>
          <p:nvPr>
            <p:ph type="body" sz="quarter" idx="25"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F898CCA6-7EFF-91DC-3D9F-A4A71C9AE2C3}"/>
              </a:ext>
            </a:extLst>
          </p:cNvPr>
          <p:cNvSpPr>
            <a:spLocks noGrp="1"/>
          </p:cNvSpPr>
          <p:nvPr>
            <p:ph type="dt" sz="half" idx="26"/>
          </p:nvPr>
        </p:nvSpPr>
        <p:spPr/>
        <p:txBody>
          <a:bodyPr/>
          <a:lstStyle/>
          <a:p>
            <a:fld id="{F4AC0E7E-784B-4922-BBD9-8AC30AB197C4}" type="datetime1">
              <a:rPr lang="en-US" noProof="0" smtClean="0"/>
              <a:t>10/31/2024</a:t>
            </a:fld>
            <a:endParaRPr lang="en-US" noProof="0"/>
          </a:p>
        </p:txBody>
      </p:sp>
      <p:sp>
        <p:nvSpPr>
          <p:cNvPr id="16" name="Footer Placeholder 15">
            <a:extLst>
              <a:ext uri="{FF2B5EF4-FFF2-40B4-BE49-F238E27FC236}">
                <a16:creationId xmlns:a16="http://schemas.microsoft.com/office/drawing/2014/main" id="{8C130255-E526-9528-9FA2-89F1B0C71365}"/>
              </a:ext>
            </a:extLst>
          </p:cNvPr>
          <p:cNvSpPr>
            <a:spLocks noGrp="1"/>
          </p:cNvSpPr>
          <p:nvPr>
            <p:ph type="ftr" sz="quarter" idx="27"/>
          </p:nvPr>
        </p:nvSpPr>
        <p:spPr/>
        <p:txBody>
          <a:bodyPr/>
          <a:lstStyle/>
          <a:p>
            <a:r>
              <a:rPr lang="en-US"/>
              <a:t>Group Presentation</a:t>
            </a:r>
          </a:p>
        </p:txBody>
      </p:sp>
      <p:sp>
        <p:nvSpPr>
          <p:cNvPr id="17" name="Slide Number Placeholder 16">
            <a:extLst>
              <a:ext uri="{FF2B5EF4-FFF2-40B4-BE49-F238E27FC236}">
                <a16:creationId xmlns:a16="http://schemas.microsoft.com/office/drawing/2014/main" id="{41416E14-843D-C14D-E754-7B98FADC2A78}"/>
              </a:ext>
            </a:extLst>
          </p:cNvPr>
          <p:cNvSpPr>
            <a:spLocks noGrp="1"/>
          </p:cNvSpPr>
          <p:nvPr>
            <p:ph type="sldNum" sz="quarter" idx="28"/>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31152703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5 Icons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71766A-B2F3-3EEB-135C-F02E563845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1871766A-B2F3-3EEB-135C-F02E563845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1"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5028277"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7349186"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670094"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Inhaltsplatzhalter 2">
            <a:extLst>
              <a:ext uri="{FF2B5EF4-FFF2-40B4-BE49-F238E27FC236}">
                <a16:creationId xmlns:a16="http://schemas.microsoft.com/office/drawing/2014/main" id="{B59E7BBC-4720-3876-8ED5-67EBB8C485A8}"/>
              </a:ext>
            </a:extLst>
          </p:cNvPr>
          <p:cNvSpPr>
            <a:spLocks noGrp="1"/>
          </p:cNvSpPr>
          <p:nvPr>
            <p:ph idx="16" hasCustomPrompt="1"/>
          </p:nvPr>
        </p:nvSpPr>
        <p:spPr>
          <a:xfrm>
            <a:off x="2707369"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Inhaltsplatzhalter 2">
            <a:extLst>
              <a:ext uri="{FF2B5EF4-FFF2-40B4-BE49-F238E27FC236}">
                <a16:creationId xmlns:a16="http://schemas.microsoft.com/office/drawing/2014/main" id="{4DDC6663-B6D5-34CB-85D0-587C01476871}"/>
              </a:ext>
            </a:extLst>
          </p:cNvPr>
          <p:cNvSpPr>
            <a:spLocks noGrp="1"/>
          </p:cNvSpPr>
          <p:nvPr>
            <p:ph idx="23" hasCustomPrompt="1"/>
          </p:nvPr>
        </p:nvSpPr>
        <p:spPr>
          <a:xfrm>
            <a:off x="386459" y="1344952"/>
            <a:ext cx="7551041" cy="1456519"/>
          </a:xfrm>
        </p:spPr>
        <p:txBody>
          <a:bodyPr>
            <a:noAutofit/>
          </a:bodyPr>
          <a:lstStyle>
            <a:lvl1pPr>
              <a:defRPr sz="1600"/>
            </a:lvl1pPr>
            <a:lvl2pPr>
              <a:defRPr sz="1600"/>
            </a:lvl2pPr>
            <a:lvl3pPr>
              <a:defRPr sz="1600"/>
            </a:lvl3pPr>
            <a:lvl4pPr>
              <a:defRPr sz="1600"/>
            </a:lvl4pPr>
            <a:lvl5pPr>
              <a:defRPr sz="1600"/>
            </a:lvl5pPr>
            <a:lvl6pPr marL="0" indent="0">
              <a:buFontTx/>
              <a:buNone/>
              <a:defRPr sz="1600"/>
            </a:lvl6pPr>
          </a:lstStyle>
          <a:p>
            <a:pPr lvl="0"/>
            <a:r>
              <a:rPr lang="en-GB" noProof="0"/>
              <a:t>Edit master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Textplatzhalter 3">
            <a:extLst>
              <a:ext uri="{FF2B5EF4-FFF2-40B4-BE49-F238E27FC236}">
                <a16:creationId xmlns:a16="http://schemas.microsoft.com/office/drawing/2014/main" id="{C5B66EB2-614F-6E84-AD42-6CCDDAD2F0C2}"/>
              </a:ext>
            </a:extLst>
          </p:cNvPr>
          <p:cNvSpPr>
            <a:spLocks noGrp="1"/>
          </p:cNvSpPr>
          <p:nvPr>
            <p:ph type="body" sz="quarter" idx="2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03E06B57-4EC5-67A9-87EE-91288794DEB6}"/>
              </a:ext>
            </a:extLst>
          </p:cNvPr>
          <p:cNvSpPr>
            <a:spLocks noGrp="1"/>
          </p:cNvSpPr>
          <p:nvPr>
            <p:ph type="dt" sz="half" idx="25"/>
          </p:nvPr>
        </p:nvSpPr>
        <p:spPr/>
        <p:txBody>
          <a:bodyPr/>
          <a:lstStyle/>
          <a:p>
            <a:fld id="{6F9AA851-DFC7-4BFA-B4EE-FEAC42909DAA}" type="datetime1">
              <a:rPr lang="en-US" noProof="0" smtClean="0"/>
              <a:t>10/31/2024</a:t>
            </a:fld>
            <a:endParaRPr lang="en-US" noProof="0"/>
          </a:p>
        </p:txBody>
      </p:sp>
      <p:sp>
        <p:nvSpPr>
          <p:cNvPr id="17" name="Footer Placeholder 16">
            <a:extLst>
              <a:ext uri="{FF2B5EF4-FFF2-40B4-BE49-F238E27FC236}">
                <a16:creationId xmlns:a16="http://schemas.microsoft.com/office/drawing/2014/main" id="{83537040-975F-14C5-03B0-E4768F43D43C}"/>
              </a:ext>
            </a:extLst>
          </p:cNvPr>
          <p:cNvSpPr>
            <a:spLocks noGrp="1"/>
          </p:cNvSpPr>
          <p:nvPr>
            <p:ph type="ftr" sz="quarter" idx="26"/>
          </p:nvPr>
        </p:nvSpPr>
        <p:spPr/>
        <p:txBody>
          <a:bodyPr/>
          <a:lstStyle/>
          <a:p>
            <a:r>
              <a:rPr lang="en-US"/>
              <a:t>Group Presentation</a:t>
            </a:r>
          </a:p>
        </p:txBody>
      </p:sp>
      <p:sp>
        <p:nvSpPr>
          <p:cNvPr id="18" name="Slide Number Placeholder 17">
            <a:extLst>
              <a:ext uri="{FF2B5EF4-FFF2-40B4-BE49-F238E27FC236}">
                <a16:creationId xmlns:a16="http://schemas.microsoft.com/office/drawing/2014/main" id="{F576B3DF-FC09-D249-5FC8-97ADDA1782D8}"/>
              </a:ext>
            </a:extLst>
          </p:cNvPr>
          <p:cNvSpPr>
            <a:spLocks noGrp="1"/>
          </p:cNvSpPr>
          <p:nvPr>
            <p:ph type="sldNum" sz="quarter" idx="27"/>
          </p:nvPr>
        </p:nvSpPr>
        <p:spPr/>
        <p:txBody>
          <a:bodyPr/>
          <a:lstStyle/>
          <a:p>
            <a:fld id="{A115CDC9-74CB-4F6C-8CD3-A6C89F254EE7}" type="slidenum">
              <a:rPr lang="en-US" smtClean="0"/>
              <a:pPr/>
              <a:t>‹#›</a:t>
            </a:fld>
            <a:endParaRPr lang="en-US"/>
          </a:p>
        </p:txBody>
      </p:sp>
      <p:sp>
        <p:nvSpPr>
          <p:cNvPr id="8" name="Inhaltsplatzhalter 7">
            <a:extLst>
              <a:ext uri="{FF2B5EF4-FFF2-40B4-BE49-F238E27FC236}">
                <a16:creationId xmlns:a16="http://schemas.microsoft.com/office/drawing/2014/main" id="{D090F96E-FC7C-6FA8-99D8-941C4867F024}"/>
              </a:ext>
            </a:extLst>
          </p:cNvPr>
          <p:cNvSpPr>
            <a:spLocks noGrp="1"/>
          </p:cNvSpPr>
          <p:nvPr>
            <p:ph sz="quarter" idx="28" hasCustomPrompt="1"/>
          </p:nvPr>
        </p:nvSpPr>
        <p:spPr>
          <a:xfrm>
            <a:off x="386461" y="3109996"/>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a:t>Click picture icon to add picture</a:t>
            </a:r>
          </a:p>
          <a:p>
            <a:pPr lvl="0"/>
            <a:endParaRPr lang="en-US"/>
          </a:p>
        </p:txBody>
      </p:sp>
      <p:sp>
        <p:nvSpPr>
          <p:cNvPr id="9" name="Inhaltsplatzhalter 7">
            <a:extLst>
              <a:ext uri="{FF2B5EF4-FFF2-40B4-BE49-F238E27FC236}">
                <a16:creationId xmlns:a16="http://schemas.microsoft.com/office/drawing/2014/main" id="{86244F86-9035-D0F2-5320-024C51DBC451}"/>
              </a:ext>
            </a:extLst>
          </p:cNvPr>
          <p:cNvSpPr>
            <a:spLocks noGrp="1"/>
          </p:cNvSpPr>
          <p:nvPr>
            <p:ph sz="quarter" idx="29" hasCustomPrompt="1"/>
          </p:nvPr>
        </p:nvSpPr>
        <p:spPr>
          <a:xfrm>
            <a:off x="2707369" y="3109996"/>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a:t>Click picture icon to add picture</a:t>
            </a:r>
          </a:p>
          <a:p>
            <a:pPr lvl="0"/>
            <a:endParaRPr lang="en-US"/>
          </a:p>
        </p:txBody>
      </p:sp>
      <p:sp>
        <p:nvSpPr>
          <p:cNvPr id="14" name="Inhaltsplatzhalter 7">
            <a:extLst>
              <a:ext uri="{FF2B5EF4-FFF2-40B4-BE49-F238E27FC236}">
                <a16:creationId xmlns:a16="http://schemas.microsoft.com/office/drawing/2014/main" id="{8807641E-F74B-AAAB-DD8A-5C257E55CDE9}"/>
              </a:ext>
            </a:extLst>
          </p:cNvPr>
          <p:cNvSpPr>
            <a:spLocks noGrp="1"/>
          </p:cNvSpPr>
          <p:nvPr>
            <p:ph sz="quarter" idx="30" hasCustomPrompt="1"/>
          </p:nvPr>
        </p:nvSpPr>
        <p:spPr>
          <a:xfrm>
            <a:off x="5028277" y="3109996"/>
            <a:ext cx="2136111"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a:t>Click picture icon to add picture</a:t>
            </a:r>
          </a:p>
          <a:p>
            <a:pPr lvl="0"/>
            <a:endParaRPr lang="en-US"/>
          </a:p>
        </p:txBody>
      </p:sp>
      <p:sp>
        <p:nvSpPr>
          <p:cNvPr id="15" name="Inhaltsplatzhalter 7">
            <a:extLst>
              <a:ext uri="{FF2B5EF4-FFF2-40B4-BE49-F238E27FC236}">
                <a16:creationId xmlns:a16="http://schemas.microsoft.com/office/drawing/2014/main" id="{8282D2F6-CF2C-5260-ED14-63697734FF88}"/>
              </a:ext>
            </a:extLst>
          </p:cNvPr>
          <p:cNvSpPr>
            <a:spLocks noGrp="1"/>
          </p:cNvSpPr>
          <p:nvPr>
            <p:ph sz="quarter" idx="31" hasCustomPrompt="1"/>
          </p:nvPr>
        </p:nvSpPr>
        <p:spPr>
          <a:xfrm>
            <a:off x="7349186" y="3109996"/>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a:t>Click picture icon to add picture</a:t>
            </a:r>
          </a:p>
          <a:p>
            <a:pPr lvl="0"/>
            <a:endParaRPr lang="en-US"/>
          </a:p>
        </p:txBody>
      </p:sp>
      <p:sp>
        <p:nvSpPr>
          <p:cNvPr id="16" name="Inhaltsplatzhalter 7">
            <a:extLst>
              <a:ext uri="{FF2B5EF4-FFF2-40B4-BE49-F238E27FC236}">
                <a16:creationId xmlns:a16="http://schemas.microsoft.com/office/drawing/2014/main" id="{3E08D7C1-B1DB-68E3-D54A-886FADA21CFA}"/>
              </a:ext>
            </a:extLst>
          </p:cNvPr>
          <p:cNvSpPr>
            <a:spLocks noGrp="1"/>
          </p:cNvSpPr>
          <p:nvPr>
            <p:ph sz="quarter" idx="32" hasCustomPrompt="1"/>
          </p:nvPr>
        </p:nvSpPr>
        <p:spPr>
          <a:xfrm>
            <a:off x="9670094" y="3109996"/>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a:t>Click picture icon to add picture</a:t>
            </a:r>
          </a:p>
          <a:p>
            <a:pPr lvl="0"/>
            <a:endParaRPr lang="en-US"/>
          </a:p>
        </p:txBody>
      </p:sp>
    </p:spTree>
    <p:extLst>
      <p:ext uri="{BB962C8B-B14F-4D97-AF65-F5344CB8AC3E}">
        <p14:creationId xmlns:p14="http://schemas.microsoft.com/office/powerpoint/2010/main" val="371731259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A8EB7E7-44AB-1CC0-2E66-F4064B8D9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7" name="Object 6" hidden="1">
                        <a:extLst>
                          <a:ext uri="{FF2B5EF4-FFF2-40B4-BE49-F238E27FC236}">
                            <a16:creationId xmlns:a16="http://schemas.microsoft.com/office/drawing/2014/main" id="{7A8EB7E7-44AB-1CC0-2E66-F4064B8D9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CF9C23E-BE04-F971-692A-7BB38E039615}"/>
              </a:ext>
            </a:extLst>
          </p:cNvPr>
          <p:cNvSpPr>
            <a:spLocks noGrp="1"/>
          </p:cNvSpPr>
          <p:nvPr>
            <p:ph type="title" hasCustomPrompt="1"/>
          </p:nvPr>
        </p:nvSpPr>
        <p:spPr/>
        <p:txBody>
          <a:bodyPr vert="horz"/>
          <a:lstStyle>
            <a:lvl1pPr>
              <a:defRPr/>
            </a:lvl1pPr>
          </a:lstStyle>
          <a:p>
            <a:r>
              <a:rPr lang="en-US" noProof="0"/>
              <a:t>Slide heading</a:t>
            </a:r>
          </a:p>
        </p:txBody>
      </p:sp>
      <p:sp>
        <p:nvSpPr>
          <p:cNvPr id="8" name="Textplatzhalter 3">
            <a:extLst>
              <a:ext uri="{FF2B5EF4-FFF2-40B4-BE49-F238E27FC236}">
                <a16:creationId xmlns:a16="http://schemas.microsoft.com/office/drawing/2014/main" id="{4D62F9FA-9E38-665C-01B6-A879502664C8}"/>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7" name="Date Placeholder 16">
            <a:extLst>
              <a:ext uri="{FF2B5EF4-FFF2-40B4-BE49-F238E27FC236}">
                <a16:creationId xmlns:a16="http://schemas.microsoft.com/office/drawing/2014/main" id="{7FFB19FE-7131-7451-8A2F-E57E3CA78C71}"/>
              </a:ext>
            </a:extLst>
          </p:cNvPr>
          <p:cNvSpPr>
            <a:spLocks noGrp="1"/>
          </p:cNvSpPr>
          <p:nvPr>
            <p:ph type="dt" sz="half" idx="15"/>
          </p:nvPr>
        </p:nvSpPr>
        <p:spPr/>
        <p:txBody>
          <a:bodyPr/>
          <a:lstStyle/>
          <a:p>
            <a:fld id="{E5320BD2-4B69-4414-80FF-E20912743A0D}" type="datetime1">
              <a:rPr lang="en-US" noProof="0" smtClean="0"/>
              <a:t>10/31/2024</a:t>
            </a:fld>
            <a:endParaRPr lang="en-US" noProof="0"/>
          </a:p>
        </p:txBody>
      </p:sp>
      <p:sp>
        <p:nvSpPr>
          <p:cNvPr id="18" name="Footer Placeholder 17">
            <a:extLst>
              <a:ext uri="{FF2B5EF4-FFF2-40B4-BE49-F238E27FC236}">
                <a16:creationId xmlns:a16="http://schemas.microsoft.com/office/drawing/2014/main" id="{7C7085E5-A282-BD93-CF05-4029127F1FE9}"/>
              </a:ext>
            </a:extLst>
          </p:cNvPr>
          <p:cNvSpPr>
            <a:spLocks noGrp="1"/>
          </p:cNvSpPr>
          <p:nvPr>
            <p:ph type="ftr" sz="quarter" idx="16"/>
          </p:nvPr>
        </p:nvSpPr>
        <p:spPr/>
        <p:txBody>
          <a:bodyPr/>
          <a:lstStyle/>
          <a:p>
            <a:r>
              <a:rPr lang="en-US"/>
              <a:t>Group Presentation</a:t>
            </a:r>
          </a:p>
        </p:txBody>
      </p:sp>
      <p:sp>
        <p:nvSpPr>
          <p:cNvPr id="19" name="Slide Number Placeholder 18">
            <a:extLst>
              <a:ext uri="{FF2B5EF4-FFF2-40B4-BE49-F238E27FC236}">
                <a16:creationId xmlns:a16="http://schemas.microsoft.com/office/drawing/2014/main" id="{3D5AD9F3-58E0-83DA-AC42-9B48A8D0B4E2}"/>
              </a:ext>
            </a:extLst>
          </p:cNvPr>
          <p:cNvSpPr>
            <a:spLocks noGrp="1"/>
          </p:cNvSpPr>
          <p:nvPr>
            <p:ph type="sldNum" sz="quarter" idx="17"/>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26274550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606C810-0437-BD3A-8BFC-453D90FF86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9" imgH="499" progId="TCLayout.ActiveDocument.1">
                  <p:embed/>
                </p:oleObj>
              </mc:Choice>
              <mc:Fallback>
                <p:oleObj name="think-cell Folie" r:id="rId3" imgW="499" imgH="499" progId="TCLayout.ActiveDocument.1">
                  <p:embed/>
                  <p:pic>
                    <p:nvPicPr>
                      <p:cNvPr id="2" name="Objekt 1" hidden="1">
                        <a:extLst>
                          <a:ext uri="{FF2B5EF4-FFF2-40B4-BE49-F238E27FC236}">
                            <a16:creationId xmlns:a16="http://schemas.microsoft.com/office/drawing/2014/main" id="{D606C810-0437-BD3A-8BFC-453D90FF86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A172BDE9-1824-93D8-0749-33391D44EAA4}"/>
              </a:ext>
            </a:extLst>
          </p:cNvPr>
          <p:cNvSpPr>
            <a:spLocks noGrp="1"/>
          </p:cNvSpPr>
          <p:nvPr>
            <p:ph type="dt" sz="half" idx="10"/>
          </p:nvPr>
        </p:nvSpPr>
        <p:spPr/>
        <p:txBody>
          <a:bodyPr/>
          <a:lstStyle/>
          <a:p>
            <a:fld id="{5AC2F586-3AF4-465A-9848-5980B91D516B}" type="datetime1">
              <a:rPr lang="en-US" noProof="0" smtClean="0"/>
              <a:t>10/31/2024</a:t>
            </a:fld>
            <a:endParaRPr lang="en-US" noProof="0"/>
          </a:p>
        </p:txBody>
      </p:sp>
      <p:sp>
        <p:nvSpPr>
          <p:cNvPr id="9" name="Footer Placeholder 8">
            <a:extLst>
              <a:ext uri="{FF2B5EF4-FFF2-40B4-BE49-F238E27FC236}">
                <a16:creationId xmlns:a16="http://schemas.microsoft.com/office/drawing/2014/main" id="{25308431-926E-21F2-CCE9-951EF9A8527E}"/>
              </a:ext>
            </a:extLst>
          </p:cNvPr>
          <p:cNvSpPr>
            <a:spLocks noGrp="1"/>
          </p:cNvSpPr>
          <p:nvPr>
            <p:ph type="ftr" sz="quarter" idx="11"/>
          </p:nvPr>
        </p:nvSpPr>
        <p:spPr/>
        <p:txBody>
          <a:bodyPr/>
          <a:lstStyle/>
          <a:p>
            <a:r>
              <a:rPr lang="en-US" noProof="0"/>
              <a:t>Group Presentation</a:t>
            </a:r>
          </a:p>
        </p:txBody>
      </p:sp>
      <p:sp>
        <p:nvSpPr>
          <p:cNvPr id="10" name="Slide Number Placeholder 9">
            <a:extLst>
              <a:ext uri="{FF2B5EF4-FFF2-40B4-BE49-F238E27FC236}">
                <a16:creationId xmlns:a16="http://schemas.microsoft.com/office/drawing/2014/main" id="{B7A4420C-188F-6A34-1B28-BFF3E63F63F4}"/>
              </a:ext>
            </a:extLst>
          </p:cNvPr>
          <p:cNvSpPr>
            <a:spLocks noGrp="1"/>
          </p:cNvSpPr>
          <p:nvPr>
            <p:ph type="sldNum" sz="quarter" idx="12"/>
          </p:nvPr>
        </p:nvSpPr>
        <p:spPr/>
        <p:txBody>
          <a:bodyPr/>
          <a:lstStyle/>
          <a:p>
            <a:fld id="{A115CDC9-74CB-4F6C-8CD3-A6C89F254EE7}" type="slidenum">
              <a:rPr lang="en-US" noProof="0" smtClean="0"/>
              <a:pPr/>
              <a:t>‹#›</a:t>
            </a:fld>
            <a:endParaRPr lang="en-US" noProof="0"/>
          </a:p>
        </p:txBody>
      </p:sp>
    </p:spTree>
    <p:extLst>
      <p:ext uri="{BB962C8B-B14F-4D97-AF65-F5344CB8AC3E}">
        <p14:creationId xmlns:p14="http://schemas.microsoft.com/office/powerpoint/2010/main" val="291849582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Highlight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B24ABB-D355-D0A9-EE49-77475477C7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9AB24ABB-D355-D0A9-EE49-77475477C7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7">
            <a:extLst>
              <a:ext uri="{FF2B5EF4-FFF2-40B4-BE49-F238E27FC236}">
                <a16:creationId xmlns:a16="http://schemas.microsoft.com/office/drawing/2014/main" id="{B00BC411-3F23-E4AC-165F-A95A3DF97426}"/>
              </a:ext>
            </a:extLst>
          </p:cNvPr>
          <p:cNvSpPr>
            <a:spLocks noGrp="1"/>
          </p:cNvSpPr>
          <p:nvPr>
            <p:ph type="pic" sz="quarter" idx="36" hasCustomPrompt="1"/>
          </p:nvPr>
        </p:nvSpPr>
        <p:spPr>
          <a:xfrm>
            <a:off x="0" y="0"/>
            <a:ext cx="12192000" cy="6858000"/>
          </a:xfrm>
        </p:spPr>
        <p:txBody>
          <a:bodyPr/>
          <a:lstStyle>
            <a:lvl1pPr algn="l">
              <a:defRPr>
                <a:solidFill>
                  <a:schemeClr val="tx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5" name="Textplatzhalter 14">
            <a:extLst>
              <a:ext uri="{FF2B5EF4-FFF2-40B4-BE49-F238E27FC236}">
                <a16:creationId xmlns:a16="http://schemas.microsoft.com/office/drawing/2014/main" id="{EF4E716C-6A5C-2263-11CC-5E82F6E5B179}"/>
              </a:ext>
            </a:extLst>
          </p:cNvPr>
          <p:cNvSpPr>
            <a:spLocks noGrp="1" noChangeAspect="1"/>
          </p:cNvSpPr>
          <p:nvPr>
            <p:ph type="body" sz="quarter" idx="37" hasCustomPrompt="1"/>
          </p:nvPr>
        </p:nvSpPr>
        <p:spPr>
          <a:xfrm>
            <a:off x="6953250" y="1341438"/>
            <a:ext cx="4857750" cy="457200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14" name="Textplatzhalter 13">
            <a:extLst>
              <a:ext uri="{FF2B5EF4-FFF2-40B4-BE49-F238E27FC236}">
                <a16:creationId xmlns:a16="http://schemas.microsoft.com/office/drawing/2014/main" id="{CB3A63BB-B6EA-EE27-B2B3-B402C39B8E24}"/>
              </a:ext>
            </a:extLst>
          </p:cNvPr>
          <p:cNvSpPr>
            <a:spLocks noGrp="1"/>
          </p:cNvSpPr>
          <p:nvPr>
            <p:ph type="body" sz="quarter" idx="10" hasCustomPrompt="1"/>
          </p:nvPr>
        </p:nvSpPr>
        <p:spPr bwMode="gray">
          <a:xfrm>
            <a:off x="7394594" y="1692517"/>
            <a:ext cx="3637852" cy="375186"/>
          </a:xfrm>
        </p:spPr>
        <p:txBody>
          <a:bodyPr>
            <a:noAutofit/>
          </a:bodyPr>
          <a:lstStyle>
            <a:lvl1pPr marL="0" indent="0">
              <a:lnSpc>
                <a:spcPct val="90000"/>
              </a:lnSpc>
              <a:buFontTx/>
              <a:buNone/>
              <a:defRPr sz="1600" b="1">
                <a:solidFill>
                  <a:schemeClr val="bg1"/>
                </a:solidFill>
                <a:latin typeface="+mj-lt"/>
              </a:defRPr>
            </a:lvl1pPr>
            <a:lvl6pPr>
              <a:defRPr sz="2000">
                <a:solidFill>
                  <a:schemeClr val="bg1"/>
                </a:solidFill>
                <a:latin typeface="+mj-lt"/>
              </a:defRPr>
            </a:lvl6pPr>
          </a:lstStyle>
          <a:p>
            <a:pPr lvl="0"/>
            <a:r>
              <a:rPr lang="en-US" noProof="0"/>
              <a:t>Cross heading</a:t>
            </a:r>
          </a:p>
        </p:txBody>
      </p:sp>
      <p:sp>
        <p:nvSpPr>
          <p:cNvPr id="29" name="Titel 28">
            <a:extLst>
              <a:ext uri="{FF2B5EF4-FFF2-40B4-BE49-F238E27FC236}">
                <a16:creationId xmlns:a16="http://schemas.microsoft.com/office/drawing/2014/main" id="{5E990F99-D2E6-B9F1-B358-EFD39378068A}"/>
              </a:ext>
            </a:extLst>
          </p:cNvPr>
          <p:cNvSpPr>
            <a:spLocks noGrp="1"/>
          </p:cNvSpPr>
          <p:nvPr>
            <p:ph type="title" hasCustomPrompt="1"/>
          </p:nvPr>
        </p:nvSpPr>
        <p:spPr bwMode="gray"/>
        <p:txBody>
          <a:bodyPr vert="horz"/>
          <a:lstStyle>
            <a:lvl1pPr>
              <a:defRPr/>
            </a:lvl1pPr>
          </a:lstStyle>
          <a:p>
            <a:r>
              <a:rPr lang="en-US" noProof="0"/>
              <a:t>Slide heading</a:t>
            </a:r>
          </a:p>
        </p:txBody>
      </p:sp>
      <p:sp>
        <p:nvSpPr>
          <p:cNvPr id="3" name="Bildplatzhalter 19">
            <a:extLst>
              <a:ext uri="{FF2B5EF4-FFF2-40B4-BE49-F238E27FC236}">
                <a16:creationId xmlns:a16="http://schemas.microsoft.com/office/drawing/2014/main" id="{4C75A432-7C54-E494-5EE2-5BE6666F2F72}"/>
              </a:ext>
            </a:extLst>
          </p:cNvPr>
          <p:cNvSpPr>
            <a:spLocks noGrp="1"/>
          </p:cNvSpPr>
          <p:nvPr>
            <p:ph type="pic" sz="quarter" idx="22" hasCustomPrompt="1"/>
          </p:nvPr>
        </p:nvSpPr>
        <p:spPr bwMode="gray">
          <a:xfrm>
            <a:off x="1025514" y="6410506"/>
            <a:ext cx="1062384" cy="103295"/>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8" name="Textplatzhalter 13">
            <a:extLst>
              <a:ext uri="{FF2B5EF4-FFF2-40B4-BE49-F238E27FC236}">
                <a16:creationId xmlns:a16="http://schemas.microsoft.com/office/drawing/2014/main" id="{012BE1A2-F337-311F-BBD9-DA732D5CE92D}"/>
              </a:ext>
            </a:extLst>
          </p:cNvPr>
          <p:cNvSpPr>
            <a:spLocks noGrp="1"/>
          </p:cNvSpPr>
          <p:nvPr>
            <p:ph type="body" sz="quarter" idx="23" hasCustomPrompt="1"/>
          </p:nvPr>
        </p:nvSpPr>
        <p:spPr bwMode="gray">
          <a:xfrm>
            <a:off x="7394594" y="2067703"/>
            <a:ext cx="3637852" cy="3037762"/>
          </a:xfrm>
        </p:spPr>
        <p:txBody>
          <a:bodyPr tIns="0">
            <a:noAutofit/>
          </a:bodyPr>
          <a:lstStyle>
            <a:lvl1pPr marL="0" indent="0">
              <a:buFontTx/>
              <a:buNone/>
              <a:defRPr sz="1600">
                <a:solidFill>
                  <a:schemeClr val="bg1"/>
                </a:solidFill>
                <a:latin typeface="+mn-lt"/>
              </a:defRPr>
            </a:lvl1pPr>
            <a:lvl6pPr>
              <a:defRPr sz="2000">
                <a:solidFill>
                  <a:schemeClr val="bg1"/>
                </a:solidFill>
                <a:latin typeface="+mj-lt"/>
              </a:defRPr>
            </a:lvl6pPr>
          </a:lstStyle>
          <a:p>
            <a:pPr lvl="0"/>
            <a:r>
              <a:rPr lang="en-US" noProof="0"/>
              <a:t>Lorem ipsum dolor sit amet, consectetuer adipiscing elit. </a:t>
            </a:r>
          </a:p>
        </p:txBody>
      </p:sp>
      <p:sp>
        <p:nvSpPr>
          <p:cNvPr id="9" name="Textplatzhalter 3">
            <a:extLst>
              <a:ext uri="{FF2B5EF4-FFF2-40B4-BE49-F238E27FC236}">
                <a16:creationId xmlns:a16="http://schemas.microsoft.com/office/drawing/2014/main" id="{AEFD3118-E6B4-75FA-B813-6F8196BBE8FB}"/>
              </a:ext>
            </a:extLst>
          </p:cNvPr>
          <p:cNvSpPr>
            <a:spLocks noGrp="1"/>
          </p:cNvSpPr>
          <p:nvPr>
            <p:ph type="body" sz="quarter" idx="14" hasCustomPrompt="1"/>
          </p:nvPr>
        </p:nvSpPr>
        <p:spPr bwMode="gray">
          <a:xfrm>
            <a:off x="382588" y="265541"/>
            <a:ext cx="11419082" cy="136525"/>
          </a:xfrm>
        </p:spPr>
        <p:txBody>
          <a:bodyPr anchor="b" anchorCtr="0">
            <a:noAutofit/>
          </a:bodyPr>
          <a:lstStyle>
            <a:lvl1pPr marL="0" indent="0">
              <a:buNone/>
              <a:defRPr sz="1000">
                <a:solidFill>
                  <a:schemeClr val="tx2"/>
                </a:solidFill>
              </a:defRPr>
            </a:lvl1pPr>
          </a:lstStyle>
          <a:p>
            <a:pPr lvl="0"/>
            <a:r>
              <a:rPr lang="en-US" noProof="0"/>
              <a:t>Topline</a:t>
            </a:r>
          </a:p>
        </p:txBody>
      </p:sp>
      <p:sp>
        <p:nvSpPr>
          <p:cNvPr id="19" name="Date Placeholder 18">
            <a:extLst>
              <a:ext uri="{FF2B5EF4-FFF2-40B4-BE49-F238E27FC236}">
                <a16:creationId xmlns:a16="http://schemas.microsoft.com/office/drawing/2014/main" id="{C4880F0F-CB66-51E1-3AA3-BBFD856B49A2}"/>
              </a:ext>
            </a:extLst>
          </p:cNvPr>
          <p:cNvSpPr>
            <a:spLocks noGrp="1"/>
          </p:cNvSpPr>
          <p:nvPr>
            <p:ph type="dt" sz="half" idx="25"/>
          </p:nvPr>
        </p:nvSpPr>
        <p:spPr bwMode="gray"/>
        <p:txBody>
          <a:bodyPr/>
          <a:lstStyle/>
          <a:p>
            <a:fld id="{BCDAA725-5E1E-4319-A00F-C08F3CEA8618}" type="datetime1">
              <a:rPr lang="en-US" noProof="0" smtClean="0"/>
              <a:t>10/31/2024</a:t>
            </a:fld>
            <a:endParaRPr lang="en-US" noProof="0"/>
          </a:p>
        </p:txBody>
      </p:sp>
      <p:sp>
        <p:nvSpPr>
          <p:cNvPr id="20" name="Footer Placeholder 19">
            <a:extLst>
              <a:ext uri="{FF2B5EF4-FFF2-40B4-BE49-F238E27FC236}">
                <a16:creationId xmlns:a16="http://schemas.microsoft.com/office/drawing/2014/main" id="{7FACA8E5-B90A-DEE0-F9F4-EA34619D1183}"/>
              </a:ext>
            </a:extLst>
          </p:cNvPr>
          <p:cNvSpPr>
            <a:spLocks noGrp="1"/>
          </p:cNvSpPr>
          <p:nvPr>
            <p:ph type="ftr" sz="quarter" idx="26"/>
          </p:nvPr>
        </p:nvSpPr>
        <p:spPr bwMode="gray"/>
        <p:txBody>
          <a:bodyPr/>
          <a:lstStyle/>
          <a:p>
            <a:r>
              <a:rPr lang="en-US" noProof="0"/>
              <a:t>Group Presentation</a:t>
            </a:r>
          </a:p>
        </p:txBody>
      </p:sp>
      <p:sp>
        <p:nvSpPr>
          <p:cNvPr id="21" name="Slide Number Placeholder 20">
            <a:extLst>
              <a:ext uri="{FF2B5EF4-FFF2-40B4-BE49-F238E27FC236}">
                <a16:creationId xmlns:a16="http://schemas.microsoft.com/office/drawing/2014/main" id="{B99E1411-BEEC-9627-4C7A-F19D4A2BEF9F}"/>
              </a:ext>
            </a:extLst>
          </p:cNvPr>
          <p:cNvSpPr>
            <a:spLocks noGrp="1"/>
          </p:cNvSpPr>
          <p:nvPr>
            <p:ph type="sldNum" sz="quarter" idx="27"/>
          </p:nvPr>
        </p:nvSpPr>
        <p:spPr bwMode="gray"/>
        <p:txBody>
          <a:bodyPr/>
          <a:lstStyle/>
          <a:p>
            <a:fld id="{A115CDC9-74CB-4F6C-8CD3-A6C89F254EE7}" type="slidenum">
              <a:rPr lang="en-US" noProof="0" smtClean="0"/>
              <a:pPr/>
              <a:t>‹#›</a:t>
            </a:fld>
            <a:endParaRPr lang="en-US" noProof="0"/>
          </a:p>
        </p:txBody>
      </p:sp>
      <p:sp>
        <p:nvSpPr>
          <p:cNvPr id="2" name="Text Placeholder 7">
            <a:extLst>
              <a:ext uri="{FF2B5EF4-FFF2-40B4-BE49-F238E27FC236}">
                <a16:creationId xmlns:a16="http://schemas.microsoft.com/office/drawing/2014/main" id="{A1B7D28D-435A-45D3-D2E3-06BC77D49A4C}"/>
              </a:ext>
            </a:extLst>
          </p:cNvPr>
          <p:cNvSpPr>
            <a:spLocks noGrp="1" noChangeAspect="1"/>
          </p:cNvSpPr>
          <p:nvPr>
            <p:ph type="body" sz="quarter" idx="35" hasCustomPrompt="1"/>
          </p:nvPr>
        </p:nvSpPr>
        <p:spPr>
          <a:xfrm>
            <a:off x="11523000" y="6201700"/>
            <a:ext cx="288000" cy="288000"/>
          </a:xfrm>
          <a:blipFill>
            <a:blip r:embed="rId8"/>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325062615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Key messages 1">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51EC0EF-3B5C-A574-21DA-24BBC9DE1B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1" name="Object 10" hidden="1">
                        <a:extLst>
                          <a:ext uri="{FF2B5EF4-FFF2-40B4-BE49-F238E27FC236}">
                            <a16:creationId xmlns:a16="http://schemas.microsoft.com/office/drawing/2014/main" id="{D51EC0EF-3B5C-A574-21DA-24BBC9DE1B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grpSp>
        <p:nvGrpSpPr>
          <p:cNvPr id="19" name="object 8">
            <a:extLst>
              <a:ext uri="{FF2B5EF4-FFF2-40B4-BE49-F238E27FC236}">
                <a16:creationId xmlns:a16="http://schemas.microsoft.com/office/drawing/2014/main" id="{B08133C7-62F4-2197-0A1B-6918494C178F}"/>
              </a:ext>
            </a:extLst>
          </p:cNvPr>
          <p:cNvGrpSpPr>
            <a:grpSpLocks noChangeAspect="1"/>
          </p:cNvGrpSpPr>
          <p:nvPr/>
        </p:nvGrpSpPr>
        <p:grpSpPr bwMode="gray">
          <a:xfrm>
            <a:off x="11523000" y="6201700"/>
            <a:ext cx="288000" cy="288000"/>
            <a:chOff x="18934851" y="10156759"/>
            <a:chExt cx="523875" cy="523875"/>
          </a:xfrm>
        </p:grpSpPr>
        <p:sp>
          <p:nvSpPr>
            <p:cNvPr id="24" name="object 9">
              <a:extLst>
                <a:ext uri="{FF2B5EF4-FFF2-40B4-BE49-F238E27FC236}">
                  <a16:creationId xmlns:a16="http://schemas.microsoft.com/office/drawing/2014/main" id="{91607325-ECDA-5A9D-D5ED-87FC82253497}"/>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26" name="object 10">
              <a:extLst>
                <a:ext uri="{FF2B5EF4-FFF2-40B4-BE49-F238E27FC236}">
                  <a16:creationId xmlns:a16="http://schemas.microsoft.com/office/drawing/2014/main" id="{4D1BC8E8-509E-E8C2-8F96-92FF0CC5ABF5}"/>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27" name="object 11">
              <a:extLst>
                <a:ext uri="{FF2B5EF4-FFF2-40B4-BE49-F238E27FC236}">
                  <a16:creationId xmlns:a16="http://schemas.microsoft.com/office/drawing/2014/main" id="{C1701DE8-E408-F071-1863-64F262546DE0}"/>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3" name="Titel 2">
            <a:extLst>
              <a:ext uri="{FF2B5EF4-FFF2-40B4-BE49-F238E27FC236}">
                <a16:creationId xmlns:a16="http://schemas.microsoft.com/office/drawing/2014/main" id="{9C43D2FD-0155-0953-79ED-FFE947D0A6CE}"/>
              </a:ext>
            </a:extLst>
          </p:cNvPr>
          <p:cNvSpPr>
            <a:spLocks noGrp="1"/>
          </p:cNvSpPr>
          <p:nvPr>
            <p:ph type="title" hasCustomPrompt="1"/>
          </p:nvPr>
        </p:nvSpPr>
        <p:spPr bwMode="gray">
          <a:xfrm>
            <a:off x="386459" y="540561"/>
            <a:ext cx="4838004" cy="283219"/>
          </a:xfrm>
        </p:spPr>
        <p:txBody>
          <a:bodyPr vert="horz"/>
          <a:lstStyle>
            <a:lvl1pPr>
              <a:defRPr>
                <a:solidFill>
                  <a:schemeClr val="bg1"/>
                </a:solidFill>
              </a:defRPr>
            </a:lvl1pPr>
          </a:lstStyle>
          <a:p>
            <a:r>
              <a:rPr lang="en-US" noProof="0"/>
              <a:t>Slide heading</a:t>
            </a:r>
          </a:p>
        </p:txBody>
      </p:sp>
      <p:sp>
        <p:nvSpPr>
          <p:cNvPr id="4" name="Inhaltsplatzhalter 2">
            <a:extLst>
              <a:ext uri="{FF2B5EF4-FFF2-40B4-BE49-F238E27FC236}">
                <a16:creationId xmlns:a16="http://schemas.microsoft.com/office/drawing/2014/main" id="{47F19C68-1EAE-C615-A117-F18BA4B7E5C1}"/>
              </a:ext>
            </a:extLst>
          </p:cNvPr>
          <p:cNvSpPr>
            <a:spLocks noGrp="1"/>
          </p:cNvSpPr>
          <p:nvPr>
            <p:ph idx="1" hasCustomPrompt="1"/>
          </p:nvPr>
        </p:nvSpPr>
        <p:spPr bwMode="gray">
          <a:xfrm>
            <a:off x="386459" y="1341437"/>
            <a:ext cx="4838004" cy="4571999"/>
          </a:xfrm>
        </p:spPr>
        <p:txBody>
          <a:bodyPr>
            <a:noAutofit/>
          </a:bodyPr>
          <a:lstStyle>
            <a:lvl1pPr>
              <a:defRPr sz="1600" b="1">
                <a:solidFill>
                  <a:schemeClr val="bg1"/>
                </a:solidFill>
                <a:latin typeface="+mn-lt"/>
              </a:defRPr>
            </a:lvl1pPr>
            <a:lvl2pPr>
              <a:defRPr sz="1600"/>
            </a:lvl2pPr>
            <a:lvl3pPr>
              <a:defRPr sz="1600"/>
            </a:lvl3pPr>
            <a:lvl4pPr>
              <a:defRPr sz="1600"/>
            </a:lvl4pPr>
            <a:lvl5pPr>
              <a:defRPr sz="1600"/>
            </a:lvl5pPr>
            <a:lvl6pPr marL="0" indent="0">
              <a:buFontTx/>
              <a:buNone/>
              <a:defRPr sz="1600"/>
            </a:lvl6pPr>
          </a:lstStyle>
          <a:p>
            <a:pPr lvl="0"/>
            <a:r>
              <a:rPr lang="en-US" noProof="0"/>
              <a:t>Lorem ipsum dolor sit amet, consectetuer adipiscing elit. Maecenas porttitor congue massa. Fusce posuere, magna sed pulvinar ultricies, purus lectus malesuada libero, sit amet commodo magna eros quis urna.</a:t>
            </a:r>
          </a:p>
          <a:p>
            <a:pPr lvl="0"/>
            <a:endParaRPr lang="en-US" noProof="0"/>
          </a:p>
        </p:txBody>
      </p:sp>
      <p:sp>
        <p:nvSpPr>
          <p:cNvPr id="12" name="Textplatzhalter 3">
            <a:extLst>
              <a:ext uri="{FF2B5EF4-FFF2-40B4-BE49-F238E27FC236}">
                <a16:creationId xmlns:a16="http://schemas.microsoft.com/office/drawing/2014/main" id="{89B3C9A3-7326-6535-D16A-3475569EFCA0}"/>
              </a:ext>
            </a:extLst>
          </p:cNvPr>
          <p:cNvSpPr>
            <a:spLocks noGrp="1"/>
          </p:cNvSpPr>
          <p:nvPr>
            <p:ph type="body" sz="quarter" idx="14" hasCustomPrompt="1"/>
          </p:nvPr>
        </p:nvSpPr>
        <p:spPr bwMode="gray">
          <a:xfrm>
            <a:off x="382587" y="265541"/>
            <a:ext cx="4838004" cy="136525"/>
          </a:xfrm>
        </p:spPr>
        <p:txBody>
          <a:bodyPr anchor="b" anchorCtr="0">
            <a:noAutofit/>
          </a:bodyPr>
          <a:lstStyle>
            <a:lvl1pPr marL="0" indent="0">
              <a:buNone/>
              <a:defRPr sz="1000">
                <a:solidFill>
                  <a:schemeClr val="bg1"/>
                </a:solidFill>
              </a:defRPr>
            </a:lvl1pPr>
          </a:lstStyle>
          <a:p>
            <a:pPr lvl="0"/>
            <a:r>
              <a:rPr lang="en-US" noProof="0"/>
              <a:t>Topline</a:t>
            </a:r>
          </a:p>
        </p:txBody>
      </p:sp>
      <p:sp>
        <p:nvSpPr>
          <p:cNvPr id="16" name="Date Placeholder 15">
            <a:extLst>
              <a:ext uri="{FF2B5EF4-FFF2-40B4-BE49-F238E27FC236}">
                <a16:creationId xmlns:a16="http://schemas.microsoft.com/office/drawing/2014/main" id="{8861C867-F64F-FD09-643F-923839A7602C}"/>
              </a:ext>
            </a:extLst>
          </p:cNvPr>
          <p:cNvSpPr>
            <a:spLocks noGrp="1"/>
          </p:cNvSpPr>
          <p:nvPr>
            <p:ph type="dt" sz="half" idx="36"/>
          </p:nvPr>
        </p:nvSpPr>
        <p:spPr bwMode="gray"/>
        <p:txBody>
          <a:bodyPr/>
          <a:lstStyle>
            <a:lvl1pPr>
              <a:defRPr>
                <a:solidFill>
                  <a:schemeClr val="bg1"/>
                </a:solidFill>
              </a:defRPr>
            </a:lvl1pPr>
          </a:lstStyle>
          <a:p>
            <a:fld id="{A00B45C4-AD4E-45DB-80B9-9EDAE3B64907}" type="datetime1">
              <a:rPr lang="en-US" noProof="0" smtClean="0"/>
              <a:t>10/31/2024</a:t>
            </a:fld>
            <a:endParaRPr lang="en-US" noProof="0"/>
          </a:p>
        </p:txBody>
      </p:sp>
      <p:sp>
        <p:nvSpPr>
          <p:cNvPr id="17" name="Footer Placeholder 16">
            <a:extLst>
              <a:ext uri="{FF2B5EF4-FFF2-40B4-BE49-F238E27FC236}">
                <a16:creationId xmlns:a16="http://schemas.microsoft.com/office/drawing/2014/main" id="{1804ECAA-19CF-86AE-BED2-90C1314D7CEA}"/>
              </a:ext>
            </a:extLst>
          </p:cNvPr>
          <p:cNvSpPr>
            <a:spLocks noGrp="1"/>
          </p:cNvSpPr>
          <p:nvPr>
            <p:ph type="ftr" sz="quarter" idx="37"/>
          </p:nvPr>
        </p:nvSpPr>
        <p:spPr bwMode="gray"/>
        <p:txBody>
          <a:bodyPr/>
          <a:lstStyle>
            <a:lvl1pPr>
              <a:defRPr>
                <a:solidFill>
                  <a:schemeClr val="bg1"/>
                </a:solidFill>
              </a:defRPr>
            </a:lvl1pPr>
          </a:lstStyle>
          <a:p>
            <a:r>
              <a:rPr lang="en-US" noProof="0"/>
              <a:t>Group Presentation</a:t>
            </a:r>
          </a:p>
        </p:txBody>
      </p:sp>
      <p:sp>
        <p:nvSpPr>
          <p:cNvPr id="18" name="Slide Number Placeholder 17">
            <a:extLst>
              <a:ext uri="{FF2B5EF4-FFF2-40B4-BE49-F238E27FC236}">
                <a16:creationId xmlns:a16="http://schemas.microsoft.com/office/drawing/2014/main" id="{8AF8704E-6EB0-1481-0229-46A7145CC79A}"/>
              </a:ext>
            </a:extLst>
          </p:cNvPr>
          <p:cNvSpPr>
            <a:spLocks noGrp="1"/>
          </p:cNvSpPr>
          <p:nvPr>
            <p:ph type="sldNum" sz="quarter" idx="38"/>
          </p:nvPr>
        </p:nvSpPr>
        <p:spPr bwMode="gray"/>
        <p:txBody>
          <a:bodyPr/>
          <a:lstStyle>
            <a:lvl1pPr>
              <a:defRPr>
                <a:solidFill>
                  <a:schemeClr val="bg1"/>
                </a:solidFill>
              </a:defRPr>
            </a:lvl1pPr>
          </a:lstStyle>
          <a:p>
            <a:fld id="{A115CDC9-74CB-4F6C-8CD3-A6C89F254EE7}" type="slidenum">
              <a:rPr lang="en-US" noProof="0" smtClean="0"/>
              <a:pPr/>
              <a:t>‹#›</a:t>
            </a:fld>
            <a:endParaRPr lang="en-US" noProof="0"/>
          </a:p>
        </p:txBody>
      </p:sp>
      <p:sp>
        <p:nvSpPr>
          <p:cNvPr id="5" name="Bildplatzhalter 19">
            <a:extLst>
              <a:ext uri="{FF2B5EF4-FFF2-40B4-BE49-F238E27FC236}">
                <a16:creationId xmlns:a16="http://schemas.microsoft.com/office/drawing/2014/main" id="{A171EABD-2926-72D9-A8EE-2C941C0E44AA}"/>
              </a:ext>
            </a:extLst>
          </p:cNvPr>
          <p:cNvSpPr>
            <a:spLocks noGrp="1"/>
          </p:cNvSpPr>
          <p:nvPr>
            <p:ph type="pic" sz="quarter" idx="39"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20" name="Bildplatzhalter 19">
            <a:extLst>
              <a:ext uri="{FF2B5EF4-FFF2-40B4-BE49-F238E27FC236}">
                <a16:creationId xmlns:a16="http://schemas.microsoft.com/office/drawing/2014/main" id="{0214F31A-2650-B932-30E3-6AD9839D7098}"/>
              </a:ext>
            </a:extLst>
          </p:cNvPr>
          <p:cNvSpPr>
            <a:spLocks noGrp="1"/>
          </p:cNvSpPr>
          <p:nvPr>
            <p:ph type="pic" sz="quarter" idx="40"/>
          </p:nvPr>
        </p:nvSpPr>
        <p:spPr>
          <a:xfrm>
            <a:off x="6192838" y="0"/>
            <a:ext cx="5999162" cy="5913438"/>
          </a:xfrm>
          <a:custGeom>
            <a:avLst/>
            <a:gdLst>
              <a:gd name="connsiteX0" fmla="*/ 0 w 5999162"/>
              <a:gd name="connsiteY0" fmla="*/ 0 h 5913438"/>
              <a:gd name="connsiteX1" fmla="*/ 5999162 w 5999162"/>
              <a:gd name="connsiteY1" fmla="*/ 0 h 5913438"/>
              <a:gd name="connsiteX2" fmla="*/ 5999162 w 5999162"/>
              <a:gd name="connsiteY2" fmla="*/ 5913438 h 5913438"/>
              <a:gd name="connsiteX3" fmla="*/ 1305628 w 5999162"/>
              <a:gd name="connsiteY3" fmla="*/ 5913438 h 5913438"/>
              <a:gd name="connsiteX4" fmla="*/ 0 w 5999162"/>
              <a:gd name="connsiteY4" fmla="*/ 4607810 h 5913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9162" h="5913438">
                <a:moveTo>
                  <a:pt x="0" y="0"/>
                </a:moveTo>
                <a:lnTo>
                  <a:pt x="5999162" y="0"/>
                </a:lnTo>
                <a:lnTo>
                  <a:pt x="5999162" y="5913438"/>
                </a:lnTo>
                <a:lnTo>
                  <a:pt x="1305628" y="5913438"/>
                </a:lnTo>
                <a:cubicBezTo>
                  <a:pt x="584550" y="5913438"/>
                  <a:pt x="0" y="5328888"/>
                  <a:pt x="0" y="4607810"/>
                </a:cubicBezTo>
                <a:close/>
              </a:path>
            </a:pathLst>
          </a:custGeom>
        </p:spPr>
        <p:txBody>
          <a:bodyPr wrap="square">
            <a:noAutofit/>
          </a:bodyPr>
          <a:lstStyle>
            <a:lvl1pPr>
              <a:defRPr>
                <a:solidFill>
                  <a:schemeClr val="bg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de-DE" noProof="0"/>
              <a:t>Bild durch Klicken auf Symbol hinzufügen</a:t>
            </a:r>
            <a:endParaRPr lang="en-US"/>
          </a:p>
        </p:txBody>
      </p:sp>
    </p:spTree>
    <p:extLst>
      <p:ext uri="{BB962C8B-B14F-4D97-AF65-F5344CB8AC3E}">
        <p14:creationId xmlns:p14="http://schemas.microsoft.com/office/powerpoint/2010/main" val="15191345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Key messages 2">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51EC0EF-3B5C-A574-21DA-24BBC9DE1B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1" name="Object 10" hidden="1">
                        <a:extLst>
                          <a:ext uri="{FF2B5EF4-FFF2-40B4-BE49-F238E27FC236}">
                            <a16:creationId xmlns:a16="http://schemas.microsoft.com/office/drawing/2014/main" id="{D51EC0EF-3B5C-A574-21DA-24BBC9DE1B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7">
            <a:extLst>
              <a:ext uri="{FF2B5EF4-FFF2-40B4-BE49-F238E27FC236}">
                <a16:creationId xmlns:a16="http://schemas.microsoft.com/office/drawing/2014/main" id="{E352819E-ABC6-4358-1106-D59378A29649}"/>
              </a:ext>
            </a:extLst>
          </p:cNvPr>
          <p:cNvSpPr>
            <a:spLocks noGrp="1"/>
          </p:cNvSpPr>
          <p:nvPr>
            <p:ph type="pic" sz="quarter" idx="36" hasCustomPrompt="1"/>
          </p:nvPr>
        </p:nvSpPr>
        <p:spPr>
          <a:xfrm>
            <a:off x="0" y="0"/>
            <a:ext cx="12192000" cy="6858000"/>
          </a:xfrm>
          <a:noFill/>
        </p:spPr>
        <p:txBody>
          <a:bodyPr/>
          <a:lstStyle>
            <a:lvl1pPr algn="r">
              <a:defRPr>
                <a:solidFill>
                  <a:schemeClr val="tx1"/>
                </a:solidFill>
              </a:defRPr>
            </a:lvl1pPr>
          </a:lstStyle>
          <a:p>
            <a:pPr marL="0" marR="0" lvl="0" indent="0" algn="r"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7" name="Textplatzhalter 16">
            <a:extLst>
              <a:ext uri="{FF2B5EF4-FFF2-40B4-BE49-F238E27FC236}">
                <a16:creationId xmlns:a16="http://schemas.microsoft.com/office/drawing/2014/main" id="{B8A171A1-0DC6-532F-037F-F9D3F3B20C69}"/>
              </a:ext>
            </a:extLst>
          </p:cNvPr>
          <p:cNvSpPr>
            <a:spLocks noGrp="1"/>
          </p:cNvSpPr>
          <p:nvPr>
            <p:ph type="body" sz="quarter" idx="44" hasCustomPrompt="1"/>
          </p:nvPr>
        </p:nvSpPr>
        <p:spPr>
          <a:xfrm>
            <a:off x="-3136" y="-11151"/>
            <a:ext cx="5987973" cy="5913438"/>
          </a:xfrm>
          <a:blipFill>
            <a:blip r:embed="rId5">
              <a:extLst>
                <a:ext uri="{96DAC541-7B7A-43D3-8B79-37D633B846F1}">
                  <asvg:svgBlip xmlns:asvg="http://schemas.microsoft.com/office/drawing/2016/SVG/main" r:embed="rId6"/>
                </a:ext>
              </a:extLst>
            </a:blip>
            <a:stretch>
              <a:fillRect/>
            </a:stretch>
          </a:blipFill>
        </p:spPr>
        <p:txBody>
          <a:bodyPr/>
          <a:lstStyle>
            <a:lvl1pPr>
              <a:defRPr/>
            </a:lvl1pPr>
          </a:lstStyle>
          <a:p>
            <a:pPr lvl="0"/>
            <a:r>
              <a:rPr lang="en-US"/>
              <a:t> </a:t>
            </a:r>
          </a:p>
        </p:txBody>
      </p:sp>
      <p:sp>
        <p:nvSpPr>
          <p:cNvPr id="4" name="Inhaltsplatzhalter 2">
            <a:extLst>
              <a:ext uri="{FF2B5EF4-FFF2-40B4-BE49-F238E27FC236}">
                <a16:creationId xmlns:a16="http://schemas.microsoft.com/office/drawing/2014/main" id="{47F19C68-1EAE-C615-A117-F18BA4B7E5C1}"/>
              </a:ext>
            </a:extLst>
          </p:cNvPr>
          <p:cNvSpPr>
            <a:spLocks noGrp="1"/>
          </p:cNvSpPr>
          <p:nvPr>
            <p:ph idx="1" hasCustomPrompt="1"/>
          </p:nvPr>
        </p:nvSpPr>
        <p:spPr bwMode="gray">
          <a:xfrm>
            <a:off x="386459" y="1341438"/>
            <a:ext cx="4838004" cy="4572000"/>
          </a:xfrm>
        </p:spPr>
        <p:txBody>
          <a:bodyPr>
            <a:noAutofit/>
          </a:bodyPr>
          <a:lstStyle>
            <a:lvl1pPr>
              <a:defRPr sz="1600" b="1">
                <a:solidFill>
                  <a:schemeClr val="bg1"/>
                </a:solidFill>
                <a:latin typeface="+mn-lt"/>
              </a:defRPr>
            </a:lvl1pPr>
            <a:lvl2pPr>
              <a:defRPr sz="1600"/>
            </a:lvl2pPr>
            <a:lvl3pPr>
              <a:defRPr sz="1600"/>
            </a:lvl3pPr>
            <a:lvl4pPr>
              <a:defRPr sz="1600"/>
            </a:lvl4pPr>
            <a:lvl5pPr>
              <a:defRPr sz="1600"/>
            </a:lvl5pPr>
            <a:lvl6pPr marL="0" indent="0">
              <a:buFontTx/>
              <a:buNone/>
              <a:defRPr sz="1600"/>
            </a:lvl6pPr>
          </a:lstStyle>
          <a:p>
            <a:pPr lvl="0"/>
            <a:r>
              <a:rPr lang="en-US" noProof="0"/>
              <a:t>Lorem ipsum dolor sit amet, consectetuer adipiscing elit. Maecenas porttitor congue massa. Fusce posuere, magna sed pulvinar ultricies, purus lectus malesuada libero, sit amet commodo magna eros quis urna.</a:t>
            </a:r>
          </a:p>
          <a:p>
            <a:pPr lvl="0"/>
            <a:endParaRPr lang="en-US" noProof="0"/>
          </a:p>
        </p:txBody>
      </p:sp>
      <p:sp>
        <p:nvSpPr>
          <p:cNvPr id="7" name="Title 6">
            <a:extLst>
              <a:ext uri="{FF2B5EF4-FFF2-40B4-BE49-F238E27FC236}">
                <a16:creationId xmlns:a16="http://schemas.microsoft.com/office/drawing/2014/main" id="{DBC0DD27-114C-DDAE-A24F-D30CE00169D5}"/>
              </a:ext>
            </a:extLst>
          </p:cNvPr>
          <p:cNvSpPr>
            <a:spLocks noGrp="1"/>
          </p:cNvSpPr>
          <p:nvPr>
            <p:ph type="title" hasCustomPrompt="1"/>
          </p:nvPr>
        </p:nvSpPr>
        <p:spPr bwMode="gray">
          <a:xfrm>
            <a:off x="386459" y="539778"/>
            <a:ext cx="4838004" cy="283219"/>
          </a:xfrm>
        </p:spPr>
        <p:txBody>
          <a:bodyPr vert="horz"/>
          <a:lstStyle>
            <a:lvl1pPr>
              <a:defRPr>
                <a:solidFill>
                  <a:schemeClr val="bg1"/>
                </a:solidFill>
              </a:defRPr>
            </a:lvl1pPr>
          </a:lstStyle>
          <a:p>
            <a:r>
              <a:rPr lang="en-US" noProof="0"/>
              <a:t>Slide heading</a:t>
            </a:r>
          </a:p>
        </p:txBody>
      </p:sp>
      <p:sp>
        <p:nvSpPr>
          <p:cNvPr id="2" name="Textplatzhalter 3">
            <a:extLst>
              <a:ext uri="{FF2B5EF4-FFF2-40B4-BE49-F238E27FC236}">
                <a16:creationId xmlns:a16="http://schemas.microsoft.com/office/drawing/2014/main" id="{98E6F30E-C587-42D4-20C1-1CFEBFEDD66A}"/>
              </a:ext>
            </a:extLst>
          </p:cNvPr>
          <p:cNvSpPr>
            <a:spLocks noGrp="1"/>
          </p:cNvSpPr>
          <p:nvPr>
            <p:ph type="body" sz="quarter" idx="14" hasCustomPrompt="1"/>
          </p:nvPr>
        </p:nvSpPr>
        <p:spPr bwMode="gray">
          <a:xfrm>
            <a:off x="382588" y="265541"/>
            <a:ext cx="4838004" cy="136525"/>
          </a:xfrm>
        </p:spPr>
        <p:txBody>
          <a:bodyPr anchor="b" anchorCtr="0">
            <a:noAutofit/>
          </a:bodyPr>
          <a:lstStyle>
            <a:lvl1pPr marL="0" indent="0">
              <a:buNone/>
              <a:defRPr sz="1000">
                <a:solidFill>
                  <a:schemeClr val="bg1"/>
                </a:solidFill>
              </a:defRPr>
            </a:lvl1pPr>
          </a:lstStyle>
          <a:p>
            <a:pPr lvl="0"/>
            <a:r>
              <a:rPr lang="en-US" noProof="0"/>
              <a:t>Topline</a:t>
            </a:r>
          </a:p>
        </p:txBody>
      </p:sp>
      <p:sp>
        <p:nvSpPr>
          <p:cNvPr id="19" name="Date Placeholder 18">
            <a:extLst>
              <a:ext uri="{FF2B5EF4-FFF2-40B4-BE49-F238E27FC236}">
                <a16:creationId xmlns:a16="http://schemas.microsoft.com/office/drawing/2014/main" id="{3B511F25-4227-D392-D30A-77594980A722}"/>
              </a:ext>
            </a:extLst>
          </p:cNvPr>
          <p:cNvSpPr>
            <a:spLocks noGrp="1"/>
          </p:cNvSpPr>
          <p:nvPr>
            <p:ph type="dt" sz="half" idx="37"/>
          </p:nvPr>
        </p:nvSpPr>
        <p:spPr bwMode="gray"/>
        <p:txBody>
          <a:bodyPr/>
          <a:lstStyle>
            <a:lvl1pPr>
              <a:defRPr>
                <a:solidFill>
                  <a:schemeClr val="bg1"/>
                </a:solidFill>
              </a:defRPr>
            </a:lvl1pPr>
          </a:lstStyle>
          <a:p>
            <a:fld id="{4DC65EAF-7143-4BA8-8369-5997B82DD6D9}" type="datetime1">
              <a:rPr lang="en-US" noProof="0" smtClean="0"/>
              <a:t>10/31/2024</a:t>
            </a:fld>
            <a:endParaRPr lang="en-US" noProof="0"/>
          </a:p>
        </p:txBody>
      </p:sp>
      <p:sp>
        <p:nvSpPr>
          <p:cNvPr id="20" name="Footer Placeholder 19">
            <a:extLst>
              <a:ext uri="{FF2B5EF4-FFF2-40B4-BE49-F238E27FC236}">
                <a16:creationId xmlns:a16="http://schemas.microsoft.com/office/drawing/2014/main" id="{1A11871C-9E7F-6D51-815E-03231CC4DEBF}"/>
              </a:ext>
            </a:extLst>
          </p:cNvPr>
          <p:cNvSpPr>
            <a:spLocks noGrp="1"/>
          </p:cNvSpPr>
          <p:nvPr>
            <p:ph type="ftr" sz="quarter" idx="38"/>
          </p:nvPr>
        </p:nvSpPr>
        <p:spPr bwMode="gray"/>
        <p:txBody>
          <a:bodyPr/>
          <a:lstStyle>
            <a:lvl1pPr>
              <a:defRPr>
                <a:solidFill>
                  <a:schemeClr val="bg1"/>
                </a:solidFill>
              </a:defRPr>
            </a:lvl1pPr>
          </a:lstStyle>
          <a:p>
            <a:r>
              <a:rPr lang="en-US" noProof="0"/>
              <a:t>Group Presentation</a:t>
            </a:r>
          </a:p>
        </p:txBody>
      </p:sp>
      <p:sp>
        <p:nvSpPr>
          <p:cNvPr id="21" name="Slide Number Placeholder 20">
            <a:extLst>
              <a:ext uri="{FF2B5EF4-FFF2-40B4-BE49-F238E27FC236}">
                <a16:creationId xmlns:a16="http://schemas.microsoft.com/office/drawing/2014/main" id="{61E346A6-1557-C4E8-55FC-4385179FF757}"/>
              </a:ext>
            </a:extLst>
          </p:cNvPr>
          <p:cNvSpPr>
            <a:spLocks noGrp="1"/>
          </p:cNvSpPr>
          <p:nvPr>
            <p:ph type="sldNum" sz="quarter" idx="39"/>
          </p:nvPr>
        </p:nvSpPr>
        <p:spPr bwMode="gray"/>
        <p:txBody>
          <a:bodyPr/>
          <a:lstStyle>
            <a:lvl1pPr>
              <a:defRPr>
                <a:solidFill>
                  <a:schemeClr val="bg1"/>
                </a:solidFill>
              </a:defRPr>
            </a:lvl1pPr>
          </a:lstStyle>
          <a:p>
            <a:fld id="{A115CDC9-74CB-4F6C-8CD3-A6C89F254EE7}" type="slidenum">
              <a:rPr lang="en-US" noProof="0" smtClean="0"/>
              <a:pPr/>
              <a:t>‹#›</a:t>
            </a:fld>
            <a:endParaRPr lang="en-US" noProof="0"/>
          </a:p>
        </p:txBody>
      </p:sp>
      <p:sp>
        <p:nvSpPr>
          <p:cNvPr id="6" name="Bildplatzhalter 19">
            <a:extLst>
              <a:ext uri="{FF2B5EF4-FFF2-40B4-BE49-F238E27FC236}">
                <a16:creationId xmlns:a16="http://schemas.microsoft.com/office/drawing/2014/main" id="{058959EE-C3C4-2D61-D00B-F4179AF53E41}"/>
              </a:ext>
            </a:extLst>
          </p:cNvPr>
          <p:cNvSpPr>
            <a:spLocks noGrp="1"/>
          </p:cNvSpPr>
          <p:nvPr>
            <p:ph type="pic" sz="quarter" idx="43" hasCustomPrompt="1"/>
          </p:nvPr>
        </p:nvSpPr>
        <p:spPr bwMode="gray">
          <a:xfrm>
            <a:off x="1025514" y="6410506"/>
            <a:ext cx="1062384" cy="103295"/>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3" name="Text Placeholder 9">
            <a:extLst>
              <a:ext uri="{FF2B5EF4-FFF2-40B4-BE49-F238E27FC236}">
                <a16:creationId xmlns:a16="http://schemas.microsoft.com/office/drawing/2014/main" id="{E32BCDD6-C35F-F7E9-0084-D4DF4B404F17}"/>
              </a:ext>
            </a:extLst>
          </p:cNvPr>
          <p:cNvSpPr>
            <a:spLocks noGrp="1" noChangeAspect="1"/>
          </p:cNvSpPr>
          <p:nvPr>
            <p:ph type="body" sz="quarter" idx="19" hasCustomPrompt="1"/>
          </p:nvPr>
        </p:nvSpPr>
        <p:spPr>
          <a:xfrm>
            <a:off x="11523000" y="6201700"/>
            <a:ext cx="288000" cy="288000"/>
          </a:xfrm>
          <a:blipFill>
            <a:blip r:embed="rId8">
              <a:extLst>
                <a:ext uri="{96DAC541-7B7A-43D3-8B79-37D633B846F1}">
                  <asvg:svgBlip xmlns:asvg="http://schemas.microsoft.com/office/drawing/2016/SVG/main" r:embed="rId9"/>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170618772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Key messages 3">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51EC0EF-3B5C-A574-21DA-24BBC9DE1B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1" name="Object 10" hidden="1">
                        <a:extLst>
                          <a:ext uri="{FF2B5EF4-FFF2-40B4-BE49-F238E27FC236}">
                            <a16:creationId xmlns:a16="http://schemas.microsoft.com/office/drawing/2014/main" id="{D51EC0EF-3B5C-A574-21DA-24BBC9DE1B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9C43D2FD-0155-0953-79ED-FFE947D0A6CE}"/>
              </a:ext>
            </a:extLst>
          </p:cNvPr>
          <p:cNvSpPr>
            <a:spLocks noGrp="1"/>
          </p:cNvSpPr>
          <p:nvPr>
            <p:ph type="title" hasCustomPrompt="1"/>
          </p:nvPr>
        </p:nvSpPr>
        <p:spPr bwMode="gray">
          <a:xfrm>
            <a:off x="386459" y="540561"/>
            <a:ext cx="4838004" cy="283219"/>
          </a:xfrm>
        </p:spPr>
        <p:txBody>
          <a:bodyPr vert="horz"/>
          <a:lstStyle>
            <a:lvl1pPr>
              <a:defRPr>
                <a:solidFill>
                  <a:schemeClr val="tx2"/>
                </a:solidFill>
              </a:defRPr>
            </a:lvl1pPr>
          </a:lstStyle>
          <a:p>
            <a:r>
              <a:rPr lang="en-US" noProof="0"/>
              <a:t>Slide heading</a:t>
            </a:r>
          </a:p>
        </p:txBody>
      </p:sp>
      <p:sp>
        <p:nvSpPr>
          <p:cNvPr id="4" name="Inhaltsplatzhalter 2">
            <a:extLst>
              <a:ext uri="{FF2B5EF4-FFF2-40B4-BE49-F238E27FC236}">
                <a16:creationId xmlns:a16="http://schemas.microsoft.com/office/drawing/2014/main" id="{47F19C68-1EAE-C615-A117-F18BA4B7E5C1}"/>
              </a:ext>
            </a:extLst>
          </p:cNvPr>
          <p:cNvSpPr>
            <a:spLocks noGrp="1"/>
          </p:cNvSpPr>
          <p:nvPr>
            <p:ph idx="1" hasCustomPrompt="1"/>
          </p:nvPr>
        </p:nvSpPr>
        <p:spPr bwMode="gray">
          <a:xfrm>
            <a:off x="386459" y="1341437"/>
            <a:ext cx="4838004" cy="4571999"/>
          </a:xfrm>
        </p:spPr>
        <p:txBody>
          <a:bodyPr>
            <a:noAutofit/>
          </a:bodyPr>
          <a:lstStyle>
            <a:lvl1pPr>
              <a:defRPr sz="1600" b="1">
                <a:solidFill>
                  <a:schemeClr val="tx2"/>
                </a:solidFill>
                <a:latin typeface="+mn-lt"/>
              </a:defRPr>
            </a:lvl1pPr>
            <a:lvl2pPr>
              <a:defRPr sz="1600"/>
            </a:lvl2pPr>
            <a:lvl3pPr>
              <a:defRPr sz="1600"/>
            </a:lvl3pPr>
            <a:lvl4pPr>
              <a:defRPr sz="1600"/>
            </a:lvl4pPr>
            <a:lvl5pPr>
              <a:defRPr sz="1600"/>
            </a:lvl5pPr>
            <a:lvl6pPr marL="0" indent="0">
              <a:buFontTx/>
              <a:buNone/>
              <a:defRPr sz="1600"/>
            </a:lvl6pPr>
          </a:lstStyle>
          <a:p>
            <a:pPr lvl="0"/>
            <a:r>
              <a:rPr lang="en-US" noProof="0"/>
              <a:t>Lorem ipsum dolor sit amet, consectetuer adipiscing elit. Maecenas porttitor congue massa. Fusce posuere, magna sed pulvinar ultricies, purus lectus malesuada libero, sit amet commodo magna eros quis urna.</a:t>
            </a:r>
          </a:p>
          <a:p>
            <a:pPr lvl="0"/>
            <a:endParaRPr lang="en-US" noProof="0"/>
          </a:p>
        </p:txBody>
      </p:sp>
      <p:sp>
        <p:nvSpPr>
          <p:cNvPr id="12" name="Textplatzhalter 3">
            <a:extLst>
              <a:ext uri="{FF2B5EF4-FFF2-40B4-BE49-F238E27FC236}">
                <a16:creationId xmlns:a16="http://schemas.microsoft.com/office/drawing/2014/main" id="{89B3C9A3-7326-6535-D16A-3475569EFCA0}"/>
              </a:ext>
            </a:extLst>
          </p:cNvPr>
          <p:cNvSpPr>
            <a:spLocks noGrp="1"/>
          </p:cNvSpPr>
          <p:nvPr>
            <p:ph type="body" sz="quarter" idx="14" hasCustomPrompt="1"/>
          </p:nvPr>
        </p:nvSpPr>
        <p:spPr bwMode="gray">
          <a:xfrm>
            <a:off x="382587" y="265541"/>
            <a:ext cx="4838004" cy="136525"/>
          </a:xfrm>
        </p:spPr>
        <p:txBody>
          <a:bodyPr anchor="b" anchorCtr="0">
            <a:noAutofit/>
          </a:bodyPr>
          <a:lstStyle>
            <a:lvl1pPr marL="0" indent="0">
              <a:buNone/>
              <a:defRPr sz="1000">
                <a:solidFill>
                  <a:schemeClr val="tx2"/>
                </a:solidFill>
              </a:defRPr>
            </a:lvl1pPr>
          </a:lstStyle>
          <a:p>
            <a:pPr lvl="0"/>
            <a:r>
              <a:rPr lang="en-US" noProof="0"/>
              <a:t>Topline</a:t>
            </a:r>
          </a:p>
        </p:txBody>
      </p:sp>
      <p:sp>
        <p:nvSpPr>
          <p:cNvPr id="16" name="Date Placeholder 15">
            <a:extLst>
              <a:ext uri="{FF2B5EF4-FFF2-40B4-BE49-F238E27FC236}">
                <a16:creationId xmlns:a16="http://schemas.microsoft.com/office/drawing/2014/main" id="{8861C867-F64F-FD09-643F-923839A7602C}"/>
              </a:ext>
            </a:extLst>
          </p:cNvPr>
          <p:cNvSpPr>
            <a:spLocks noGrp="1"/>
          </p:cNvSpPr>
          <p:nvPr>
            <p:ph type="dt" sz="half" idx="36"/>
          </p:nvPr>
        </p:nvSpPr>
        <p:spPr bwMode="gray"/>
        <p:txBody>
          <a:bodyPr/>
          <a:lstStyle>
            <a:lvl1pPr>
              <a:defRPr>
                <a:solidFill>
                  <a:schemeClr val="tx2"/>
                </a:solidFill>
              </a:defRPr>
            </a:lvl1pPr>
          </a:lstStyle>
          <a:p>
            <a:fld id="{DBF99683-195B-4549-9DCA-CB7B8836E194}" type="datetime1">
              <a:rPr lang="en-US" smtClean="0"/>
              <a:t>10/31/2024</a:t>
            </a:fld>
            <a:endParaRPr lang="en-US"/>
          </a:p>
        </p:txBody>
      </p:sp>
      <p:sp>
        <p:nvSpPr>
          <p:cNvPr id="17" name="Footer Placeholder 16">
            <a:extLst>
              <a:ext uri="{FF2B5EF4-FFF2-40B4-BE49-F238E27FC236}">
                <a16:creationId xmlns:a16="http://schemas.microsoft.com/office/drawing/2014/main" id="{1804ECAA-19CF-86AE-BED2-90C1314D7CEA}"/>
              </a:ext>
            </a:extLst>
          </p:cNvPr>
          <p:cNvSpPr>
            <a:spLocks noGrp="1"/>
          </p:cNvSpPr>
          <p:nvPr>
            <p:ph type="ftr" sz="quarter" idx="37"/>
          </p:nvPr>
        </p:nvSpPr>
        <p:spPr bwMode="gray"/>
        <p:txBody>
          <a:bodyPr/>
          <a:lstStyle>
            <a:lvl1pPr>
              <a:defRPr>
                <a:solidFill>
                  <a:schemeClr val="tx2"/>
                </a:solidFill>
              </a:defRPr>
            </a:lvl1pPr>
          </a:lstStyle>
          <a:p>
            <a:r>
              <a:rPr lang="en-US"/>
              <a:t>Group Presentation</a:t>
            </a:r>
          </a:p>
        </p:txBody>
      </p:sp>
      <p:sp>
        <p:nvSpPr>
          <p:cNvPr id="18" name="Slide Number Placeholder 17">
            <a:extLst>
              <a:ext uri="{FF2B5EF4-FFF2-40B4-BE49-F238E27FC236}">
                <a16:creationId xmlns:a16="http://schemas.microsoft.com/office/drawing/2014/main" id="{8AF8704E-6EB0-1481-0229-46A7145CC79A}"/>
              </a:ext>
            </a:extLst>
          </p:cNvPr>
          <p:cNvSpPr>
            <a:spLocks noGrp="1"/>
          </p:cNvSpPr>
          <p:nvPr>
            <p:ph type="sldNum" sz="quarter" idx="38"/>
          </p:nvPr>
        </p:nvSpPr>
        <p:spPr bwMode="gray"/>
        <p:txBody>
          <a:bodyPr/>
          <a:lstStyle>
            <a:lvl1pPr>
              <a:defRPr>
                <a:solidFill>
                  <a:schemeClr val="tx2"/>
                </a:solidFill>
              </a:defRPr>
            </a:lvl1pPr>
          </a:lstStyle>
          <a:p>
            <a:fld id="{A115CDC9-74CB-4F6C-8CD3-A6C89F254EE7}" type="slidenum">
              <a:rPr lang="en-US" smtClean="0"/>
              <a:pPr/>
              <a:t>‹#›</a:t>
            </a:fld>
            <a:endParaRPr lang="en-US"/>
          </a:p>
        </p:txBody>
      </p:sp>
      <p:sp>
        <p:nvSpPr>
          <p:cNvPr id="5" name="Bildplatzhalter 4">
            <a:extLst>
              <a:ext uri="{FF2B5EF4-FFF2-40B4-BE49-F238E27FC236}">
                <a16:creationId xmlns:a16="http://schemas.microsoft.com/office/drawing/2014/main" id="{6E261041-6472-1289-89CE-BD20089A62B8}"/>
              </a:ext>
            </a:extLst>
          </p:cNvPr>
          <p:cNvSpPr>
            <a:spLocks noGrp="1"/>
          </p:cNvSpPr>
          <p:nvPr>
            <p:ph type="pic" sz="quarter" idx="40"/>
          </p:nvPr>
        </p:nvSpPr>
        <p:spPr>
          <a:xfrm>
            <a:off x="6192838" y="0"/>
            <a:ext cx="5999162" cy="5913438"/>
          </a:xfrm>
          <a:custGeom>
            <a:avLst/>
            <a:gdLst>
              <a:gd name="connsiteX0" fmla="*/ 0 w 5999162"/>
              <a:gd name="connsiteY0" fmla="*/ 0 h 5913438"/>
              <a:gd name="connsiteX1" fmla="*/ 5999162 w 5999162"/>
              <a:gd name="connsiteY1" fmla="*/ 0 h 5913438"/>
              <a:gd name="connsiteX2" fmla="*/ 5999162 w 5999162"/>
              <a:gd name="connsiteY2" fmla="*/ 5913438 h 5913438"/>
              <a:gd name="connsiteX3" fmla="*/ 1305628 w 5999162"/>
              <a:gd name="connsiteY3" fmla="*/ 5913438 h 5913438"/>
              <a:gd name="connsiteX4" fmla="*/ 0 w 5999162"/>
              <a:gd name="connsiteY4" fmla="*/ 4607810 h 5913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9162" h="5913438">
                <a:moveTo>
                  <a:pt x="0" y="0"/>
                </a:moveTo>
                <a:lnTo>
                  <a:pt x="5999162" y="0"/>
                </a:lnTo>
                <a:lnTo>
                  <a:pt x="5999162" y="5913438"/>
                </a:lnTo>
                <a:lnTo>
                  <a:pt x="1305628" y="5913438"/>
                </a:lnTo>
                <a:cubicBezTo>
                  <a:pt x="584550" y="5913438"/>
                  <a:pt x="0" y="5328888"/>
                  <a:pt x="0" y="4607810"/>
                </a:cubicBezTo>
                <a:close/>
              </a:path>
            </a:pathLst>
          </a:custGeom>
        </p:spPr>
        <p:txBody>
          <a:bodyPr wrap="square">
            <a:noAutofit/>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de-DE" noProof="0"/>
              <a:t>Bild durch Klicken auf Symbol hinzufügen</a:t>
            </a:r>
            <a:endParaRPr lang="en-US" noProof="0"/>
          </a:p>
        </p:txBody>
      </p:sp>
    </p:spTree>
    <p:extLst>
      <p:ext uri="{BB962C8B-B14F-4D97-AF65-F5344CB8AC3E}">
        <p14:creationId xmlns:p14="http://schemas.microsoft.com/office/powerpoint/2010/main" val="12167395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Quote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B947A7-049B-C730-FA11-7792B23B17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48B947A7-049B-C730-FA11-7792B23B17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sp>
        <p:nvSpPr>
          <p:cNvPr id="20" name="Bildplatzhalter 19">
            <a:extLst>
              <a:ext uri="{FF2B5EF4-FFF2-40B4-BE49-F238E27FC236}">
                <a16:creationId xmlns:a16="http://schemas.microsoft.com/office/drawing/2014/main" id="{8A7E4CB8-E511-3A4F-D795-F35E070C5709}"/>
              </a:ext>
            </a:extLst>
          </p:cNvPr>
          <p:cNvSpPr>
            <a:spLocks noGrp="1"/>
          </p:cNvSpPr>
          <p:nvPr>
            <p:ph type="pic" sz="quarter" idx="44"/>
          </p:nvPr>
        </p:nvSpPr>
        <p:spPr bwMode="gray">
          <a:xfrm>
            <a:off x="6953250" y="747712"/>
            <a:ext cx="4857750" cy="5165726"/>
          </a:xfrm>
          <a:custGeom>
            <a:avLst/>
            <a:gdLst>
              <a:gd name="connsiteX0" fmla="*/ 0 w 4857750"/>
              <a:gd name="connsiteY0" fmla="*/ 0 h 5165726"/>
              <a:gd name="connsiteX1" fmla="*/ 4857750 w 4857750"/>
              <a:gd name="connsiteY1" fmla="*/ 0 h 5165726"/>
              <a:gd name="connsiteX2" fmla="*/ 4857750 w 4857750"/>
              <a:gd name="connsiteY2" fmla="*/ 5165726 h 5165726"/>
              <a:gd name="connsiteX3" fmla="*/ 1358275 w 4857750"/>
              <a:gd name="connsiteY3" fmla="*/ 5165726 h 5165726"/>
              <a:gd name="connsiteX4" fmla="*/ 0 w 4857750"/>
              <a:gd name="connsiteY4" fmla="*/ 3807451 h 5165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0" h="5165726">
                <a:moveTo>
                  <a:pt x="0" y="0"/>
                </a:moveTo>
                <a:lnTo>
                  <a:pt x="4857750" y="0"/>
                </a:lnTo>
                <a:lnTo>
                  <a:pt x="4857750" y="5165726"/>
                </a:lnTo>
                <a:lnTo>
                  <a:pt x="1358275" y="5165726"/>
                </a:lnTo>
                <a:cubicBezTo>
                  <a:pt x="608120" y="5165726"/>
                  <a:pt x="0" y="4557606"/>
                  <a:pt x="0" y="3807451"/>
                </a:cubicBezTo>
                <a:close/>
              </a:path>
            </a:pathLst>
          </a:custGeom>
        </p:spPr>
        <p:txBody>
          <a:bodyPr wrap="square">
            <a:noAutofit/>
          </a:bodyPr>
          <a:lstStyle>
            <a:lvl1pPr>
              <a:defRPr>
                <a:solidFill>
                  <a:schemeClr val="bg1"/>
                </a:solidFill>
              </a:defRPr>
            </a:lvl1pPr>
          </a:lstStyle>
          <a:p>
            <a:r>
              <a:rPr lang="de-DE" noProof="0"/>
              <a:t>Bild durch Klicken auf Symbol hinzufügen</a:t>
            </a:r>
            <a:endParaRPr lang="en-US" noProof="0"/>
          </a:p>
        </p:txBody>
      </p:sp>
      <p:sp>
        <p:nvSpPr>
          <p:cNvPr id="12" name="Titel 11">
            <a:extLst>
              <a:ext uri="{FF2B5EF4-FFF2-40B4-BE49-F238E27FC236}">
                <a16:creationId xmlns:a16="http://schemas.microsoft.com/office/drawing/2014/main" id="{9528F242-BD3B-01EB-134C-F8E7E359791F}"/>
              </a:ext>
            </a:extLst>
          </p:cNvPr>
          <p:cNvSpPr>
            <a:spLocks noGrp="1"/>
          </p:cNvSpPr>
          <p:nvPr>
            <p:ph type="title" hasCustomPrompt="1"/>
          </p:nvPr>
        </p:nvSpPr>
        <p:spPr bwMode="gray">
          <a:xfrm>
            <a:off x="388130" y="1915840"/>
            <a:ext cx="5607858" cy="1636730"/>
          </a:xfrm>
        </p:spPr>
        <p:txBody>
          <a:bodyPr vert="horz" wrap="square" anchor="t" anchorCtr="0">
            <a:spAutoFit/>
          </a:bodyPr>
          <a:lstStyle>
            <a:lvl1pPr>
              <a:lnSpc>
                <a:spcPct val="120000"/>
              </a:lnSpc>
              <a:defRPr sz="3000">
                <a:solidFill>
                  <a:schemeClr val="bg1"/>
                </a:solidFill>
              </a:defRPr>
            </a:lvl1pPr>
          </a:lstStyle>
          <a:p>
            <a:r>
              <a:rPr lang="en-US" noProof="0"/>
              <a:t>Quote lorem ipsum</a:t>
            </a:r>
            <a:br>
              <a:rPr lang="en-US" noProof="0"/>
            </a:br>
            <a:br>
              <a:rPr lang="en-US" noProof="0"/>
            </a:br>
            <a:endParaRPr lang="en-US" noProof="0"/>
          </a:p>
        </p:txBody>
      </p:sp>
      <p:sp>
        <p:nvSpPr>
          <p:cNvPr id="13" name="Textfeld 12">
            <a:extLst>
              <a:ext uri="{FF2B5EF4-FFF2-40B4-BE49-F238E27FC236}">
                <a16:creationId xmlns:a16="http://schemas.microsoft.com/office/drawing/2014/main" id="{328D7683-162E-7913-135E-4F841CB805CD}"/>
              </a:ext>
            </a:extLst>
          </p:cNvPr>
          <p:cNvSpPr txBox="1"/>
          <p:nvPr/>
        </p:nvSpPr>
        <p:spPr bwMode="gray">
          <a:xfrm>
            <a:off x="380321" y="356533"/>
            <a:ext cx="1188648" cy="1273486"/>
          </a:xfrm>
          <a:prstGeom prst="rect">
            <a:avLst/>
          </a:prstGeom>
          <a:noFill/>
        </p:spPr>
        <p:txBody>
          <a:bodyPr wrap="square" lIns="0" tIns="0" rIns="0" bIns="0" rtlCol="0" anchor="t" anchorCtr="0">
            <a:noAutofit/>
          </a:bodyPr>
          <a:lstStyle/>
          <a:p>
            <a:r>
              <a:rPr lang="en-US" sz="16000" b="1" noProof="0">
                <a:solidFill>
                  <a:schemeClr val="bg1"/>
                </a:solidFill>
                <a:latin typeface="+mj-lt"/>
              </a:rPr>
              <a:t>”</a:t>
            </a:r>
          </a:p>
        </p:txBody>
      </p:sp>
      <p:grpSp>
        <p:nvGrpSpPr>
          <p:cNvPr id="14" name="object 8">
            <a:extLst>
              <a:ext uri="{FF2B5EF4-FFF2-40B4-BE49-F238E27FC236}">
                <a16:creationId xmlns:a16="http://schemas.microsoft.com/office/drawing/2014/main" id="{B39D7F6A-A6B6-798C-A424-8603966C6698}"/>
              </a:ext>
            </a:extLst>
          </p:cNvPr>
          <p:cNvGrpSpPr>
            <a:grpSpLocks noChangeAspect="1"/>
          </p:cNvGrpSpPr>
          <p:nvPr/>
        </p:nvGrpSpPr>
        <p:grpSpPr bwMode="gray">
          <a:xfrm>
            <a:off x="11523000" y="6201700"/>
            <a:ext cx="288000" cy="288000"/>
            <a:chOff x="18934851" y="10156759"/>
            <a:chExt cx="523875" cy="523875"/>
          </a:xfrm>
        </p:grpSpPr>
        <p:sp>
          <p:nvSpPr>
            <p:cNvPr id="15" name="object 9">
              <a:extLst>
                <a:ext uri="{FF2B5EF4-FFF2-40B4-BE49-F238E27FC236}">
                  <a16:creationId xmlns:a16="http://schemas.microsoft.com/office/drawing/2014/main" id="{510E9A11-EE0A-F303-7A3C-434F4EF4B3FA}"/>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16" name="object 10">
              <a:extLst>
                <a:ext uri="{FF2B5EF4-FFF2-40B4-BE49-F238E27FC236}">
                  <a16:creationId xmlns:a16="http://schemas.microsoft.com/office/drawing/2014/main" id="{D186C636-C14F-C3B8-C0D6-24C3F7FB5056}"/>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17" name="object 11">
              <a:extLst>
                <a:ext uri="{FF2B5EF4-FFF2-40B4-BE49-F238E27FC236}">
                  <a16:creationId xmlns:a16="http://schemas.microsoft.com/office/drawing/2014/main" id="{11EE4303-656A-2D9C-F100-FEFCEFA79B4D}"/>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5" name="Textplatzhalter 3">
            <a:extLst>
              <a:ext uri="{FF2B5EF4-FFF2-40B4-BE49-F238E27FC236}">
                <a16:creationId xmlns:a16="http://schemas.microsoft.com/office/drawing/2014/main" id="{06FF2DC0-43A9-01BB-1E47-AF975CB39908}"/>
              </a:ext>
            </a:extLst>
          </p:cNvPr>
          <p:cNvSpPr>
            <a:spLocks noGrp="1"/>
          </p:cNvSpPr>
          <p:nvPr>
            <p:ph type="body" sz="quarter" idx="14" hasCustomPrompt="1"/>
          </p:nvPr>
        </p:nvSpPr>
        <p:spPr bwMode="gray">
          <a:xfrm>
            <a:off x="382587" y="265541"/>
            <a:ext cx="11428413" cy="136525"/>
          </a:xfrm>
        </p:spPr>
        <p:txBody>
          <a:bodyPr anchor="b" anchorCtr="0">
            <a:noAutofit/>
          </a:bodyPr>
          <a:lstStyle>
            <a:lvl1pPr marL="0" indent="0">
              <a:buNone/>
              <a:defRPr sz="1000">
                <a:solidFill>
                  <a:schemeClr val="bg1"/>
                </a:solidFill>
              </a:defRPr>
            </a:lvl1pPr>
          </a:lstStyle>
          <a:p>
            <a:pPr lvl="0"/>
            <a:r>
              <a:rPr lang="en-US" noProof="0"/>
              <a:t>Topline</a:t>
            </a:r>
          </a:p>
        </p:txBody>
      </p:sp>
      <p:sp>
        <p:nvSpPr>
          <p:cNvPr id="21" name="Textplatzhalter 17">
            <a:extLst>
              <a:ext uri="{FF2B5EF4-FFF2-40B4-BE49-F238E27FC236}">
                <a16:creationId xmlns:a16="http://schemas.microsoft.com/office/drawing/2014/main" id="{5576433D-85DF-50B4-F97B-0CE3B6864211}"/>
              </a:ext>
            </a:extLst>
          </p:cNvPr>
          <p:cNvSpPr>
            <a:spLocks noGrp="1"/>
          </p:cNvSpPr>
          <p:nvPr>
            <p:ph type="body" sz="quarter" idx="39" hasCustomPrompt="1"/>
          </p:nvPr>
        </p:nvSpPr>
        <p:spPr bwMode="gray">
          <a:xfrm>
            <a:off x="388130" y="3562094"/>
            <a:ext cx="5607858" cy="528810"/>
          </a:xfrm>
        </p:spPr>
        <p:txBody>
          <a:bodyPr tIns="360000" anchor="b" anchorCtr="0">
            <a:noAutofit/>
          </a:bodyPr>
          <a:lstStyle>
            <a:lvl1pPr marL="0" indent="0">
              <a:lnSpc>
                <a:spcPct val="120000"/>
              </a:lnSpc>
              <a:spcBef>
                <a:spcPts val="0"/>
              </a:spcBef>
              <a:buNone/>
              <a:defRPr sz="1000" b="0">
                <a:solidFill>
                  <a:schemeClr val="bg1"/>
                </a:solidFill>
              </a:defRPr>
            </a:lvl1pPr>
          </a:lstStyle>
          <a:p>
            <a:pPr lvl="0"/>
            <a:r>
              <a:rPr lang="en-US" noProof="0"/>
              <a:t>First name </a:t>
            </a:r>
            <a:r>
              <a:rPr lang="en-US" noProof="0" err="1"/>
              <a:t>Name</a:t>
            </a:r>
            <a:endParaRPr lang="en-US" noProof="0"/>
          </a:p>
          <a:p>
            <a:pPr lvl="0"/>
            <a:r>
              <a:rPr lang="en-US" noProof="0"/>
              <a:t>Function, Department</a:t>
            </a:r>
          </a:p>
        </p:txBody>
      </p:sp>
      <p:sp>
        <p:nvSpPr>
          <p:cNvPr id="22" name="Date Placeholder 21">
            <a:extLst>
              <a:ext uri="{FF2B5EF4-FFF2-40B4-BE49-F238E27FC236}">
                <a16:creationId xmlns:a16="http://schemas.microsoft.com/office/drawing/2014/main" id="{28AA3A85-07EF-F7C7-87EB-4C82041264BE}"/>
              </a:ext>
            </a:extLst>
          </p:cNvPr>
          <p:cNvSpPr>
            <a:spLocks noGrp="1"/>
          </p:cNvSpPr>
          <p:nvPr>
            <p:ph type="dt" sz="half" idx="40"/>
          </p:nvPr>
        </p:nvSpPr>
        <p:spPr bwMode="gray"/>
        <p:txBody>
          <a:bodyPr/>
          <a:lstStyle>
            <a:lvl1pPr>
              <a:defRPr>
                <a:solidFill>
                  <a:schemeClr val="bg1"/>
                </a:solidFill>
              </a:defRPr>
            </a:lvl1pPr>
          </a:lstStyle>
          <a:p>
            <a:fld id="{F5915985-DF6D-4E85-84FD-2DD1BC1BA394}" type="datetime1">
              <a:rPr lang="en-US" noProof="0" smtClean="0"/>
              <a:t>10/31/2024</a:t>
            </a:fld>
            <a:endParaRPr lang="en-US" noProof="0"/>
          </a:p>
        </p:txBody>
      </p:sp>
      <p:sp>
        <p:nvSpPr>
          <p:cNvPr id="23" name="Footer Placeholder 22">
            <a:extLst>
              <a:ext uri="{FF2B5EF4-FFF2-40B4-BE49-F238E27FC236}">
                <a16:creationId xmlns:a16="http://schemas.microsoft.com/office/drawing/2014/main" id="{84D13B5F-F0D8-9550-4BBC-7DA49B3F6C2E}"/>
              </a:ext>
            </a:extLst>
          </p:cNvPr>
          <p:cNvSpPr>
            <a:spLocks noGrp="1"/>
          </p:cNvSpPr>
          <p:nvPr>
            <p:ph type="ftr" sz="quarter" idx="41"/>
          </p:nvPr>
        </p:nvSpPr>
        <p:spPr bwMode="gray"/>
        <p:txBody>
          <a:bodyPr/>
          <a:lstStyle>
            <a:lvl1pPr>
              <a:defRPr>
                <a:solidFill>
                  <a:schemeClr val="bg1"/>
                </a:solidFill>
              </a:defRPr>
            </a:lvl1pPr>
          </a:lstStyle>
          <a:p>
            <a:r>
              <a:rPr lang="en-US" noProof="0"/>
              <a:t>Group Presentation</a:t>
            </a:r>
          </a:p>
        </p:txBody>
      </p:sp>
      <p:sp>
        <p:nvSpPr>
          <p:cNvPr id="24" name="Slide Number Placeholder 23">
            <a:extLst>
              <a:ext uri="{FF2B5EF4-FFF2-40B4-BE49-F238E27FC236}">
                <a16:creationId xmlns:a16="http://schemas.microsoft.com/office/drawing/2014/main" id="{8185244A-1FBC-A6AF-EE8C-DAF00ABACFB6}"/>
              </a:ext>
            </a:extLst>
          </p:cNvPr>
          <p:cNvSpPr>
            <a:spLocks noGrp="1"/>
          </p:cNvSpPr>
          <p:nvPr>
            <p:ph type="sldNum" sz="quarter" idx="42"/>
          </p:nvPr>
        </p:nvSpPr>
        <p:spPr bwMode="gray"/>
        <p:txBody>
          <a:bodyPr/>
          <a:lstStyle>
            <a:lvl1pPr>
              <a:defRPr>
                <a:solidFill>
                  <a:schemeClr val="bg1"/>
                </a:solidFill>
              </a:defRPr>
            </a:lvl1pPr>
          </a:lstStyle>
          <a:p>
            <a:fld id="{A115CDC9-74CB-4F6C-8CD3-A6C89F254EE7}" type="slidenum">
              <a:rPr lang="en-US" noProof="0" smtClean="0"/>
              <a:pPr/>
              <a:t>‹#›</a:t>
            </a:fld>
            <a:endParaRPr lang="en-US" noProof="0"/>
          </a:p>
        </p:txBody>
      </p:sp>
      <p:sp>
        <p:nvSpPr>
          <p:cNvPr id="6" name="Bildplatzhalter 19">
            <a:extLst>
              <a:ext uri="{FF2B5EF4-FFF2-40B4-BE49-F238E27FC236}">
                <a16:creationId xmlns:a16="http://schemas.microsoft.com/office/drawing/2014/main" id="{8A39FDF2-B4B7-5ABB-2D51-6BF444F2881C}"/>
              </a:ext>
            </a:extLst>
          </p:cNvPr>
          <p:cNvSpPr>
            <a:spLocks noGrp="1"/>
          </p:cNvSpPr>
          <p:nvPr>
            <p:ph type="pic" sz="quarter" idx="43"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0713271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x Image left - Title + bullets">
    <p:spTree>
      <p:nvGrpSpPr>
        <p:cNvPr id="1" name=""/>
        <p:cNvGrpSpPr/>
        <p:nvPr/>
      </p:nvGrpSpPr>
      <p:grpSpPr>
        <a:xfrm>
          <a:off x="0" y="0"/>
          <a:ext cx="0" cy="0"/>
          <a:chOff x="0" y="0"/>
          <a:chExt cx="0" cy="0"/>
        </a:xfrm>
      </p:grpSpPr>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Picture 4" descr="Icon&#10;&#10;Description automatically generated">
            <a:extLst>
              <a:ext uri="{FF2B5EF4-FFF2-40B4-BE49-F238E27FC236}">
                <a16:creationId xmlns:a16="http://schemas.microsoft.com/office/drawing/2014/main" id="{9E91DBB7-EE17-D492-C5AB-200877B5403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6574B9BB-7178-7D68-8A45-8960B35AFBB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Plassholder for bilde 7">
            <a:extLst>
              <a:ext uri="{FF2B5EF4-FFF2-40B4-BE49-F238E27FC236}">
                <a16:creationId xmlns:a16="http://schemas.microsoft.com/office/drawing/2014/main" id="{047B8122-8719-0A6D-0E9B-0BD93019A832}"/>
              </a:ext>
            </a:extLst>
          </p:cNvPr>
          <p:cNvSpPr>
            <a:spLocks noGrp="1"/>
          </p:cNvSpPr>
          <p:nvPr>
            <p:ph type="pic" sz="quarter" idx="17"/>
          </p:nvPr>
        </p:nvSpPr>
        <p:spPr>
          <a:xfrm>
            <a:off x="0" y="0"/>
            <a:ext cx="4876800" cy="3429000"/>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63A9C5F-FCAC-3F21-93DA-B210C2DA5E78}"/>
              </a:ext>
            </a:extLst>
          </p:cNvPr>
          <p:cNvSpPr>
            <a:spLocks noGrp="1"/>
          </p:cNvSpPr>
          <p:nvPr>
            <p:ph type="pic" sz="quarter" idx="18"/>
          </p:nvPr>
        </p:nvSpPr>
        <p:spPr>
          <a:xfrm>
            <a:off x="0" y="3442914"/>
            <a:ext cx="4876800" cy="3429000"/>
          </a:xfrm>
          <a:prstGeom prst="rect">
            <a:avLst/>
          </a:prstGeom>
        </p:spPr>
        <p:txBody>
          <a:bodyPr/>
          <a:lstStyle/>
          <a:p>
            <a:endParaRPr lang="nb-NO"/>
          </a:p>
        </p:txBody>
      </p:sp>
    </p:spTree>
    <p:extLst>
      <p:ext uri="{BB962C8B-B14F-4D97-AF65-F5344CB8AC3E}">
        <p14:creationId xmlns:p14="http://schemas.microsoft.com/office/powerpoint/2010/main" val="2555961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Quot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6DD037-76D7-BA1B-7CA9-13A5A9930F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CC6DD037-76D7-BA1B-7CA9-13A5A9930F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feld 12">
            <a:extLst>
              <a:ext uri="{FF2B5EF4-FFF2-40B4-BE49-F238E27FC236}">
                <a16:creationId xmlns:a16="http://schemas.microsoft.com/office/drawing/2014/main" id="{328D7683-162E-7913-135E-4F841CB805CD}"/>
              </a:ext>
            </a:extLst>
          </p:cNvPr>
          <p:cNvSpPr txBox="1"/>
          <p:nvPr/>
        </p:nvSpPr>
        <p:spPr>
          <a:xfrm>
            <a:off x="380321" y="356533"/>
            <a:ext cx="1188648" cy="1273486"/>
          </a:xfrm>
          <a:prstGeom prst="rect">
            <a:avLst/>
          </a:prstGeom>
          <a:noFill/>
        </p:spPr>
        <p:txBody>
          <a:bodyPr wrap="square" lIns="0" tIns="0" rIns="0" bIns="0" rtlCol="0" anchor="t" anchorCtr="0">
            <a:noAutofit/>
          </a:bodyPr>
          <a:lstStyle/>
          <a:p>
            <a:r>
              <a:rPr lang="en-US" sz="16000" b="1" noProof="0">
                <a:solidFill>
                  <a:schemeClr val="tx2"/>
                </a:solidFill>
                <a:latin typeface="+mj-lt"/>
              </a:rPr>
              <a:t>”</a:t>
            </a:r>
          </a:p>
        </p:txBody>
      </p:sp>
      <p:pic>
        <p:nvPicPr>
          <p:cNvPr id="22" name="Grafik 6">
            <a:extLst>
              <a:ext uri="{FF2B5EF4-FFF2-40B4-BE49-F238E27FC236}">
                <a16:creationId xmlns:a16="http://schemas.microsoft.com/office/drawing/2014/main" id="{3968FDED-7E8C-02F5-5853-4B0345D2FF29}"/>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1523000" y="6201700"/>
            <a:ext cx="288000" cy="288000"/>
          </a:xfrm>
          <a:prstGeom prst="rect">
            <a:avLst/>
          </a:prstGeom>
        </p:spPr>
      </p:pic>
      <p:sp>
        <p:nvSpPr>
          <p:cNvPr id="4" name="Textplatzhalter 3">
            <a:extLst>
              <a:ext uri="{FF2B5EF4-FFF2-40B4-BE49-F238E27FC236}">
                <a16:creationId xmlns:a16="http://schemas.microsoft.com/office/drawing/2014/main" id="{D212922A-EF6F-2597-1827-4FC6633BE89F}"/>
              </a:ext>
            </a:extLst>
          </p:cNvPr>
          <p:cNvSpPr>
            <a:spLocks noGrp="1"/>
          </p:cNvSpPr>
          <p:nvPr>
            <p:ph type="body" sz="quarter" idx="14" hasCustomPrompt="1"/>
          </p:nvPr>
        </p:nvSpPr>
        <p:spPr>
          <a:xfrm>
            <a:off x="382587" y="265541"/>
            <a:ext cx="11428413" cy="136525"/>
          </a:xfrm>
        </p:spPr>
        <p:txBody>
          <a:bodyPr anchor="b" anchorCtr="0">
            <a:noAutofit/>
          </a:bodyPr>
          <a:lstStyle>
            <a:lvl1pPr marL="0" indent="0">
              <a:buNone/>
              <a:defRPr sz="1000">
                <a:solidFill>
                  <a:schemeClr val="tx2"/>
                </a:solidFill>
              </a:defRPr>
            </a:lvl1pPr>
          </a:lstStyle>
          <a:p>
            <a:pPr lvl="0"/>
            <a:r>
              <a:rPr lang="en-US" noProof="0"/>
              <a:t>Topline</a:t>
            </a:r>
          </a:p>
        </p:txBody>
      </p:sp>
      <p:sp>
        <p:nvSpPr>
          <p:cNvPr id="16" name="Titel 11">
            <a:extLst>
              <a:ext uri="{FF2B5EF4-FFF2-40B4-BE49-F238E27FC236}">
                <a16:creationId xmlns:a16="http://schemas.microsoft.com/office/drawing/2014/main" id="{4F15C2F9-46FD-C9E3-6EF4-096A7B7EBEFF}"/>
              </a:ext>
            </a:extLst>
          </p:cNvPr>
          <p:cNvSpPr>
            <a:spLocks noGrp="1"/>
          </p:cNvSpPr>
          <p:nvPr>
            <p:ph type="title" hasCustomPrompt="1"/>
          </p:nvPr>
        </p:nvSpPr>
        <p:spPr>
          <a:xfrm>
            <a:off x="385200" y="1919993"/>
            <a:ext cx="5610788" cy="1636730"/>
          </a:xfrm>
        </p:spPr>
        <p:txBody>
          <a:bodyPr vert="horz" wrap="square" anchor="t" anchorCtr="0">
            <a:spAutoFit/>
          </a:bodyPr>
          <a:lstStyle>
            <a:lvl1pPr>
              <a:lnSpc>
                <a:spcPct val="120000"/>
              </a:lnSpc>
              <a:defRPr sz="3000">
                <a:solidFill>
                  <a:schemeClr val="tx2"/>
                </a:solidFill>
              </a:defRPr>
            </a:lvl1pPr>
          </a:lstStyle>
          <a:p>
            <a:r>
              <a:rPr lang="en-US" noProof="0"/>
              <a:t>Quote lorem ipsum</a:t>
            </a:r>
            <a:br>
              <a:rPr lang="en-US" noProof="0"/>
            </a:br>
            <a:br>
              <a:rPr lang="en-US" noProof="0"/>
            </a:br>
            <a:endParaRPr lang="en-US" noProof="0"/>
          </a:p>
        </p:txBody>
      </p:sp>
      <p:sp>
        <p:nvSpPr>
          <p:cNvPr id="20" name="Textplatzhalter 17">
            <a:extLst>
              <a:ext uri="{FF2B5EF4-FFF2-40B4-BE49-F238E27FC236}">
                <a16:creationId xmlns:a16="http://schemas.microsoft.com/office/drawing/2014/main" id="{FE503730-C14A-0841-7DAB-2525D610D8B8}"/>
              </a:ext>
            </a:extLst>
          </p:cNvPr>
          <p:cNvSpPr>
            <a:spLocks noGrp="1"/>
          </p:cNvSpPr>
          <p:nvPr>
            <p:ph type="body" sz="quarter" idx="39" hasCustomPrompt="1"/>
          </p:nvPr>
        </p:nvSpPr>
        <p:spPr>
          <a:xfrm>
            <a:off x="382588" y="3559104"/>
            <a:ext cx="5613400" cy="528810"/>
          </a:xfrm>
        </p:spPr>
        <p:txBody>
          <a:bodyPr tIns="360000" anchor="b" anchorCtr="0">
            <a:noAutofit/>
          </a:bodyPr>
          <a:lstStyle>
            <a:lvl1pPr marL="0" indent="0">
              <a:spcBef>
                <a:spcPts val="0"/>
              </a:spcBef>
              <a:buNone/>
              <a:defRPr sz="1000">
                <a:solidFill>
                  <a:schemeClr val="tx2"/>
                </a:solidFill>
              </a:defRPr>
            </a:lvl1pPr>
          </a:lstStyle>
          <a:p>
            <a:pPr lvl="0"/>
            <a:r>
              <a:rPr lang="en-US" noProof="0"/>
              <a:t>First name Name</a:t>
            </a:r>
          </a:p>
          <a:p>
            <a:pPr lvl="0"/>
            <a:r>
              <a:rPr lang="en-US" noProof="0"/>
              <a:t>Function, Department</a:t>
            </a:r>
          </a:p>
        </p:txBody>
      </p:sp>
      <p:sp>
        <p:nvSpPr>
          <p:cNvPr id="23" name="Date Placeholder 22">
            <a:extLst>
              <a:ext uri="{FF2B5EF4-FFF2-40B4-BE49-F238E27FC236}">
                <a16:creationId xmlns:a16="http://schemas.microsoft.com/office/drawing/2014/main" id="{F8A438A5-680C-45FC-11B2-3DCD9A8A3DC0}"/>
              </a:ext>
            </a:extLst>
          </p:cNvPr>
          <p:cNvSpPr>
            <a:spLocks noGrp="1"/>
          </p:cNvSpPr>
          <p:nvPr>
            <p:ph type="dt" sz="half" idx="40"/>
          </p:nvPr>
        </p:nvSpPr>
        <p:spPr/>
        <p:txBody>
          <a:bodyPr/>
          <a:lstStyle/>
          <a:p>
            <a:fld id="{8BC87F3E-4447-438B-8C01-C976B81713EE}" type="datetime1">
              <a:rPr lang="en-US" noProof="0" smtClean="0"/>
              <a:t>10/31/2024</a:t>
            </a:fld>
            <a:endParaRPr lang="en-US" noProof="0"/>
          </a:p>
        </p:txBody>
      </p:sp>
      <p:sp>
        <p:nvSpPr>
          <p:cNvPr id="24" name="Footer Placeholder 23">
            <a:extLst>
              <a:ext uri="{FF2B5EF4-FFF2-40B4-BE49-F238E27FC236}">
                <a16:creationId xmlns:a16="http://schemas.microsoft.com/office/drawing/2014/main" id="{F19F2E06-072A-2160-7029-620DB52C940D}"/>
              </a:ext>
            </a:extLst>
          </p:cNvPr>
          <p:cNvSpPr>
            <a:spLocks noGrp="1"/>
          </p:cNvSpPr>
          <p:nvPr>
            <p:ph type="ftr" sz="quarter" idx="41"/>
          </p:nvPr>
        </p:nvSpPr>
        <p:spPr/>
        <p:txBody>
          <a:bodyPr/>
          <a:lstStyle/>
          <a:p>
            <a:r>
              <a:rPr lang="en-US" noProof="0"/>
              <a:t>Group Presentation</a:t>
            </a:r>
          </a:p>
        </p:txBody>
      </p:sp>
      <p:sp>
        <p:nvSpPr>
          <p:cNvPr id="25" name="Slide Number Placeholder 24">
            <a:extLst>
              <a:ext uri="{FF2B5EF4-FFF2-40B4-BE49-F238E27FC236}">
                <a16:creationId xmlns:a16="http://schemas.microsoft.com/office/drawing/2014/main" id="{D1F1F3A2-7B0C-3A1E-1013-99D1288752D7}"/>
              </a:ext>
            </a:extLst>
          </p:cNvPr>
          <p:cNvSpPr>
            <a:spLocks noGrp="1"/>
          </p:cNvSpPr>
          <p:nvPr>
            <p:ph type="sldNum" sz="quarter" idx="42"/>
          </p:nvPr>
        </p:nvSpPr>
        <p:spPr/>
        <p:txBody>
          <a:bodyPr/>
          <a:lstStyle/>
          <a:p>
            <a:fld id="{A115CDC9-74CB-4F6C-8CD3-A6C89F254EE7}" type="slidenum">
              <a:rPr lang="en-US" noProof="0" smtClean="0"/>
              <a:pPr/>
              <a:t>‹#›</a:t>
            </a:fld>
            <a:endParaRPr lang="en-US" noProof="0"/>
          </a:p>
        </p:txBody>
      </p:sp>
      <p:sp>
        <p:nvSpPr>
          <p:cNvPr id="3" name="Bildplatzhalter 19">
            <a:extLst>
              <a:ext uri="{FF2B5EF4-FFF2-40B4-BE49-F238E27FC236}">
                <a16:creationId xmlns:a16="http://schemas.microsoft.com/office/drawing/2014/main" id="{251BD96D-5BCD-1833-AA18-FBF29CFC7929}"/>
              </a:ext>
            </a:extLst>
          </p:cNvPr>
          <p:cNvSpPr>
            <a:spLocks noGrp="1"/>
          </p:cNvSpPr>
          <p:nvPr>
            <p:ph type="pic" sz="quarter" idx="22" hasCustomPrompt="1"/>
          </p:nvPr>
        </p:nvSpPr>
        <p:spPr bwMode="gray">
          <a:xfrm>
            <a:off x="1025514" y="6410506"/>
            <a:ext cx="1062384" cy="103295"/>
          </a:xfrm>
          <a:blipFill>
            <a:blip r:embed="rId6"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5" name="Bildplatzhalter 4">
            <a:extLst>
              <a:ext uri="{FF2B5EF4-FFF2-40B4-BE49-F238E27FC236}">
                <a16:creationId xmlns:a16="http://schemas.microsoft.com/office/drawing/2014/main" id="{1A9CE0F2-8461-B352-F2DB-7CA4505DE4C2}"/>
              </a:ext>
            </a:extLst>
          </p:cNvPr>
          <p:cNvSpPr>
            <a:spLocks noGrp="1"/>
          </p:cNvSpPr>
          <p:nvPr>
            <p:ph type="pic" sz="quarter" idx="44"/>
          </p:nvPr>
        </p:nvSpPr>
        <p:spPr>
          <a:xfrm>
            <a:off x="6953250" y="747712"/>
            <a:ext cx="4857750" cy="5165726"/>
          </a:xfrm>
          <a:custGeom>
            <a:avLst/>
            <a:gdLst>
              <a:gd name="connsiteX0" fmla="*/ 0 w 4857750"/>
              <a:gd name="connsiteY0" fmla="*/ 0 h 5165726"/>
              <a:gd name="connsiteX1" fmla="*/ 4857750 w 4857750"/>
              <a:gd name="connsiteY1" fmla="*/ 0 h 5165726"/>
              <a:gd name="connsiteX2" fmla="*/ 4857750 w 4857750"/>
              <a:gd name="connsiteY2" fmla="*/ 5165726 h 5165726"/>
              <a:gd name="connsiteX3" fmla="*/ 1358275 w 4857750"/>
              <a:gd name="connsiteY3" fmla="*/ 5165726 h 5165726"/>
              <a:gd name="connsiteX4" fmla="*/ 0 w 4857750"/>
              <a:gd name="connsiteY4" fmla="*/ 3807451 h 5165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0" h="5165726">
                <a:moveTo>
                  <a:pt x="0" y="0"/>
                </a:moveTo>
                <a:lnTo>
                  <a:pt x="4857750" y="0"/>
                </a:lnTo>
                <a:lnTo>
                  <a:pt x="4857750" y="5165726"/>
                </a:lnTo>
                <a:lnTo>
                  <a:pt x="1358275" y="5165726"/>
                </a:lnTo>
                <a:cubicBezTo>
                  <a:pt x="608120" y="5165726"/>
                  <a:pt x="0" y="4557606"/>
                  <a:pt x="0" y="3807451"/>
                </a:cubicBezTo>
                <a:close/>
              </a:path>
            </a:pathLst>
          </a:custGeom>
        </p:spPr>
        <p:txBody>
          <a:bodyPr wrap="square">
            <a:noAutofit/>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de-DE" noProof="0"/>
              <a:t>Bild durch Klicken auf Symbol hinzufügen</a:t>
            </a:r>
            <a:endParaRPr lang="en-US"/>
          </a:p>
        </p:txBody>
      </p:sp>
    </p:spTree>
    <p:extLst>
      <p:ext uri="{BB962C8B-B14F-4D97-AF65-F5344CB8AC3E}">
        <p14:creationId xmlns:p14="http://schemas.microsoft.com/office/powerpoint/2010/main" val="248010300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Quote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026CF3-BCE9-9472-A4B9-B1D382CA9F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7" name="Object 6" hidden="1">
                        <a:extLst>
                          <a:ext uri="{FF2B5EF4-FFF2-40B4-BE49-F238E27FC236}">
                            <a16:creationId xmlns:a16="http://schemas.microsoft.com/office/drawing/2014/main" id="{8B026CF3-BCE9-9472-A4B9-B1D382CA9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itel 11">
            <a:extLst>
              <a:ext uri="{FF2B5EF4-FFF2-40B4-BE49-F238E27FC236}">
                <a16:creationId xmlns:a16="http://schemas.microsoft.com/office/drawing/2014/main" id="{9528F242-BD3B-01EB-134C-F8E7E359791F}"/>
              </a:ext>
            </a:extLst>
          </p:cNvPr>
          <p:cNvSpPr>
            <a:spLocks noGrp="1"/>
          </p:cNvSpPr>
          <p:nvPr>
            <p:ph type="title" hasCustomPrompt="1"/>
          </p:nvPr>
        </p:nvSpPr>
        <p:spPr bwMode="gray">
          <a:xfrm>
            <a:off x="4260850" y="1931779"/>
            <a:ext cx="7550150" cy="1615827"/>
          </a:xfrm>
        </p:spPr>
        <p:txBody>
          <a:bodyPr vert="horz" anchor="t" anchorCtr="0">
            <a:spAutoFit/>
          </a:bodyPr>
          <a:lstStyle>
            <a:lvl1pPr>
              <a:lnSpc>
                <a:spcPct val="120000"/>
              </a:lnSpc>
              <a:defRPr sz="3000">
                <a:solidFill>
                  <a:schemeClr val="tx2"/>
                </a:solidFill>
              </a:defRPr>
            </a:lvl1pPr>
          </a:lstStyle>
          <a:p>
            <a:r>
              <a:rPr lang="en-US" noProof="0"/>
              <a:t>Quote lorem ipsum</a:t>
            </a:r>
            <a:br>
              <a:rPr lang="en-US" noProof="0"/>
            </a:br>
            <a:br>
              <a:rPr lang="en-US" noProof="0"/>
            </a:br>
            <a:endParaRPr lang="en-US" noProof="0"/>
          </a:p>
        </p:txBody>
      </p:sp>
      <p:sp>
        <p:nvSpPr>
          <p:cNvPr id="13" name="Textfeld 12">
            <a:extLst>
              <a:ext uri="{FF2B5EF4-FFF2-40B4-BE49-F238E27FC236}">
                <a16:creationId xmlns:a16="http://schemas.microsoft.com/office/drawing/2014/main" id="{328D7683-162E-7913-135E-4F841CB805CD}"/>
              </a:ext>
            </a:extLst>
          </p:cNvPr>
          <p:cNvSpPr txBox="1"/>
          <p:nvPr/>
        </p:nvSpPr>
        <p:spPr bwMode="gray">
          <a:xfrm>
            <a:off x="3135288" y="1393376"/>
            <a:ext cx="1188648" cy="1273486"/>
          </a:xfrm>
          <a:prstGeom prst="rect">
            <a:avLst/>
          </a:prstGeom>
          <a:noFill/>
        </p:spPr>
        <p:txBody>
          <a:bodyPr wrap="square" lIns="0" tIns="0" rIns="0" bIns="0" rtlCol="0" anchor="t" anchorCtr="0">
            <a:noAutofit/>
          </a:bodyPr>
          <a:lstStyle/>
          <a:p>
            <a:r>
              <a:rPr lang="en-US" sz="16000" b="1" noProof="0">
                <a:solidFill>
                  <a:schemeClr val="tx2"/>
                </a:solidFill>
                <a:latin typeface="+mj-lt"/>
              </a:rPr>
              <a:t>”</a:t>
            </a:r>
          </a:p>
        </p:txBody>
      </p:sp>
      <p:pic>
        <p:nvPicPr>
          <p:cNvPr id="3" name="Grafik 2">
            <a:extLst>
              <a:ext uri="{FF2B5EF4-FFF2-40B4-BE49-F238E27FC236}">
                <a16:creationId xmlns:a16="http://schemas.microsoft.com/office/drawing/2014/main" id="{A6D96BAA-FDE4-28FE-7AEF-3F56BB4CD00C}"/>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bwMode="gray">
          <a:xfrm>
            <a:off x="11523000" y="6201700"/>
            <a:ext cx="288000" cy="288000"/>
          </a:xfrm>
          <a:prstGeom prst="rect">
            <a:avLst/>
          </a:prstGeom>
        </p:spPr>
      </p:pic>
      <p:sp>
        <p:nvSpPr>
          <p:cNvPr id="6" name="Textplatzhalter 3">
            <a:extLst>
              <a:ext uri="{FF2B5EF4-FFF2-40B4-BE49-F238E27FC236}">
                <a16:creationId xmlns:a16="http://schemas.microsoft.com/office/drawing/2014/main" id="{2C0747A9-A3E7-96FB-E929-23904A9EEA4E}"/>
              </a:ext>
            </a:extLst>
          </p:cNvPr>
          <p:cNvSpPr>
            <a:spLocks noGrp="1"/>
          </p:cNvSpPr>
          <p:nvPr>
            <p:ph type="body" sz="quarter" idx="14" hasCustomPrompt="1"/>
          </p:nvPr>
        </p:nvSpPr>
        <p:spPr bwMode="gray">
          <a:xfrm>
            <a:off x="382587" y="265541"/>
            <a:ext cx="11428413" cy="136525"/>
          </a:xfrm>
        </p:spPr>
        <p:txBody>
          <a:bodyPr anchor="b" anchorCtr="0">
            <a:noAutofit/>
          </a:bodyPr>
          <a:lstStyle>
            <a:lvl1pPr marL="0" indent="0">
              <a:buNone/>
              <a:defRPr sz="1000">
                <a:solidFill>
                  <a:schemeClr val="tx2"/>
                </a:solidFill>
              </a:defRPr>
            </a:lvl1pPr>
          </a:lstStyle>
          <a:p>
            <a:pPr lvl="0"/>
            <a:r>
              <a:rPr lang="en-US" noProof="0"/>
              <a:t>Topline</a:t>
            </a:r>
          </a:p>
        </p:txBody>
      </p:sp>
      <p:sp>
        <p:nvSpPr>
          <p:cNvPr id="4" name="Date Placeholder 3">
            <a:extLst>
              <a:ext uri="{FF2B5EF4-FFF2-40B4-BE49-F238E27FC236}">
                <a16:creationId xmlns:a16="http://schemas.microsoft.com/office/drawing/2014/main" id="{F0797FCB-13B1-A3B1-1025-6D435EDC4D68}"/>
              </a:ext>
            </a:extLst>
          </p:cNvPr>
          <p:cNvSpPr>
            <a:spLocks noGrp="1"/>
          </p:cNvSpPr>
          <p:nvPr>
            <p:ph type="dt" sz="half" idx="23"/>
          </p:nvPr>
        </p:nvSpPr>
        <p:spPr bwMode="gray"/>
        <p:txBody>
          <a:bodyPr/>
          <a:lstStyle/>
          <a:p>
            <a:fld id="{FBF22C74-D3E8-48BA-9D89-D2847466EE91}" type="datetime1">
              <a:rPr lang="en-US" noProof="0" smtClean="0"/>
              <a:t>10/31/2024</a:t>
            </a:fld>
            <a:endParaRPr lang="en-US" noProof="0"/>
          </a:p>
        </p:txBody>
      </p:sp>
      <p:sp>
        <p:nvSpPr>
          <p:cNvPr id="8" name="Footer Placeholder 7">
            <a:extLst>
              <a:ext uri="{FF2B5EF4-FFF2-40B4-BE49-F238E27FC236}">
                <a16:creationId xmlns:a16="http://schemas.microsoft.com/office/drawing/2014/main" id="{AB475B5C-40E9-CFD0-B13B-D01A832FEA01}"/>
              </a:ext>
            </a:extLst>
          </p:cNvPr>
          <p:cNvSpPr>
            <a:spLocks noGrp="1"/>
          </p:cNvSpPr>
          <p:nvPr>
            <p:ph type="ftr" sz="quarter" idx="24"/>
          </p:nvPr>
        </p:nvSpPr>
        <p:spPr bwMode="gray"/>
        <p:txBody>
          <a:bodyPr/>
          <a:lstStyle/>
          <a:p>
            <a:r>
              <a:rPr lang="en-US" noProof="0"/>
              <a:t>Group Presentation</a:t>
            </a:r>
          </a:p>
        </p:txBody>
      </p:sp>
      <p:sp>
        <p:nvSpPr>
          <p:cNvPr id="20" name="Slide Number Placeholder 19">
            <a:extLst>
              <a:ext uri="{FF2B5EF4-FFF2-40B4-BE49-F238E27FC236}">
                <a16:creationId xmlns:a16="http://schemas.microsoft.com/office/drawing/2014/main" id="{CDB59002-1255-6078-3309-DFB1C7120D2D}"/>
              </a:ext>
            </a:extLst>
          </p:cNvPr>
          <p:cNvSpPr>
            <a:spLocks noGrp="1"/>
          </p:cNvSpPr>
          <p:nvPr>
            <p:ph type="sldNum" sz="quarter" idx="40"/>
          </p:nvPr>
        </p:nvSpPr>
        <p:spPr bwMode="gray"/>
        <p:txBody>
          <a:bodyPr/>
          <a:lstStyle/>
          <a:p>
            <a:fld id="{A115CDC9-74CB-4F6C-8CD3-A6C89F254EE7}" type="slidenum">
              <a:rPr lang="en-US" noProof="0" smtClean="0"/>
              <a:pPr/>
              <a:t>‹#›</a:t>
            </a:fld>
            <a:endParaRPr lang="en-US" noProof="0"/>
          </a:p>
        </p:txBody>
      </p:sp>
      <p:sp>
        <p:nvSpPr>
          <p:cNvPr id="21" name="Textplatzhalter 17">
            <a:extLst>
              <a:ext uri="{FF2B5EF4-FFF2-40B4-BE49-F238E27FC236}">
                <a16:creationId xmlns:a16="http://schemas.microsoft.com/office/drawing/2014/main" id="{62E704E2-AB68-4955-E1C7-316B83D5A5B8}"/>
              </a:ext>
            </a:extLst>
          </p:cNvPr>
          <p:cNvSpPr>
            <a:spLocks noGrp="1"/>
          </p:cNvSpPr>
          <p:nvPr>
            <p:ph type="body" sz="quarter" idx="39" hasCustomPrompt="1"/>
          </p:nvPr>
        </p:nvSpPr>
        <p:spPr bwMode="gray">
          <a:xfrm>
            <a:off x="4260850" y="3568509"/>
            <a:ext cx="7550150" cy="528810"/>
          </a:xfrm>
        </p:spPr>
        <p:txBody>
          <a:bodyPr tIns="360000" anchor="b" anchorCtr="0">
            <a:noAutofit/>
          </a:bodyPr>
          <a:lstStyle>
            <a:lvl1pPr marL="0" indent="0">
              <a:spcBef>
                <a:spcPts val="0"/>
              </a:spcBef>
              <a:buNone/>
              <a:defRPr sz="1000">
                <a:solidFill>
                  <a:schemeClr val="tx2"/>
                </a:solidFill>
              </a:defRPr>
            </a:lvl1pPr>
          </a:lstStyle>
          <a:p>
            <a:pPr lvl="0"/>
            <a:r>
              <a:rPr lang="en-US" noProof="0"/>
              <a:t>First name </a:t>
            </a:r>
            <a:r>
              <a:rPr lang="en-US" noProof="0" err="1"/>
              <a:t>Name</a:t>
            </a:r>
            <a:endParaRPr lang="en-US" noProof="0"/>
          </a:p>
          <a:p>
            <a:pPr lvl="0"/>
            <a:r>
              <a:rPr lang="en-US" noProof="0"/>
              <a:t>Function, Department</a:t>
            </a:r>
          </a:p>
        </p:txBody>
      </p:sp>
      <p:sp>
        <p:nvSpPr>
          <p:cNvPr id="9" name="Bildplatzhalter 19">
            <a:extLst>
              <a:ext uri="{FF2B5EF4-FFF2-40B4-BE49-F238E27FC236}">
                <a16:creationId xmlns:a16="http://schemas.microsoft.com/office/drawing/2014/main" id="{F39A7CF6-4924-A210-E3DB-07D6509E83AA}"/>
              </a:ext>
            </a:extLst>
          </p:cNvPr>
          <p:cNvSpPr>
            <a:spLocks noGrp="1"/>
          </p:cNvSpPr>
          <p:nvPr>
            <p:ph type="pic" sz="quarter" idx="22" hasCustomPrompt="1"/>
          </p:nvPr>
        </p:nvSpPr>
        <p:spPr bwMode="gray">
          <a:xfrm>
            <a:off x="1025514" y="6410506"/>
            <a:ext cx="1062384" cy="103295"/>
          </a:xfrm>
          <a:blipFill>
            <a:blip r:embed="rId6"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79430996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Quote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9BE747-69D4-BE40-4798-C5250BE5FA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D39BE747-69D4-BE40-4798-C5250BE5F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itel 11">
            <a:extLst>
              <a:ext uri="{FF2B5EF4-FFF2-40B4-BE49-F238E27FC236}">
                <a16:creationId xmlns:a16="http://schemas.microsoft.com/office/drawing/2014/main" id="{9528F242-BD3B-01EB-134C-F8E7E359791F}"/>
              </a:ext>
            </a:extLst>
          </p:cNvPr>
          <p:cNvSpPr>
            <a:spLocks noGrp="1"/>
          </p:cNvSpPr>
          <p:nvPr>
            <p:ph type="title" hasCustomPrompt="1"/>
          </p:nvPr>
        </p:nvSpPr>
        <p:spPr bwMode="gray">
          <a:xfrm>
            <a:off x="4260850" y="1931779"/>
            <a:ext cx="7550150" cy="1636730"/>
          </a:xfrm>
        </p:spPr>
        <p:txBody>
          <a:bodyPr vert="horz" wrap="square" anchor="t" anchorCtr="0">
            <a:spAutoFit/>
          </a:bodyPr>
          <a:lstStyle>
            <a:lvl1pPr>
              <a:lnSpc>
                <a:spcPct val="120000"/>
              </a:lnSpc>
              <a:defRPr sz="3000">
                <a:solidFill>
                  <a:schemeClr val="bg1"/>
                </a:solidFill>
              </a:defRPr>
            </a:lvl1pPr>
          </a:lstStyle>
          <a:p>
            <a:r>
              <a:rPr lang="en-US" noProof="0"/>
              <a:t>Quote lorem ipsum</a:t>
            </a:r>
            <a:br>
              <a:rPr lang="en-US" noProof="0"/>
            </a:br>
            <a:br>
              <a:rPr lang="en-US" noProof="0"/>
            </a:br>
            <a:endParaRPr lang="en-US" noProof="0"/>
          </a:p>
        </p:txBody>
      </p:sp>
      <p:sp>
        <p:nvSpPr>
          <p:cNvPr id="13" name="Textfeld 12">
            <a:extLst>
              <a:ext uri="{FF2B5EF4-FFF2-40B4-BE49-F238E27FC236}">
                <a16:creationId xmlns:a16="http://schemas.microsoft.com/office/drawing/2014/main" id="{328D7683-162E-7913-135E-4F841CB805CD}"/>
              </a:ext>
            </a:extLst>
          </p:cNvPr>
          <p:cNvSpPr txBox="1"/>
          <p:nvPr/>
        </p:nvSpPr>
        <p:spPr bwMode="gray">
          <a:xfrm>
            <a:off x="3135288" y="1393376"/>
            <a:ext cx="1188648" cy="1273486"/>
          </a:xfrm>
          <a:prstGeom prst="rect">
            <a:avLst/>
          </a:prstGeom>
          <a:noFill/>
        </p:spPr>
        <p:txBody>
          <a:bodyPr wrap="square" lIns="0" tIns="0" rIns="0" bIns="0" rtlCol="0" anchor="t" anchorCtr="0">
            <a:noAutofit/>
          </a:bodyPr>
          <a:lstStyle/>
          <a:p>
            <a:r>
              <a:rPr lang="en-US" sz="16000" b="1" noProof="0">
                <a:solidFill>
                  <a:schemeClr val="bg1"/>
                </a:solidFill>
                <a:latin typeface="+mj-lt"/>
              </a:rPr>
              <a:t>”</a:t>
            </a:r>
          </a:p>
        </p:txBody>
      </p:sp>
      <p:grpSp>
        <p:nvGrpSpPr>
          <p:cNvPr id="7" name="object 8">
            <a:extLst>
              <a:ext uri="{FF2B5EF4-FFF2-40B4-BE49-F238E27FC236}">
                <a16:creationId xmlns:a16="http://schemas.microsoft.com/office/drawing/2014/main" id="{BA33DC19-F39D-9A71-68F5-5C370C2AD846}"/>
              </a:ext>
            </a:extLst>
          </p:cNvPr>
          <p:cNvGrpSpPr/>
          <p:nvPr/>
        </p:nvGrpSpPr>
        <p:grpSpPr bwMode="gray">
          <a:xfrm>
            <a:off x="11523000" y="6201700"/>
            <a:ext cx="288000" cy="288000"/>
            <a:chOff x="18934851" y="10156759"/>
            <a:chExt cx="523875" cy="523875"/>
          </a:xfrm>
        </p:grpSpPr>
        <p:sp>
          <p:nvSpPr>
            <p:cNvPr id="11" name="object 9">
              <a:extLst>
                <a:ext uri="{FF2B5EF4-FFF2-40B4-BE49-F238E27FC236}">
                  <a16:creationId xmlns:a16="http://schemas.microsoft.com/office/drawing/2014/main" id="{801BE55F-9606-31E1-7763-7FEB8EC6F232}"/>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14" name="object 10">
              <a:extLst>
                <a:ext uri="{FF2B5EF4-FFF2-40B4-BE49-F238E27FC236}">
                  <a16:creationId xmlns:a16="http://schemas.microsoft.com/office/drawing/2014/main" id="{AC519FB5-1AEA-E042-F41C-04E9DA964A51}"/>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15" name="object 11">
              <a:extLst>
                <a:ext uri="{FF2B5EF4-FFF2-40B4-BE49-F238E27FC236}">
                  <a16:creationId xmlns:a16="http://schemas.microsoft.com/office/drawing/2014/main" id="{0DAF7A71-5B8A-32B5-28AC-258011C3E65B}"/>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3" name="Textplatzhalter 3">
            <a:extLst>
              <a:ext uri="{FF2B5EF4-FFF2-40B4-BE49-F238E27FC236}">
                <a16:creationId xmlns:a16="http://schemas.microsoft.com/office/drawing/2014/main" id="{D8971AA6-A8A8-C7C8-5EBF-D2786C0E8144}"/>
              </a:ext>
            </a:extLst>
          </p:cNvPr>
          <p:cNvSpPr>
            <a:spLocks noGrp="1"/>
          </p:cNvSpPr>
          <p:nvPr>
            <p:ph type="body" sz="quarter" idx="14" hasCustomPrompt="1"/>
          </p:nvPr>
        </p:nvSpPr>
        <p:spPr bwMode="gray">
          <a:xfrm>
            <a:off x="382587" y="265541"/>
            <a:ext cx="11428413" cy="136525"/>
          </a:xfrm>
        </p:spPr>
        <p:txBody>
          <a:bodyPr anchor="b" anchorCtr="0">
            <a:noAutofit/>
          </a:bodyPr>
          <a:lstStyle>
            <a:lvl1pPr marL="0" indent="0">
              <a:buNone/>
              <a:defRPr sz="1000">
                <a:solidFill>
                  <a:schemeClr val="bg1"/>
                </a:solidFill>
              </a:defRPr>
            </a:lvl1pPr>
          </a:lstStyle>
          <a:p>
            <a:pPr lvl="0"/>
            <a:r>
              <a:rPr lang="en-US" noProof="0"/>
              <a:t>Topline</a:t>
            </a:r>
          </a:p>
        </p:txBody>
      </p:sp>
      <p:sp>
        <p:nvSpPr>
          <p:cNvPr id="21" name="Date Placeholder 20">
            <a:extLst>
              <a:ext uri="{FF2B5EF4-FFF2-40B4-BE49-F238E27FC236}">
                <a16:creationId xmlns:a16="http://schemas.microsoft.com/office/drawing/2014/main" id="{6EAB4C59-066B-52F6-30C5-B303CB95353A}"/>
              </a:ext>
            </a:extLst>
          </p:cNvPr>
          <p:cNvSpPr>
            <a:spLocks noGrp="1"/>
          </p:cNvSpPr>
          <p:nvPr>
            <p:ph type="dt" sz="half" idx="40"/>
          </p:nvPr>
        </p:nvSpPr>
        <p:spPr bwMode="gray"/>
        <p:txBody>
          <a:bodyPr/>
          <a:lstStyle>
            <a:lvl1pPr>
              <a:defRPr>
                <a:solidFill>
                  <a:schemeClr val="bg1"/>
                </a:solidFill>
              </a:defRPr>
            </a:lvl1pPr>
          </a:lstStyle>
          <a:p>
            <a:fld id="{E30FC882-2A42-4320-A9C9-E24AA85973EC}" type="datetime1">
              <a:rPr lang="en-US" noProof="0" smtClean="0"/>
              <a:t>10/31/2024</a:t>
            </a:fld>
            <a:endParaRPr lang="en-US" noProof="0"/>
          </a:p>
        </p:txBody>
      </p:sp>
      <p:sp>
        <p:nvSpPr>
          <p:cNvPr id="22" name="Footer Placeholder 21">
            <a:extLst>
              <a:ext uri="{FF2B5EF4-FFF2-40B4-BE49-F238E27FC236}">
                <a16:creationId xmlns:a16="http://schemas.microsoft.com/office/drawing/2014/main" id="{A2494D20-7786-F9C5-4D69-F427B868B562}"/>
              </a:ext>
            </a:extLst>
          </p:cNvPr>
          <p:cNvSpPr>
            <a:spLocks noGrp="1"/>
          </p:cNvSpPr>
          <p:nvPr>
            <p:ph type="ftr" sz="quarter" idx="41"/>
          </p:nvPr>
        </p:nvSpPr>
        <p:spPr bwMode="gray"/>
        <p:txBody>
          <a:bodyPr/>
          <a:lstStyle>
            <a:lvl1pPr>
              <a:defRPr>
                <a:solidFill>
                  <a:schemeClr val="bg1"/>
                </a:solidFill>
              </a:defRPr>
            </a:lvl1pPr>
          </a:lstStyle>
          <a:p>
            <a:r>
              <a:rPr lang="en-US" noProof="0"/>
              <a:t>Group Presentation</a:t>
            </a:r>
          </a:p>
        </p:txBody>
      </p:sp>
      <p:sp>
        <p:nvSpPr>
          <p:cNvPr id="23" name="Slide Number Placeholder 22">
            <a:extLst>
              <a:ext uri="{FF2B5EF4-FFF2-40B4-BE49-F238E27FC236}">
                <a16:creationId xmlns:a16="http://schemas.microsoft.com/office/drawing/2014/main" id="{925C5F23-020F-D532-B9D0-18F02789CEFE}"/>
              </a:ext>
            </a:extLst>
          </p:cNvPr>
          <p:cNvSpPr>
            <a:spLocks noGrp="1"/>
          </p:cNvSpPr>
          <p:nvPr>
            <p:ph type="sldNum" sz="quarter" idx="42"/>
          </p:nvPr>
        </p:nvSpPr>
        <p:spPr bwMode="gray"/>
        <p:txBody>
          <a:bodyPr/>
          <a:lstStyle>
            <a:lvl1pPr>
              <a:defRPr>
                <a:solidFill>
                  <a:schemeClr val="bg1"/>
                </a:solidFill>
              </a:defRPr>
            </a:lvl1pPr>
          </a:lstStyle>
          <a:p>
            <a:fld id="{A115CDC9-74CB-4F6C-8CD3-A6C89F254EE7}" type="slidenum">
              <a:rPr lang="en-US" noProof="0" smtClean="0"/>
              <a:pPr/>
              <a:t>‹#›</a:t>
            </a:fld>
            <a:endParaRPr lang="en-US" noProof="0"/>
          </a:p>
        </p:txBody>
      </p:sp>
      <p:sp>
        <p:nvSpPr>
          <p:cNvPr id="24" name="Textplatzhalter 17">
            <a:extLst>
              <a:ext uri="{FF2B5EF4-FFF2-40B4-BE49-F238E27FC236}">
                <a16:creationId xmlns:a16="http://schemas.microsoft.com/office/drawing/2014/main" id="{3021DC27-EA68-F613-3DE7-12EBDA2A8DD9}"/>
              </a:ext>
            </a:extLst>
          </p:cNvPr>
          <p:cNvSpPr>
            <a:spLocks noGrp="1"/>
          </p:cNvSpPr>
          <p:nvPr>
            <p:ph type="body" sz="quarter" idx="39" hasCustomPrompt="1"/>
          </p:nvPr>
        </p:nvSpPr>
        <p:spPr bwMode="gray">
          <a:xfrm>
            <a:off x="4260850" y="3568509"/>
            <a:ext cx="7550150" cy="528810"/>
          </a:xfrm>
        </p:spPr>
        <p:txBody>
          <a:bodyPr tIns="360000" anchor="b" anchorCtr="0">
            <a:noAutofit/>
          </a:bodyPr>
          <a:lstStyle>
            <a:lvl1pPr marL="0" indent="0">
              <a:spcBef>
                <a:spcPts val="0"/>
              </a:spcBef>
              <a:buNone/>
              <a:defRPr sz="1000">
                <a:solidFill>
                  <a:schemeClr val="bg1"/>
                </a:solidFill>
              </a:defRPr>
            </a:lvl1pPr>
          </a:lstStyle>
          <a:p>
            <a:pPr lvl="0"/>
            <a:r>
              <a:rPr lang="en-US" noProof="0"/>
              <a:t>First name </a:t>
            </a:r>
            <a:r>
              <a:rPr lang="en-US" noProof="0" err="1"/>
              <a:t>Name</a:t>
            </a:r>
            <a:endParaRPr lang="en-US" noProof="0"/>
          </a:p>
          <a:p>
            <a:pPr lvl="0"/>
            <a:r>
              <a:rPr lang="en-US" noProof="0"/>
              <a:t>Function, Department</a:t>
            </a:r>
          </a:p>
        </p:txBody>
      </p:sp>
      <p:sp>
        <p:nvSpPr>
          <p:cNvPr id="4" name="Bildplatzhalter 19">
            <a:extLst>
              <a:ext uri="{FF2B5EF4-FFF2-40B4-BE49-F238E27FC236}">
                <a16:creationId xmlns:a16="http://schemas.microsoft.com/office/drawing/2014/main" id="{93CD882A-7E5D-97E5-A907-6DDBD4E14E8A}"/>
              </a:ext>
            </a:extLst>
          </p:cNvPr>
          <p:cNvSpPr>
            <a:spLocks noGrp="1"/>
          </p:cNvSpPr>
          <p:nvPr>
            <p:ph type="pic" sz="quarter" idx="43"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404577882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E19A07-746D-2D9B-F855-5F2CC71A9E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4" name="Object 3" hidden="1">
                        <a:extLst>
                          <a:ext uri="{FF2B5EF4-FFF2-40B4-BE49-F238E27FC236}">
                            <a16:creationId xmlns:a16="http://schemas.microsoft.com/office/drawing/2014/main" id="{09E19A07-746D-2D9B-F855-5F2CC71A9E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Bildplatzhalter 23">
            <a:extLst>
              <a:ext uri="{FF2B5EF4-FFF2-40B4-BE49-F238E27FC236}">
                <a16:creationId xmlns:a16="http://schemas.microsoft.com/office/drawing/2014/main" id="{99DE7B15-DCA0-0D30-8D96-FAF6090C900D}"/>
              </a:ext>
            </a:extLst>
          </p:cNvPr>
          <p:cNvSpPr>
            <a:spLocks noGrp="1"/>
          </p:cNvSpPr>
          <p:nvPr>
            <p:ph type="pic" sz="quarter" idx="18" hasCustomPrompt="1"/>
          </p:nvPr>
        </p:nvSpPr>
        <p:spPr>
          <a:xfrm>
            <a:off x="8127840" y="3746204"/>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23" name="Bildplatzhalter 22">
            <a:extLst>
              <a:ext uri="{FF2B5EF4-FFF2-40B4-BE49-F238E27FC236}">
                <a16:creationId xmlns:a16="http://schemas.microsoft.com/office/drawing/2014/main" id="{07E3C596-F18A-15FD-66E2-11E5DDC3B11A}"/>
              </a:ext>
            </a:extLst>
          </p:cNvPr>
          <p:cNvSpPr>
            <a:spLocks noGrp="1"/>
          </p:cNvSpPr>
          <p:nvPr>
            <p:ph type="pic" sz="quarter" idx="17" hasCustomPrompt="1"/>
          </p:nvPr>
        </p:nvSpPr>
        <p:spPr>
          <a:xfrm>
            <a:off x="8127840" y="1572762"/>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22" name="Bildplatzhalter 21">
            <a:extLst>
              <a:ext uri="{FF2B5EF4-FFF2-40B4-BE49-F238E27FC236}">
                <a16:creationId xmlns:a16="http://schemas.microsoft.com/office/drawing/2014/main" id="{C691EA09-7E71-6539-AE94-7852DAE061DF}"/>
              </a:ext>
            </a:extLst>
          </p:cNvPr>
          <p:cNvSpPr>
            <a:spLocks noGrp="1"/>
          </p:cNvSpPr>
          <p:nvPr>
            <p:ph type="pic" sz="quarter" idx="16" hasCustomPrompt="1"/>
          </p:nvPr>
        </p:nvSpPr>
        <p:spPr>
          <a:xfrm>
            <a:off x="4254645" y="3746204"/>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21" name="Bildplatzhalter 20">
            <a:extLst>
              <a:ext uri="{FF2B5EF4-FFF2-40B4-BE49-F238E27FC236}">
                <a16:creationId xmlns:a16="http://schemas.microsoft.com/office/drawing/2014/main" id="{646274DF-2607-6E42-93B0-BEE397BD9AB6}"/>
              </a:ext>
            </a:extLst>
          </p:cNvPr>
          <p:cNvSpPr>
            <a:spLocks noGrp="1"/>
          </p:cNvSpPr>
          <p:nvPr>
            <p:ph type="pic" sz="quarter" idx="15" hasCustomPrompt="1"/>
          </p:nvPr>
        </p:nvSpPr>
        <p:spPr>
          <a:xfrm>
            <a:off x="4254646" y="1572762"/>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20" name="Bildplatzhalter 19">
            <a:extLst>
              <a:ext uri="{FF2B5EF4-FFF2-40B4-BE49-F238E27FC236}">
                <a16:creationId xmlns:a16="http://schemas.microsoft.com/office/drawing/2014/main" id="{B57DAD3D-CF90-52DF-FFF3-4E16D67B88E5}"/>
              </a:ext>
            </a:extLst>
          </p:cNvPr>
          <p:cNvSpPr>
            <a:spLocks noGrp="1"/>
          </p:cNvSpPr>
          <p:nvPr>
            <p:ph type="pic" sz="quarter" idx="14" hasCustomPrompt="1"/>
          </p:nvPr>
        </p:nvSpPr>
        <p:spPr>
          <a:xfrm>
            <a:off x="381451" y="3746204"/>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19" name="Bildplatzhalter 18">
            <a:extLst>
              <a:ext uri="{FF2B5EF4-FFF2-40B4-BE49-F238E27FC236}">
                <a16:creationId xmlns:a16="http://schemas.microsoft.com/office/drawing/2014/main" id="{ED1F137F-0BFA-343F-110B-26AD4466202A}"/>
              </a:ext>
            </a:extLst>
          </p:cNvPr>
          <p:cNvSpPr>
            <a:spLocks noGrp="1"/>
          </p:cNvSpPr>
          <p:nvPr>
            <p:ph type="pic" sz="quarter" idx="13" hasCustomPrompt="1"/>
          </p:nvPr>
        </p:nvSpPr>
        <p:spPr>
          <a:xfrm>
            <a:off x="381452" y="1572762"/>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2" name="Titel 1">
            <a:extLst>
              <a:ext uri="{FF2B5EF4-FFF2-40B4-BE49-F238E27FC236}">
                <a16:creationId xmlns:a16="http://schemas.microsoft.com/office/drawing/2014/main" id="{6CF9C23E-BE04-F971-692A-7BB38E039615}"/>
              </a:ext>
            </a:extLst>
          </p:cNvPr>
          <p:cNvSpPr>
            <a:spLocks noGrp="1"/>
          </p:cNvSpPr>
          <p:nvPr>
            <p:ph type="title" hasCustomPrompt="1"/>
          </p:nvPr>
        </p:nvSpPr>
        <p:spPr/>
        <p:txBody>
          <a:bodyPr vert="horz"/>
          <a:lstStyle/>
          <a:p>
            <a:r>
              <a:rPr lang="en-US" noProof="0"/>
              <a:t>Slide heading</a:t>
            </a:r>
          </a:p>
        </p:txBody>
      </p:sp>
      <p:sp>
        <p:nvSpPr>
          <p:cNvPr id="9" name="Textplatzhalter 8">
            <a:extLst>
              <a:ext uri="{FF2B5EF4-FFF2-40B4-BE49-F238E27FC236}">
                <a16:creationId xmlns:a16="http://schemas.microsoft.com/office/drawing/2014/main" id="{43D7D8B9-97D3-2F7B-572E-D823B4E09664}"/>
              </a:ext>
            </a:extLst>
          </p:cNvPr>
          <p:cNvSpPr>
            <a:spLocks noGrp="1"/>
          </p:cNvSpPr>
          <p:nvPr>
            <p:ph type="body" sz="quarter" idx="23" hasCustomPrompt="1"/>
          </p:nvPr>
        </p:nvSpPr>
        <p:spPr>
          <a:xfrm>
            <a:off x="5997415" y="1573213"/>
            <a:ext cx="1941513" cy="376895"/>
          </a:xfrm>
        </p:spPr>
        <p:txBody>
          <a:bodyPr>
            <a:noAutofit/>
          </a:bodyPr>
          <a:lstStyle>
            <a:lvl1pPr marL="0" indent="0">
              <a:lnSpc>
                <a:spcPct val="100000"/>
              </a:lnSpc>
              <a:spcBef>
                <a:spcPts val="0"/>
              </a:spcBef>
              <a:buNone/>
              <a:defRPr b="1">
                <a:latin typeface="+mj-lt"/>
              </a:defRPr>
            </a:lvl1pPr>
          </a:lstStyle>
          <a:p>
            <a:r>
              <a:rPr lang="en-US"/>
              <a:t>First name</a:t>
            </a:r>
            <a:br>
              <a:rPr lang="en-US"/>
            </a:br>
            <a:r>
              <a:rPr lang="en-US"/>
              <a:t>Name</a:t>
            </a:r>
          </a:p>
        </p:txBody>
      </p:sp>
      <p:sp>
        <p:nvSpPr>
          <p:cNvPr id="11" name="Textplatzhalter 10">
            <a:extLst>
              <a:ext uri="{FF2B5EF4-FFF2-40B4-BE49-F238E27FC236}">
                <a16:creationId xmlns:a16="http://schemas.microsoft.com/office/drawing/2014/main" id="{B5CF3BFA-7A25-34C6-2979-E872DEF4E95E}"/>
              </a:ext>
            </a:extLst>
          </p:cNvPr>
          <p:cNvSpPr>
            <a:spLocks noGrp="1"/>
          </p:cNvSpPr>
          <p:nvPr>
            <p:ph type="body" sz="quarter" idx="24" hasCustomPrompt="1"/>
          </p:nvPr>
        </p:nvSpPr>
        <p:spPr>
          <a:xfrm>
            <a:off x="5997575" y="1950108"/>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12" name="Textplatzhalter 8">
            <a:extLst>
              <a:ext uri="{FF2B5EF4-FFF2-40B4-BE49-F238E27FC236}">
                <a16:creationId xmlns:a16="http://schemas.microsoft.com/office/drawing/2014/main" id="{0264E892-285F-4938-8A69-A1A3D140AD27}"/>
              </a:ext>
            </a:extLst>
          </p:cNvPr>
          <p:cNvSpPr>
            <a:spLocks noGrp="1"/>
          </p:cNvSpPr>
          <p:nvPr>
            <p:ph type="body" sz="quarter" idx="25" hasCustomPrompt="1"/>
          </p:nvPr>
        </p:nvSpPr>
        <p:spPr>
          <a:xfrm>
            <a:off x="5997415" y="3746204"/>
            <a:ext cx="1941513" cy="376895"/>
          </a:xfrm>
        </p:spPr>
        <p:txBody>
          <a:bodyPr>
            <a:noAutofit/>
          </a:bodyPr>
          <a:lstStyle>
            <a:lvl1pPr marL="0" indent="0">
              <a:lnSpc>
                <a:spcPct val="100000"/>
              </a:lnSpc>
              <a:spcBef>
                <a:spcPts val="0"/>
              </a:spcBef>
              <a:buNone/>
              <a:defRPr b="1">
                <a:latin typeface="+mj-lt"/>
              </a:defRPr>
            </a:lvl1pPr>
          </a:lstStyle>
          <a:p>
            <a:r>
              <a:rPr lang="en-US"/>
              <a:t>First name</a:t>
            </a:r>
            <a:br>
              <a:rPr lang="en-US"/>
            </a:br>
            <a:r>
              <a:rPr lang="en-US"/>
              <a:t>Name</a:t>
            </a:r>
          </a:p>
        </p:txBody>
      </p:sp>
      <p:sp>
        <p:nvSpPr>
          <p:cNvPr id="13" name="Textplatzhalter 10">
            <a:extLst>
              <a:ext uri="{FF2B5EF4-FFF2-40B4-BE49-F238E27FC236}">
                <a16:creationId xmlns:a16="http://schemas.microsoft.com/office/drawing/2014/main" id="{B8BC8AE4-BE09-9478-4478-CE74974B5BD7}"/>
              </a:ext>
            </a:extLst>
          </p:cNvPr>
          <p:cNvSpPr>
            <a:spLocks noGrp="1"/>
          </p:cNvSpPr>
          <p:nvPr>
            <p:ph type="body" sz="quarter" idx="26" hasCustomPrompt="1"/>
          </p:nvPr>
        </p:nvSpPr>
        <p:spPr>
          <a:xfrm>
            <a:off x="5997575" y="4123099"/>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14" name="Textplatzhalter 8">
            <a:extLst>
              <a:ext uri="{FF2B5EF4-FFF2-40B4-BE49-F238E27FC236}">
                <a16:creationId xmlns:a16="http://schemas.microsoft.com/office/drawing/2014/main" id="{C2AD8F4B-B816-DD4B-AFCF-515701BAE9CF}"/>
              </a:ext>
            </a:extLst>
          </p:cNvPr>
          <p:cNvSpPr>
            <a:spLocks noGrp="1"/>
          </p:cNvSpPr>
          <p:nvPr>
            <p:ph type="body" sz="quarter" idx="27" hasCustomPrompt="1"/>
          </p:nvPr>
        </p:nvSpPr>
        <p:spPr>
          <a:xfrm>
            <a:off x="2120740" y="1573213"/>
            <a:ext cx="1941513" cy="376895"/>
          </a:xfrm>
        </p:spPr>
        <p:txBody>
          <a:bodyPr>
            <a:noAutofit/>
          </a:bodyPr>
          <a:lstStyle>
            <a:lvl1pPr marL="0" indent="0">
              <a:lnSpc>
                <a:spcPct val="100000"/>
              </a:lnSpc>
              <a:spcBef>
                <a:spcPts val="0"/>
              </a:spcBef>
              <a:buNone/>
              <a:defRPr b="1">
                <a:latin typeface="+mj-lt"/>
              </a:defRPr>
            </a:lvl1pPr>
          </a:lstStyle>
          <a:p>
            <a:r>
              <a:rPr lang="en-US"/>
              <a:t>First name</a:t>
            </a:r>
          </a:p>
          <a:p>
            <a:r>
              <a:rPr lang="en-US"/>
              <a:t>Name</a:t>
            </a:r>
          </a:p>
        </p:txBody>
      </p:sp>
      <p:sp>
        <p:nvSpPr>
          <p:cNvPr id="15" name="Textplatzhalter 10">
            <a:extLst>
              <a:ext uri="{FF2B5EF4-FFF2-40B4-BE49-F238E27FC236}">
                <a16:creationId xmlns:a16="http://schemas.microsoft.com/office/drawing/2014/main" id="{8959E892-BD1B-3EFD-E26F-896B02E4F5C4}"/>
              </a:ext>
            </a:extLst>
          </p:cNvPr>
          <p:cNvSpPr>
            <a:spLocks noGrp="1"/>
          </p:cNvSpPr>
          <p:nvPr>
            <p:ph type="body" sz="quarter" idx="28" hasCustomPrompt="1"/>
          </p:nvPr>
        </p:nvSpPr>
        <p:spPr>
          <a:xfrm>
            <a:off x="2120900" y="1985595"/>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16" name="Textplatzhalter 8">
            <a:extLst>
              <a:ext uri="{FF2B5EF4-FFF2-40B4-BE49-F238E27FC236}">
                <a16:creationId xmlns:a16="http://schemas.microsoft.com/office/drawing/2014/main" id="{C36E39FE-1CD2-789A-33B8-EF5024921606}"/>
              </a:ext>
            </a:extLst>
          </p:cNvPr>
          <p:cNvSpPr>
            <a:spLocks noGrp="1"/>
          </p:cNvSpPr>
          <p:nvPr>
            <p:ph type="body" sz="quarter" idx="29" hasCustomPrompt="1"/>
          </p:nvPr>
        </p:nvSpPr>
        <p:spPr>
          <a:xfrm>
            <a:off x="2120740" y="3746204"/>
            <a:ext cx="1941513" cy="376895"/>
          </a:xfrm>
        </p:spPr>
        <p:txBody>
          <a:bodyPr>
            <a:noAutofit/>
          </a:bodyPr>
          <a:lstStyle>
            <a:lvl1pPr marL="0" indent="0">
              <a:lnSpc>
                <a:spcPct val="100000"/>
              </a:lnSpc>
              <a:spcBef>
                <a:spcPts val="0"/>
              </a:spcBef>
              <a:buNone/>
              <a:defRPr b="1">
                <a:latin typeface="+mj-lt"/>
              </a:defRPr>
            </a:lvl1pPr>
          </a:lstStyle>
          <a:p>
            <a:r>
              <a:rPr lang="en-US"/>
              <a:t>First name</a:t>
            </a:r>
            <a:br>
              <a:rPr lang="en-US"/>
            </a:br>
            <a:r>
              <a:rPr lang="en-US"/>
              <a:t>Name</a:t>
            </a:r>
          </a:p>
        </p:txBody>
      </p:sp>
      <p:sp>
        <p:nvSpPr>
          <p:cNvPr id="17" name="Textplatzhalter 10">
            <a:extLst>
              <a:ext uri="{FF2B5EF4-FFF2-40B4-BE49-F238E27FC236}">
                <a16:creationId xmlns:a16="http://schemas.microsoft.com/office/drawing/2014/main" id="{5B22B0FD-EF33-22CF-B164-DFE64ECAFD25}"/>
              </a:ext>
            </a:extLst>
          </p:cNvPr>
          <p:cNvSpPr>
            <a:spLocks noGrp="1"/>
          </p:cNvSpPr>
          <p:nvPr>
            <p:ph type="body" sz="quarter" idx="30" hasCustomPrompt="1"/>
          </p:nvPr>
        </p:nvSpPr>
        <p:spPr>
          <a:xfrm>
            <a:off x="2120900" y="4123099"/>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18" name="Textplatzhalter 8">
            <a:extLst>
              <a:ext uri="{FF2B5EF4-FFF2-40B4-BE49-F238E27FC236}">
                <a16:creationId xmlns:a16="http://schemas.microsoft.com/office/drawing/2014/main" id="{2676C9FA-0CAD-8736-29A2-DA46BF52B7B5}"/>
              </a:ext>
            </a:extLst>
          </p:cNvPr>
          <p:cNvSpPr>
            <a:spLocks noGrp="1"/>
          </p:cNvSpPr>
          <p:nvPr>
            <p:ph type="body" sz="quarter" idx="31" hasCustomPrompt="1"/>
          </p:nvPr>
        </p:nvSpPr>
        <p:spPr>
          <a:xfrm>
            <a:off x="9863868" y="1573213"/>
            <a:ext cx="1941513" cy="376895"/>
          </a:xfrm>
        </p:spPr>
        <p:txBody>
          <a:bodyPr>
            <a:noAutofit/>
          </a:bodyPr>
          <a:lstStyle>
            <a:lvl1pPr marL="0" indent="0">
              <a:lnSpc>
                <a:spcPct val="100000"/>
              </a:lnSpc>
              <a:spcBef>
                <a:spcPts val="0"/>
              </a:spcBef>
              <a:buNone/>
              <a:defRPr b="1">
                <a:latin typeface="+mj-lt"/>
              </a:defRPr>
            </a:lvl1pPr>
          </a:lstStyle>
          <a:p>
            <a:r>
              <a:rPr lang="en-US"/>
              <a:t>First name</a:t>
            </a:r>
            <a:br>
              <a:rPr lang="en-US"/>
            </a:br>
            <a:r>
              <a:rPr lang="en-US"/>
              <a:t>Name</a:t>
            </a:r>
          </a:p>
        </p:txBody>
      </p:sp>
      <p:sp>
        <p:nvSpPr>
          <p:cNvPr id="25" name="Textplatzhalter 10">
            <a:extLst>
              <a:ext uri="{FF2B5EF4-FFF2-40B4-BE49-F238E27FC236}">
                <a16:creationId xmlns:a16="http://schemas.microsoft.com/office/drawing/2014/main" id="{391E3FCD-2460-B6AB-5F03-CD8DDDC27787}"/>
              </a:ext>
            </a:extLst>
          </p:cNvPr>
          <p:cNvSpPr>
            <a:spLocks noGrp="1"/>
          </p:cNvSpPr>
          <p:nvPr>
            <p:ph type="body" sz="quarter" idx="32" hasCustomPrompt="1"/>
          </p:nvPr>
        </p:nvSpPr>
        <p:spPr>
          <a:xfrm>
            <a:off x="9864028" y="1950108"/>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38" name="Textplatzhalter 8">
            <a:extLst>
              <a:ext uri="{FF2B5EF4-FFF2-40B4-BE49-F238E27FC236}">
                <a16:creationId xmlns:a16="http://schemas.microsoft.com/office/drawing/2014/main" id="{3B4EEE1E-1A35-7877-DDA1-667BF8C14992}"/>
              </a:ext>
            </a:extLst>
          </p:cNvPr>
          <p:cNvSpPr>
            <a:spLocks noGrp="1"/>
          </p:cNvSpPr>
          <p:nvPr>
            <p:ph type="body" sz="quarter" idx="33" hasCustomPrompt="1"/>
          </p:nvPr>
        </p:nvSpPr>
        <p:spPr>
          <a:xfrm>
            <a:off x="9863868" y="3746204"/>
            <a:ext cx="1941513" cy="376895"/>
          </a:xfrm>
        </p:spPr>
        <p:txBody>
          <a:bodyPr>
            <a:noAutofit/>
          </a:bodyPr>
          <a:lstStyle>
            <a:lvl1pPr marL="0" indent="0">
              <a:lnSpc>
                <a:spcPct val="100000"/>
              </a:lnSpc>
              <a:spcBef>
                <a:spcPts val="0"/>
              </a:spcBef>
              <a:buNone/>
              <a:defRPr b="1">
                <a:latin typeface="+mj-lt"/>
              </a:defRPr>
            </a:lvl1pPr>
          </a:lstStyle>
          <a:p>
            <a:r>
              <a:rPr lang="en-US"/>
              <a:t>First name</a:t>
            </a:r>
            <a:br>
              <a:rPr lang="en-US"/>
            </a:br>
            <a:r>
              <a:rPr lang="en-US"/>
              <a:t>Name</a:t>
            </a:r>
          </a:p>
        </p:txBody>
      </p:sp>
      <p:sp>
        <p:nvSpPr>
          <p:cNvPr id="39" name="Textplatzhalter 10">
            <a:extLst>
              <a:ext uri="{FF2B5EF4-FFF2-40B4-BE49-F238E27FC236}">
                <a16:creationId xmlns:a16="http://schemas.microsoft.com/office/drawing/2014/main" id="{0FD4E41D-4755-CF27-D237-60267CFF622F}"/>
              </a:ext>
            </a:extLst>
          </p:cNvPr>
          <p:cNvSpPr>
            <a:spLocks noGrp="1"/>
          </p:cNvSpPr>
          <p:nvPr>
            <p:ph type="body" sz="quarter" idx="34" hasCustomPrompt="1"/>
          </p:nvPr>
        </p:nvSpPr>
        <p:spPr>
          <a:xfrm>
            <a:off x="9864028" y="4123099"/>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7" name="Textplatzhalter 3">
            <a:extLst>
              <a:ext uri="{FF2B5EF4-FFF2-40B4-BE49-F238E27FC236}">
                <a16:creationId xmlns:a16="http://schemas.microsoft.com/office/drawing/2014/main" id="{167B3CBC-FE67-1F94-0B5C-AFC10D94422A}"/>
              </a:ext>
            </a:extLst>
          </p:cNvPr>
          <p:cNvSpPr>
            <a:spLocks noGrp="1"/>
          </p:cNvSpPr>
          <p:nvPr>
            <p:ph type="body" sz="quarter" idx="35"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noProof="0"/>
              <a:t>Topline</a:t>
            </a:r>
          </a:p>
        </p:txBody>
      </p:sp>
      <p:sp>
        <p:nvSpPr>
          <p:cNvPr id="6" name="Date Placeholder 5">
            <a:extLst>
              <a:ext uri="{FF2B5EF4-FFF2-40B4-BE49-F238E27FC236}">
                <a16:creationId xmlns:a16="http://schemas.microsoft.com/office/drawing/2014/main" id="{3E3946DA-6A33-ED90-6C46-A653CC04788B}"/>
              </a:ext>
            </a:extLst>
          </p:cNvPr>
          <p:cNvSpPr>
            <a:spLocks noGrp="1"/>
          </p:cNvSpPr>
          <p:nvPr>
            <p:ph type="dt" sz="half" idx="36"/>
          </p:nvPr>
        </p:nvSpPr>
        <p:spPr/>
        <p:txBody>
          <a:bodyPr/>
          <a:lstStyle/>
          <a:p>
            <a:fld id="{90BB5316-9C80-4776-8DBE-F84BC96105FC}" type="datetime1">
              <a:rPr lang="en-US" noProof="0" smtClean="0"/>
              <a:t>10/31/2024</a:t>
            </a:fld>
            <a:endParaRPr lang="en-US" noProof="0"/>
          </a:p>
        </p:txBody>
      </p:sp>
      <p:sp>
        <p:nvSpPr>
          <p:cNvPr id="27" name="Footer Placeholder 26">
            <a:extLst>
              <a:ext uri="{FF2B5EF4-FFF2-40B4-BE49-F238E27FC236}">
                <a16:creationId xmlns:a16="http://schemas.microsoft.com/office/drawing/2014/main" id="{4AB81B20-A9EE-712F-7543-1DE0BAFBA8B9}"/>
              </a:ext>
            </a:extLst>
          </p:cNvPr>
          <p:cNvSpPr>
            <a:spLocks noGrp="1"/>
          </p:cNvSpPr>
          <p:nvPr>
            <p:ph type="ftr" sz="quarter" idx="37"/>
          </p:nvPr>
        </p:nvSpPr>
        <p:spPr/>
        <p:txBody>
          <a:bodyPr/>
          <a:lstStyle/>
          <a:p>
            <a:r>
              <a:rPr lang="en-US"/>
              <a:t>Group Presentation</a:t>
            </a:r>
          </a:p>
        </p:txBody>
      </p:sp>
      <p:sp>
        <p:nvSpPr>
          <p:cNvPr id="28" name="Slide Number Placeholder 27">
            <a:extLst>
              <a:ext uri="{FF2B5EF4-FFF2-40B4-BE49-F238E27FC236}">
                <a16:creationId xmlns:a16="http://schemas.microsoft.com/office/drawing/2014/main" id="{6FBD9725-4738-E23F-83D4-2CEF48B0339F}"/>
              </a:ext>
            </a:extLst>
          </p:cNvPr>
          <p:cNvSpPr>
            <a:spLocks noGrp="1"/>
          </p:cNvSpPr>
          <p:nvPr>
            <p:ph type="sldNum" sz="quarter" idx="38"/>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9989390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FDBFE1-C2CF-2B27-F8F6-C3D0C25C25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B1FDBFE1-C2CF-2B27-F8F6-C3D0C25C2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C574611-4012-A01A-E2B9-B933791969AA}"/>
              </a:ext>
            </a:extLst>
          </p:cNvPr>
          <p:cNvSpPr/>
          <p:nvPr/>
        </p:nvSpPr>
        <p:spPr bwMode="gray">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noProof="0"/>
          </a:p>
        </p:txBody>
      </p:sp>
      <p:sp>
        <p:nvSpPr>
          <p:cNvPr id="7" name="Bildplatzhalter 16">
            <a:extLst>
              <a:ext uri="{FF2B5EF4-FFF2-40B4-BE49-F238E27FC236}">
                <a16:creationId xmlns:a16="http://schemas.microsoft.com/office/drawing/2014/main" id="{3245D409-780A-120B-1682-BA5F0D374CFF}"/>
              </a:ext>
            </a:extLst>
          </p:cNvPr>
          <p:cNvSpPr>
            <a:spLocks noGrp="1"/>
          </p:cNvSpPr>
          <p:nvPr>
            <p:ph type="pic" sz="quarter" idx="16" hasCustomPrompt="1"/>
          </p:nvPr>
        </p:nvSpPr>
        <p:spPr bwMode="gray">
          <a:xfrm>
            <a:off x="11490432" y="6170720"/>
            <a:ext cx="318980" cy="31898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r>
              <a:rPr lang="en-US" noProof="0"/>
              <a:t> </a:t>
            </a:r>
          </a:p>
        </p:txBody>
      </p:sp>
      <p:sp>
        <p:nvSpPr>
          <p:cNvPr id="9" name="Text Placeholder 8">
            <a:extLst>
              <a:ext uri="{FF2B5EF4-FFF2-40B4-BE49-F238E27FC236}">
                <a16:creationId xmlns:a16="http://schemas.microsoft.com/office/drawing/2014/main" id="{17605212-4C08-B347-F6E8-8925E265895F}"/>
              </a:ext>
            </a:extLst>
          </p:cNvPr>
          <p:cNvSpPr>
            <a:spLocks noGrp="1"/>
          </p:cNvSpPr>
          <p:nvPr>
            <p:ph type="body" sz="quarter" idx="17" hasCustomPrompt="1"/>
          </p:nvPr>
        </p:nvSpPr>
        <p:spPr bwMode="gray">
          <a:xfrm>
            <a:off x="2320925" y="2282825"/>
            <a:ext cx="7550150" cy="2292350"/>
          </a:xfrm>
        </p:spPr>
        <p:txBody>
          <a:bodyPr anchor="ctr" anchorCtr="0"/>
          <a:lstStyle>
            <a:lvl1pPr marL="0" indent="0" algn="ctr">
              <a:buNone/>
              <a:defRPr sz="4000" b="1">
                <a:solidFill>
                  <a:schemeClr val="bg1"/>
                </a:solidFill>
                <a:latin typeface="+mj-lt"/>
              </a:defRPr>
            </a:lvl1pPr>
          </a:lstStyle>
          <a:p>
            <a:pPr lvl="0"/>
            <a:r>
              <a:rPr lang="en-US" noProof="0"/>
              <a:t>Thank You.</a:t>
            </a:r>
          </a:p>
        </p:txBody>
      </p:sp>
      <p:sp>
        <p:nvSpPr>
          <p:cNvPr id="8" name="Date Placeholder 7">
            <a:extLst>
              <a:ext uri="{FF2B5EF4-FFF2-40B4-BE49-F238E27FC236}">
                <a16:creationId xmlns:a16="http://schemas.microsoft.com/office/drawing/2014/main" id="{EE9320FC-E493-5E52-AC0C-534DC25DB746}"/>
              </a:ext>
            </a:extLst>
          </p:cNvPr>
          <p:cNvSpPr>
            <a:spLocks noGrp="1"/>
          </p:cNvSpPr>
          <p:nvPr>
            <p:ph type="dt" sz="half" idx="36"/>
          </p:nvPr>
        </p:nvSpPr>
        <p:spPr bwMode="gray"/>
        <p:txBody>
          <a:bodyPr/>
          <a:lstStyle>
            <a:lvl1pPr>
              <a:defRPr>
                <a:solidFill>
                  <a:schemeClr val="bg1"/>
                </a:solidFill>
              </a:defRPr>
            </a:lvl1pPr>
          </a:lstStyle>
          <a:p>
            <a:fld id="{8F4B4F38-692E-4459-9BBB-28B25F904106}" type="datetime1">
              <a:rPr lang="en-US" noProof="0" smtClean="0"/>
              <a:t>10/31/2024</a:t>
            </a:fld>
            <a:endParaRPr lang="en-US" noProof="0"/>
          </a:p>
        </p:txBody>
      </p:sp>
      <p:sp>
        <p:nvSpPr>
          <p:cNvPr id="10" name="Footer Placeholder 9">
            <a:extLst>
              <a:ext uri="{FF2B5EF4-FFF2-40B4-BE49-F238E27FC236}">
                <a16:creationId xmlns:a16="http://schemas.microsoft.com/office/drawing/2014/main" id="{801430C6-6281-7F75-5352-69189AAA02FC}"/>
              </a:ext>
            </a:extLst>
          </p:cNvPr>
          <p:cNvSpPr>
            <a:spLocks noGrp="1"/>
          </p:cNvSpPr>
          <p:nvPr>
            <p:ph type="ftr" sz="quarter" idx="37"/>
          </p:nvPr>
        </p:nvSpPr>
        <p:spPr bwMode="gray"/>
        <p:txBody>
          <a:bodyPr/>
          <a:lstStyle>
            <a:lvl1pPr>
              <a:defRPr>
                <a:solidFill>
                  <a:schemeClr val="bg1"/>
                </a:solidFill>
              </a:defRPr>
            </a:lvl1pPr>
          </a:lstStyle>
          <a:p>
            <a:r>
              <a:rPr lang="en-US" noProof="0"/>
              <a:t>Group Presentation</a:t>
            </a:r>
          </a:p>
        </p:txBody>
      </p:sp>
      <p:sp>
        <p:nvSpPr>
          <p:cNvPr id="15" name="Slide Number Placeholder 14">
            <a:extLst>
              <a:ext uri="{FF2B5EF4-FFF2-40B4-BE49-F238E27FC236}">
                <a16:creationId xmlns:a16="http://schemas.microsoft.com/office/drawing/2014/main" id="{D8DDF6B9-5495-CD14-9690-67A6E4C88F3D}"/>
              </a:ext>
            </a:extLst>
          </p:cNvPr>
          <p:cNvSpPr>
            <a:spLocks noGrp="1"/>
          </p:cNvSpPr>
          <p:nvPr>
            <p:ph type="sldNum" sz="quarter" idx="38"/>
          </p:nvPr>
        </p:nvSpPr>
        <p:spPr bwMode="gray"/>
        <p:txBody>
          <a:bodyPr/>
          <a:lstStyle>
            <a:lvl1pPr>
              <a:defRPr>
                <a:solidFill>
                  <a:schemeClr val="bg1"/>
                </a:solidFill>
              </a:defRPr>
            </a:lvl1pPr>
          </a:lstStyle>
          <a:p>
            <a:fld id="{A115CDC9-74CB-4F6C-8CD3-A6C89F254EE7}" type="slidenum">
              <a:rPr lang="en-US" noProof="0" smtClean="0"/>
              <a:pPr/>
              <a:t>‹#›</a:t>
            </a:fld>
            <a:endParaRPr lang="en-US" noProof="0"/>
          </a:p>
        </p:txBody>
      </p:sp>
      <p:sp>
        <p:nvSpPr>
          <p:cNvPr id="2" name="Bildplatzhalter 19">
            <a:extLst>
              <a:ext uri="{FF2B5EF4-FFF2-40B4-BE49-F238E27FC236}">
                <a16:creationId xmlns:a16="http://schemas.microsoft.com/office/drawing/2014/main" id="{146758F8-CAD7-CECD-D41C-D0679C495549}"/>
              </a:ext>
            </a:extLst>
          </p:cNvPr>
          <p:cNvSpPr>
            <a:spLocks noGrp="1"/>
          </p:cNvSpPr>
          <p:nvPr>
            <p:ph type="pic" sz="quarter" idx="43" hasCustomPrompt="1"/>
          </p:nvPr>
        </p:nvSpPr>
        <p:spPr bwMode="gray">
          <a:xfrm>
            <a:off x="1025514" y="6410506"/>
            <a:ext cx="1062384" cy="103295"/>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43617073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FDBFE1-C2CF-2B27-F8F6-C3D0C25C25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B1FDBFE1-C2CF-2B27-F8F6-C3D0C25C2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C574611-4012-A01A-E2B9-B933791969AA}"/>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a:p>
        </p:txBody>
      </p:sp>
      <p:pic>
        <p:nvPicPr>
          <p:cNvPr id="3" name="Graphic 2">
            <a:extLst>
              <a:ext uri="{FF2B5EF4-FFF2-40B4-BE49-F238E27FC236}">
                <a16:creationId xmlns:a16="http://schemas.microsoft.com/office/drawing/2014/main" id="{819D2950-9D3C-40EE-E8B1-E7004C693D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20925" y="2342758"/>
            <a:ext cx="7550150" cy="2172485"/>
          </a:xfrm>
          <a:prstGeom prst="rect">
            <a:avLst/>
          </a:prstGeom>
        </p:spPr>
      </p:pic>
    </p:spTree>
    <p:extLst>
      <p:ext uri="{BB962C8B-B14F-4D97-AF65-F5344CB8AC3E}">
        <p14:creationId xmlns:p14="http://schemas.microsoft.com/office/powerpoint/2010/main" val="126825828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 Content lar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62CB8F-6A1B-9C5C-8211-8F5DC82C37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ct 1" hidden="1">
                        <a:extLst>
                          <a:ext uri="{FF2B5EF4-FFF2-40B4-BE49-F238E27FC236}">
                            <a16:creationId xmlns:a16="http://schemas.microsoft.com/office/drawing/2014/main" id="{5662CB8F-6A1B-9C5C-8211-8F5DC82C3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04924"/>
            <a:ext cx="11424541" cy="4608513"/>
          </a:xfrm>
        </p:spPr>
        <p:txBody>
          <a:bodyPr>
            <a:noAutofit/>
          </a:bodyPr>
          <a:lstStyle>
            <a:lvl1pPr>
              <a:defRPr sz="1600"/>
            </a:lvl1pPr>
            <a:lvl2pPr>
              <a:defRPr sz="1600"/>
            </a:lvl2pPr>
            <a:lvl3pPr>
              <a:defRPr sz="1600"/>
            </a:lvl3pPr>
            <a:lvl4pPr>
              <a:defRPr sz="1600"/>
            </a:lvl4pPr>
            <a:lvl5pPr>
              <a:defRPr sz="1600"/>
            </a:lvl5pPr>
            <a:lvl6pPr marL="0" indent="0">
              <a:buFontTx/>
              <a:buNone/>
              <a:defRPr sz="1600"/>
            </a:lvl6pPr>
          </a:lstStyle>
          <a:p>
            <a:pPr lvl="0"/>
            <a:r>
              <a:rPr lang="en-GB" noProof="0"/>
              <a:t>16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a:p>
            <a:pPr lvl="0"/>
            <a:r>
              <a:rPr lang="en-GB" sz="1400" noProof="0"/>
              <a:t>Sixth level</a:t>
            </a:r>
            <a:endParaRPr lang="en-GB" noProof="0"/>
          </a:p>
          <a:p>
            <a:pPr lvl="0"/>
            <a:endParaRPr lang="en-US"/>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4" name="Textplatzhalter 3">
            <a:extLst>
              <a:ext uri="{FF2B5EF4-FFF2-40B4-BE49-F238E27FC236}">
                <a16:creationId xmlns:a16="http://schemas.microsoft.com/office/drawing/2014/main" id="{537592A9-6BED-AF0C-E702-4EC8B336A27C}"/>
              </a:ext>
            </a:extLst>
          </p:cNvPr>
          <p:cNvSpPr>
            <a:spLocks noGrp="1"/>
          </p:cNvSpPr>
          <p:nvPr>
            <p:ph type="body" sz="quarter" idx="13"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22" name="Date Placeholder 21">
            <a:extLst>
              <a:ext uri="{FF2B5EF4-FFF2-40B4-BE49-F238E27FC236}">
                <a16:creationId xmlns:a16="http://schemas.microsoft.com/office/drawing/2014/main" id="{411E37CD-AF36-95F6-6ED3-816F4E44326D}"/>
              </a:ext>
            </a:extLst>
          </p:cNvPr>
          <p:cNvSpPr>
            <a:spLocks noGrp="1"/>
          </p:cNvSpPr>
          <p:nvPr>
            <p:ph type="dt" sz="half" idx="14"/>
          </p:nvPr>
        </p:nvSpPr>
        <p:spPr/>
        <p:txBody>
          <a:bodyPr/>
          <a:lstStyle/>
          <a:p>
            <a:fld id="{C92FF0DB-CE7B-4BE8-A374-8D6F6E4FFFF4}" type="datetime1">
              <a:rPr lang="en-US" noProof="0" smtClean="0"/>
              <a:t>10/31/2024</a:t>
            </a:fld>
            <a:endParaRPr lang="en-US" noProof="0"/>
          </a:p>
        </p:txBody>
      </p:sp>
      <p:sp>
        <p:nvSpPr>
          <p:cNvPr id="23" name="Footer Placeholder 22">
            <a:extLst>
              <a:ext uri="{FF2B5EF4-FFF2-40B4-BE49-F238E27FC236}">
                <a16:creationId xmlns:a16="http://schemas.microsoft.com/office/drawing/2014/main" id="{5FE61737-8B11-B32D-F957-796C8D9B7745}"/>
              </a:ext>
            </a:extLst>
          </p:cNvPr>
          <p:cNvSpPr>
            <a:spLocks noGrp="1"/>
          </p:cNvSpPr>
          <p:nvPr>
            <p:ph type="ftr" sz="quarter" idx="15"/>
          </p:nvPr>
        </p:nvSpPr>
        <p:spPr/>
        <p:txBody>
          <a:bodyPr/>
          <a:lstStyle/>
          <a:p>
            <a:r>
              <a:rPr lang="en-US"/>
              <a:t>Group Presentation</a:t>
            </a:r>
          </a:p>
        </p:txBody>
      </p:sp>
      <p:sp>
        <p:nvSpPr>
          <p:cNvPr id="24" name="Slide Number Placeholder 23">
            <a:extLst>
              <a:ext uri="{FF2B5EF4-FFF2-40B4-BE49-F238E27FC236}">
                <a16:creationId xmlns:a16="http://schemas.microsoft.com/office/drawing/2014/main" id="{394DD5CA-BBEB-7A90-8816-D7000113CAFD}"/>
              </a:ext>
            </a:extLst>
          </p:cNvPr>
          <p:cNvSpPr>
            <a:spLocks noGrp="1"/>
          </p:cNvSpPr>
          <p:nvPr>
            <p:ph type="sldNum" sz="quarter" idx="16"/>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419662914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1_Title slid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148992-DA70-DDC1-200A-390558D8D8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F0148992-DA70-DDC1-200A-390558D8D8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bject 4">
            <a:extLst>
              <a:ext uri="{FF2B5EF4-FFF2-40B4-BE49-F238E27FC236}">
                <a16:creationId xmlns:a16="http://schemas.microsoft.com/office/drawing/2014/main" id="{17C69D6A-EDEC-B0F2-E0A6-180B3DF56C0B}"/>
              </a:ext>
            </a:extLst>
          </p:cNvPr>
          <p:cNvSpPr/>
          <p:nvPr/>
        </p:nvSpPr>
        <p:spPr bwMode="gray">
          <a:xfrm>
            <a:off x="382587" y="377825"/>
            <a:ext cx="6607297" cy="3851275"/>
          </a:xfrm>
          <a:custGeom>
            <a:avLst/>
            <a:gdLst/>
            <a:ahLst/>
            <a:cxnLst/>
            <a:rect l="l" t="t" r="r" b="b"/>
            <a:pathLst>
              <a:path w="10845165" h="6324600">
                <a:moveTo>
                  <a:pt x="10844842" y="0"/>
                </a:moveTo>
                <a:lnTo>
                  <a:pt x="0" y="0"/>
                </a:lnTo>
                <a:lnTo>
                  <a:pt x="0" y="6324414"/>
                </a:lnTo>
                <a:lnTo>
                  <a:pt x="8750665" y="6324414"/>
                </a:lnTo>
                <a:lnTo>
                  <a:pt x="8798727" y="6323862"/>
                </a:lnTo>
                <a:lnTo>
                  <a:pt x="8846525" y="6322211"/>
                </a:lnTo>
                <a:lnTo>
                  <a:pt x="8894045" y="6319475"/>
                </a:lnTo>
                <a:lnTo>
                  <a:pt x="8941278" y="6315665"/>
                </a:lnTo>
                <a:lnTo>
                  <a:pt x="8988211" y="6310792"/>
                </a:lnTo>
                <a:lnTo>
                  <a:pt x="9034833" y="6304869"/>
                </a:lnTo>
                <a:lnTo>
                  <a:pt x="9081131" y="6297908"/>
                </a:lnTo>
                <a:lnTo>
                  <a:pt x="9127096" y="6289920"/>
                </a:lnTo>
                <a:lnTo>
                  <a:pt x="9172715" y="6280916"/>
                </a:lnTo>
                <a:lnTo>
                  <a:pt x="9217976" y="6270910"/>
                </a:lnTo>
                <a:lnTo>
                  <a:pt x="9262869" y="6259912"/>
                </a:lnTo>
                <a:lnTo>
                  <a:pt x="9307380" y="6247935"/>
                </a:lnTo>
                <a:lnTo>
                  <a:pt x="9351500" y="6234990"/>
                </a:lnTo>
                <a:lnTo>
                  <a:pt x="9395216" y="6221089"/>
                </a:lnTo>
                <a:lnTo>
                  <a:pt x="9438517" y="6206244"/>
                </a:lnTo>
                <a:lnTo>
                  <a:pt x="9481391" y="6190467"/>
                </a:lnTo>
                <a:lnTo>
                  <a:pt x="9523827" y="6173769"/>
                </a:lnTo>
                <a:lnTo>
                  <a:pt x="9565813" y="6156162"/>
                </a:lnTo>
                <a:lnTo>
                  <a:pt x="9607338" y="6137659"/>
                </a:lnTo>
                <a:lnTo>
                  <a:pt x="9648390" y="6118270"/>
                </a:lnTo>
                <a:lnTo>
                  <a:pt x="9688957" y="6098009"/>
                </a:lnTo>
                <a:lnTo>
                  <a:pt x="9729028" y="6076885"/>
                </a:lnTo>
                <a:lnTo>
                  <a:pt x="9768592" y="6054913"/>
                </a:lnTo>
                <a:lnTo>
                  <a:pt x="9807636" y="6032102"/>
                </a:lnTo>
                <a:lnTo>
                  <a:pt x="9846150" y="6008465"/>
                </a:lnTo>
                <a:lnTo>
                  <a:pt x="9884122" y="5984015"/>
                </a:lnTo>
                <a:lnTo>
                  <a:pt x="9921540" y="5958761"/>
                </a:lnTo>
                <a:lnTo>
                  <a:pt x="9958392" y="5932718"/>
                </a:lnTo>
                <a:lnTo>
                  <a:pt x="9994667" y="5905895"/>
                </a:lnTo>
                <a:lnTo>
                  <a:pt x="10030354" y="5878305"/>
                </a:lnTo>
                <a:lnTo>
                  <a:pt x="10065441" y="5849961"/>
                </a:lnTo>
                <a:lnTo>
                  <a:pt x="10099917" y="5820873"/>
                </a:lnTo>
                <a:lnTo>
                  <a:pt x="10133769" y="5791053"/>
                </a:lnTo>
                <a:lnTo>
                  <a:pt x="10166987" y="5760514"/>
                </a:lnTo>
                <a:lnTo>
                  <a:pt x="10199558" y="5729267"/>
                </a:lnTo>
                <a:lnTo>
                  <a:pt x="10231472" y="5697323"/>
                </a:lnTo>
                <a:lnTo>
                  <a:pt x="10262716" y="5664696"/>
                </a:lnTo>
                <a:lnTo>
                  <a:pt x="10293280" y="5631396"/>
                </a:lnTo>
                <a:lnTo>
                  <a:pt x="10323151" y="5597435"/>
                </a:lnTo>
                <a:lnTo>
                  <a:pt x="10352318" y="5562825"/>
                </a:lnTo>
                <a:lnTo>
                  <a:pt x="10380770" y="5527579"/>
                </a:lnTo>
                <a:lnTo>
                  <a:pt x="10408494" y="5491707"/>
                </a:lnTo>
                <a:lnTo>
                  <a:pt x="10435480" y="5455222"/>
                </a:lnTo>
                <a:lnTo>
                  <a:pt x="10461716" y="5418135"/>
                </a:lnTo>
                <a:lnTo>
                  <a:pt x="10487190" y="5380458"/>
                </a:lnTo>
                <a:lnTo>
                  <a:pt x="10511890" y="5342203"/>
                </a:lnTo>
                <a:lnTo>
                  <a:pt x="10535806" y="5303382"/>
                </a:lnTo>
                <a:lnTo>
                  <a:pt x="10558926" y="5264007"/>
                </a:lnTo>
                <a:lnTo>
                  <a:pt x="10581237" y="5224089"/>
                </a:lnTo>
                <a:lnTo>
                  <a:pt x="10602729" y="5183640"/>
                </a:lnTo>
                <a:lnTo>
                  <a:pt x="10623390" y="5142673"/>
                </a:lnTo>
                <a:lnTo>
                  <a:pt x="10643209" y="5101198"/>
                </a:lnTo>
                <a:lnTo>
                  <a:pt x="10662173" y="5059228"/>
                </a:lnTo>
                <a:lnTo>
                  <a:pt x="10680271" y="5016774"/>
                </a:lnTo>
                <a:lnTo>
                  <a:pt x="10697493" y="4973849"/>
                </a:lnTo>
                <a:lnTo>
                  <a:pt x="10713825" y="4930464"/>
                </a:lnTo>
                <a:lnTo>
                  <a:pt x="10729257" y="4886630"/>
                </a:lnTo>
                <a:lnTo>
                  <a:pt x="10743778" y="4842361"/>
                </a:lnTo>
                <a:lnTo>
                  <a:pt x="10757374" y="4797667"/>
                </a:lnTo>
                <a:lnTo>
                  <a:pt x="10770036" y="4752560"/>
                </a:lnTo>
                <a:lnTo>
                  <a:pt x="10781751" y="4707052"/>
                </a:lnTo>
                <a:lnTo>
                  <a:pt x="10792508" y="4661156"/>
                </a:lnTo>
                <a:lnTo>
                  <a:pt x="10802296" y="4614882"/>
                </a:lnTo>
                <a:lnTo>
                  <a:pt x="10811102" y="4568243"/>
                </a:lnTo>
                <a:lnTo>
                  <a:pt x="10818916" y="4521250"/>
                </a:lnTo>
                <a:lnTo>
                  <a:pt x="10825725" y="4473915"/>
                </a:lnTo>
                <a:lnTo>
                  <a:pt x="10831518" y="4426250"/>
                </a:lnTo>
                <a:lnTo>
                  <a:pt x="10836284" y="4378267"/>
                </a:lnTo>
                <a:lnTo>
                  <a:pt x="10840011" y="4329978"/>
                </a:lnTo>
                <a:lnTo>
                  <a:pt x="10842687" y="4281394"/>
                </a:lnTo>
                <a:lnTo>
                  <a:pt x="10844301" y="4232528"/>
                </a:lnTo>
                <a:lnTo>
                  <a:pt x="10844842" y="4183390"/>
                </a:lnTo>
                <a:lnTo>
                  <a:pt x="10844842" y="0"/>
                </a:lnTo>
                <a:close/>
              </a:path>
            </a:pathLst>
          </a:custGeom>
          <a:solidFill>
            <a:srgbClr val="004D24"/>
          </a:solidFill>
        </p:spPr>
        <p:txBody>
          <a:bodyPr wrap="square" lIns="0" tIns="0" rIns="0" bIns="0" rtlCol="0"/>
          <a:lstStyle/>
          <a:p>
            <a:endParaRPr lang="en-US" noProof="0">
              <a:solidFill>
                <a:schemeClr val="bg1"/>
              </a:solidFill>
            </a:endParaRPr>
          </a:p>
        </p:txBody>
      </p:sp>
      <p:sp>
        <p:nvSpPr>
          <p:cNvPr id="4" name="Bildplatzhalter 3">
            <a:extLst>
              <a:ext uri="{FF2B5EF4-FFF2-40B4-BE49-F238E27FC236}">
                <a16:creationId xmlns:a16="http://schemas.microsoft.com/office/drawing/2014/main" id="{D7945B1D-09B9-ABE6-A56B-52F5A3DFB971}"/>
              </a:ext>
            </a:extLst>
          </p:cNvPr>
          <p:cNvSpPr>
            <a:spLocks noGrp="1"/>
          </p:cNvSpPr>
          <p:nvPr>
            <p:ph type="pic" sz="quarter" idx="10" hasCustomPrompt="1"/>
          </p:nvPr>
        </p:nvSpPr>
        <p:spPr bwMode="gray">
          <a:xfrm>
            <a:off x="0" y="0"/>
            <a:ext cx="12192000" cy="6858000"/>
          </a:xfrm>
          <a:custGeom>
            <a:avLst/>
            <a:gdLst>
              <a:gd name="connsiteX0" fmla="*/ 381796 w 12192000"/>
              <a:gd name="connsiteY0" fmla="*/ 381002 h 6858000"/>
              <a:gd name="connsiteX1" fmla="*/ 381796 w 12192000"/>
              <a:gd name="connsiteY1" fmla="*/ 4216400 h 6858000"/>
              <a:gd name="connsiteX2" fmla="*/ 5688579 w 12192000"/>
              <a:gd name="connsiteY2" fmla="*/ 4216400 h 6858000"/>
              <a:gd name="connsiteX3" fmla="*/ 5717726 w 12192000"/>
              <a:gd name="connsiteY3" fmla="*/ 4216066 h 6858000"/>
              <a:gd name="connsiteX4" fmla="*/ 5746713 w 12192000"/>
              <a:gd name="connsiteY4" fmla="*/ 4215064 h 6858000"/>
              <a:gd name="connsiteX5" fmla="*/ 5775531 w 12192000"/>
              <a:gd name="connsiteY5" fmla="*/ 4213405 h 6858000"/>
              <a:gd name="connsiteX6" fmla="*/ 5804175 w 12192000"/>
              <a:gd name="connsiteY6" fmla="*/ 4211095 h 6858000"/>
              <a:gd name="connsiteX7" fmla="*/ 5832637 w 12192000"/>
              <a:gd name="connsiteY7" fmla="*/ 4208139 h 6858000"/>
              <a:gd name="connsiteX8" fmla="*/ 5860910 w 12192000"/>
              <a:gd name="connsiteY8" fmla="*/ 4204547 h 6858000"/>
              <a:gd name="connsiteX9" fmla="*/ 5888988 w 12192000"/>
              <a:gd name="connsiteY9" fmla="*/ 4200326 h 6858000"/>
              <a:gd name="connsiteX10" fmla="*/ 5916863 w 12192000"/>
              <a:gd name="connsiteY10" fmla="*/ 4195482 h 6858000"/>
              <a:gd name="connsiteX11" fmla="*/ 5944528 w 12192000"/>
              <a:gd name="connsiteY11" fmla="*/ 4190021 h 6858000"/>
              <a:gd name="connsiteX12" fmla="*/ 5971976 w 12192000"/>
              <a:gd name="connsiteY12" fmla="*/ 4183953 h 6858000"/>
              <a:gd name="connsiteX13" fmla="*/ 5999201 w 12192000"/>
              <a:gd name="connsiteY13" fmla="*/ 4177284 h 6858000"/>
              <a:gd name="connsiteX14" fmla="*/ 6026195 w 12192000"/>
              <a:gd name="connsiteY14" fmla="*/ 4170020 h 6858000"/>
              <a:gd name="connsiteX15" fmla="*/ 6052951 w 12192000"/>
              <a:gd name="connsiteY15" fmla="*/ 4162170 h 6858000"/>
              <a:gd name="connsiteX16" fmla="*/ 6079462 w 12192000"/>
              <a:gd name="connsiteY16" fmla="*/ 4153740 h 6858000"/>
              <a:gd name="connsiteX17" fmla="*/ 6105722 w 12192000"/>
              <a:gd name="connsiteY17" fmla="*/ 4144737 h 6858000"/>
              <a:gd name="connsiteX18" fmla="*/ 6131723 w 12192000"/>
              <a:gd name="connsiteY18" fmla="*/ 4135169 h 6858000"/>
              <a:gd name="connsiteX19" fmla="*/ 6157458 w 12192000"/>
              <a:gd name="connsiteY19" fmla="*/ 4125043 h 6858000"/>
              <a:gd name="connsiteX20" fmla="*/ 6182920 w 12192000"/>
              <a:gd name="connsiteY20" fmla="*/ 4114365 h 6858000"/>
              <a:gd name="connsiteX21" fmla="*/ 6208102 w 12192000"/>
              <a:gd name="connsiteY21" fmla="*/ 4103144 h 6858000"/>
              <a:gd name="connsiteX22" fmla="*/ 6232998 w 12192000"/>
              <a:gd name="connsiteY22" fmla="*/ 4091386 h 6858000"/>
              <a:gd name="connsiteX23" fmla="*/ 6257600 w 12192000"/>
              <a:gd name="connsiteY23" fmla="*/ 4079099 h 6858000"/>
              <a:gd name="connsiteX24" fmla="*/ 6281900 w 12192000"/>
              <a:gd name="connsiteY24" fmla="*/ 4066288 h 6858000"/>
              <a:gd name="connsiteX25" fmla="*/ 6305894 w 12192000"/>
              <a:gd name="connsiteY25" fmla="*/ 4052963 h 6858000"/>
              <a:gd name="connsiteX26" fmla="*/ 6329572 w 12192000"/>
              <a:gd name="connsiteY26" fmla="*/ 4039130 h 6858000"/>
              <a:gd name="connsiteX27" fmla="*/ 6352928 w 12192000"/>
              <a:gd name="connsiteY27" fmla="*/ 4024795 h 6858000"/>
              <a:gd name="connsiteX28" fmla="*/ 6375956 w 12192000"/>
              <a:gd name="connsiteY28" fmla="*/ 4009968 h 6858000"/>
              <a:gd name="connsiteX29" fmla="*/ 6398648 w 12192000"/>
              <a:gd name="connsiteY29" fmla="*/ 3994653 h 6858000"/>
              <a:gd name="connsiteX30" fmla="*/ 6420997 w 12192000"/>
              <a:gd name="connsiteY30" fmla="*/ 3978859 h 6858000"/>
              <a:gd name="connsiteX31" fmla="*/ 6442995 w 12192000"/>
              <a:gd name="connsiteY31" fmla="*/ 3962592 h 6858000"/>
              <a:gd name="connsiteX32" fmla="*/ 6464638 w 12192000"/>
              <a:gd name="connsiteY32" fmla="*/ 3945861 h 6858000"/>
              <a:gd name="connsiteX33" fmla="*/ 6485916 w 12192000"/>
              <a:gd name="connsiteY33" fmla="*/ 3928672 h 6858000"/>
              <a:gd name="connsiteX34" fmla="*/ 6506824 w 12192000"/>
              <a:gd name="connsiteY34" fmla="*/ 3911031 h 6858000"/>
              <a:gd name="connsiteX35" fmla="*/ 6527353 w 12192000"/>
              <a:gd name="connsiteY35" fmla="*/ 3892947 h 6858000"/>
              <a:gd name="connsiteX36" fmla="*/ 6547498 w 12192000"/>
              <a:gd name="connsiteY36" fmla="*/ 3874427 h 6858000"/>
              <a:gd name="connsiteX37" fmla="*/ 6567250 w 12192000"/>
              <a:gd name="connsiteY37" fmla="*/ 3855477 h 6858000"/>
              <a:gd name="connsiteX38" fmla="*/ 6586604 w 12192000"/>
              <a:gd name="connsiteY38" fmla="*/ 3836105 h 6858000"/>
              <a:gd name="connsiteX39" fmla="*/ 6605552 w 12192000"/>
              <a:gd name="connsiteY39" fmla="*/ 3816319 h 6858000"/>
              <a:gd name="connsiteX40" fmla="*/ 6624087 w 12192000"/>
              <a:gd name="connsiteY40" fmla="*/ 3796124 h 6858000"/>
              <a:gd name="connsiteX41" fmla="*/ 6642202 w 12192000"/>
              <a:gd name="connsiteY41" fmla="*/ 3775529 h 6858000"/>
              <a:gd name="connsiteX42" fmla="*/ 6659890 w 12192000"/>
              <a:gd name="connsiteY42" fmla="*/ 3754540 h 6858000"/>
              <a:gd name="connsiteX43" fmla="*/ 6677145 w 12192000"/>
              <a:gd name="connsiteY43" fmla="*/ 3733165 h 6858000"/>
              <a:gd name="connsiteX44" fmla="*/ 6693958 w 12192000"/>
              <a:gd name="connsiteY44" fmla="*/ 3711411 h 6858000"/>
              <a:gd name="connsiteX45" fmla="*/ 6710324 w 12192000"/>
              <a:gd name="connsiteY45" fmla="*/ 3689285 h 6858000"/>
              <a:gd name="connsiteX46" fmla="*/ 6726234 w 12192000"/>
              <a:gd name="connsiteY46" fmla="*/ 3666794 h 6858000"/>
              <a:gd name="connsiteX47" fmla="*/ 6741683 w 12192000"/>
              <a:gd name="connsiteY47" fmla="*/ 3643945 h 6858000"/>
              <a:gd name="connsiteX48" fmla="*/ 6756662 w 12192000"/>
              <a:gd name="connsiteY48" fmla="*/ 3620745 h 6858000"/>
              <a:gd name="connsiteX49" fmla="*/ 6771166 w 12192000"/>
              <a:gd name="connsiteY49" fmla="*/ 3597202 h 6858000"/>
              <a:gd name="connsiteX50" fmla="*/ 6785187 w 12192000"/>
              <a:gd name="connsiteY50" fmla="*/ 3573324 h 6858000"/>
              <a:gd name="connsiteX51" fmla="*/ 6798717 w 12192000"/>
              <a:gd name="connsiteY51" fmla="*/ 3549116 h 6858000"/>
              <a:gd name="connsiteX52" fmla="*/ 6811751 w 12192000"/>
              <a:gd name="connsiteY52" fmla="*/ 3524586 h 6858000"/>
              <a:gd name="connsiteX53" fmla="*/ 6824280 w 12192000"/>
              <a:gd name="connsiteY53" fmla="*/ 3499741 h 6858000"/>
              <a:gd name="connsiteX54" fmla="*/ 6836299 w 12192000"/>
              <a:gd name="connsiteY54" fmla="*/ 3474589 h 6858000"/>
              <a:gd name="connsiteX55" fmla="*/ 6847800 w 12192000"/>
              <a:gd name="connsiteY55" fmla="*/ 3449137 h 6858000"/>
              <a:gd name="connsiteX56" fmla="*/ 6858775 w 12192000"/>
              <a:gd name="connsiteY56" fmla="*/ 3423391 h 6858000"/>
              <a:gd name="connsiteX57" fmla="*/ 6869220 w 12192000"/>
              <a:gd name="connsiteY57" fmla="*/ 3397359 h 6858000"/>
              <a:gd name="connsiteX58" fmla="*/ 6879124 w 12192000"/>
              <a:gd name="connsiteY58" fmla="*/ 3371049 h 6858000"/>
              <a:gd name="connsiteX59" fmla="*/ 6888483 w 12192000"/>
              <a:gd name="connsiteY59" fmla="*/ 3344466 h 6858000"/>
              <a:gd name="connsiteX60" fmla="*/ 6897289 w 12192000"/>
              <a:gd name="connsiteY60" fmla="*/ 3317619 h 6858000"/>
              <a:gd name="connsiteX61" fmla="*/ 6905534 w 12192000"/>
              <a:gd name="connsiteY61" fmla="*/ 3290515 h 6858000"/>
              <a:gd name="connsiteX62" fmla="*/ 6913213 w 12192000"/>
              <a:gd name="connsiteY62" fmla="*/ 3263160 h 6858000"/>
              <a:gd name="connsiteX63" fmla="*/ 6920317 w 12192000"/>
              <a:gd name="connsiteY63" fmla="*/ 3235562 h 6858000"/>
              <a:gd name="connsiteX64" fmla="*/ 6926841 w 12192000"/>
              <a:gd name="connsiteY64" fmla="*/ 3207729 h 6858000"/>
              <a:gd name="connsiteX65" fmla="*/ 6932777 w 12192000"/>
              <a:gd name="connsiteY65" fmla="*/ 3179666 h 6858000"/>
              <a:gd name="connsiteX66" fmla="*/ 6938117 w 12192000"/>
              <a:gd name="connsiteY66" fmla="*/ 3151382 h 6858000"/>
              <a:gd name="connsiteX67" fmla="*/ 6942856 w 12192000"/>
              <a:gd name="connsiteY67" fmla="*/ 3122884 h 6858000"/>
              <a:gd name="connsiteX68" fmla="*/ 6946985 w 12192000"/>
              <a:gd name="connsiteY68" fmla="*/ 3094178 h 6858000"/>
              <a:gd name="connsiteX69" fmla="*/ 6950498 w 12192000"/>
              <a:gd name="connsiteY69" fmla="*/ 3065272 h 6858000"/>
              <a:gd name="connsiteX70" fmla="*/ 6953388 w 12192000"/>
              <a:gd name="connsiteY70" fmla="*/ 3036173 h 6858000"/>
              <a:gd name="connsiteX71" fmla="*/ 6955649 w 12192000"/>
              <a:gd name="connsiteY71" fmla="*/ 3006888 h 6858000"/>
              <a:gd name="connsiteX72" fmla="*/ 6957271 w 12192000"/>
              <a:gd name="connsiteY72" fmla="*/ 2977425 h 6858000"/>
              <a:gd name="connsiteX73" fmla="*/ 6958250 w 12192000"/>
              <a:gd name="connsiteY73" fmla="*/ 2947790 h 6858000"/>
              <a:gd name="connsiteX74" fmla="*/ 6958578 w 12192000"/>
              <a:gd name="connsiteY74" fmla="*/ 2917991 h 6858000"/>
              <a:gd name="connsiteX75" fmla="*/ 6958578 w 12192000"/>
              <a:gd name="connsiteY75" fmla="*/ 381002 h 6858000"/>
              <a:gd name="connsiteX76" fmla="*/ 0 w 12192000"/>
              <a:gd name="connsiteY76" fmla="*/ 0 h 6858000"/>
              <a:gd name="connsiteX77" fmla="*/ 12192000 w 12192000"/>
              <a:gd name="connsiteY77" fmla="*/ 0 h 6858000"/>
              <a:gd name="connsiteX78" fmla="*/ 12192000 w 12192000"/>
              <a:gd name="connsiteY78" fmla="*/ 6858000 h 6858000"/>
              <a:gd name="connsiteX79" fmla="*/ 0 w 12192000"/>
              <a:gd name="connsiteY7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192000" h="6858000">
                <a:moveTo>
                  <a:pt x="381796" y="381002"/>
                </a:moveTo>
                <a:lnTo>
                  <a:pt x="381796" y="4216400"/>
                </a:lnTo>
                <a:lnTo>
                  <a:pt x="5688579" y="4216400"/>
                </a:lnTo>
                <a:lnTo>
                  <a:pt x="5717726" y="4216066"/>
                </a:lnTo>
                <a:lnTo>
                  <a:pt x="5746713" y="4215064"/>
                </a:lnTo>
                <a:lnTo>
                  <a:pt x="5775531" y="4213405"/>
                </a:lnTo>
                <a:lnTo>
                  <a:pt x="5804175" y="4211095"/>
                </a:lnTo>
                <a:lnTo>
                  <a:pt x="5832637" y="4208139"/>
                </a:lnTo>
                <a:lnTo>
                  <a:pt x="5860910" y="4204547"/>
                </a:lnTo>
                <a:lnTo>
                  <a:pt x="5888988" y="4200326"/>
                </a:lnTo>
                <a:lnTo>
                  <a:pt x="5916863" y="4195482"/>
                </a:lnTo>
                <a:lnTo>
                  <a:pt x="5944528" y="4190021"/>
                </a:lnTo>
                <a:lnTo>
                  <a:pt x="5971976" y="4183953"/>
                </a:lnTo>
                <a:lnTo>
                  <a:pt x="5999201" y="4177284"/>
                </a:lnTo>
                <a:lnTo>
                  <a:pt x="6026195" y="4170020"/>
                </a:lnTo>
                <a:lnTo>
                  <a:pt x="6052951" y="4162170"/>
                </a:lnTo>
                <a:lnTo>
                  <a:pt x="6079462" y="4153740"/>
                </a:lnTo>
                <a:lnTo>
                  <a:pt x="6105722" y="4144737"/>
                </a:lnTo>
                <a:lnTo>
                  <a:pt x="6131723" y="4135169"/>
                </a:lnTo>
                <a:lnTo>
                  <a:pt x="6157458" y="4125043"/>
                </a:lnTo>
                <a:lnTo>
                  <a:pt x="6182920" y="4114365"/>
                </a:lnTo>
                <a:lnTo>
                  <a:pt x="6208102" y="4103144"/>
                </a:lnTo>
                <a:lnTo>
                  <a:pt x="6232998" y="4091386"/>
                </a:lnTo>
                <a:lnTo>
                  <a:pt x="6257600" y="4079099"/>
                </a:lnTo>
                <a:lnTo>
                  <a:pt x="6281900" y="4066288"/>
                </a:lnTo>
                <a:lnTo>
                  <a:pt x="6305894" y="4052963"/>
                </a:lnTo>
                <a:lnTo>
                  <a:pt x="6329572" y="4039130"/>
                </a:lnTo>
                <a:lnTo>
                  <a:pt x="6352928" y="4024795"/>
                </a:lnTo>
                <a:lnTo>
                  <a:pt x="6375956" y="4009968"/>
                </a:lnTo>
                <a:lnTo>
                  <a:pt x="6398648" y="3994653"/>
                </a:lnTo>
                <a:lnTo>
                  <a:pt x="6420997" y="3978859"/>
                </a:lnTo>
                <a:lnTo>
                  <a:pt x="6442995" y="3962592"/>
                </a:lnTo>
                <a:lnTo>
                  <a:pt x="6464638" y="3945861"/>
                </a:lnTo>
                <a:lnTo>
                  <a:pt x="6485916" y="3928672"/>
                </a:lnTo>
                <a:lnTo>
                  <a:pt x="6506824" y="3911031"/>
                </a:lnTo>
                <a:lnTo>
                  <a:pt x="6527353" y="3892947"/>
                </a:lnTo>
                <a:lnTo>
                  <a:pt x="6547498" y="3874427"/>
                </a:lnTo>
                <a:lnTo>
                  <a:pt x="6567250" y="3855477"/>
                </a:lnTo>
                <a:lnTo>
                  <a:pt x="6586604" y="3836105"/>
                </a:lnTo>
                <a:lnTo>
                  <a:pt x="6605552" y="3816319"/>
                </a:lnTo>
                <a:lnTo>
                  <a:pt x="6624087" y="3796124"/>
                </a:lnTo>
                <a:lnTo>
                  <a:pt x="6642202" y="3775529"/>
                </a:lnTo>
                <a:lnTo>
                  <a:pt x="6659890" y="3754540"/>
                </a:lnTo>
                <a:lnTo>
                  <a:pt x="6677145" y="3733165"/>
                </a:lnTo>
                <a:lnTo>
                  <a:pt x="6693958" y="3711411"/>
                </a:lnTo>
                <a:lnTo>
                  <a:pt x="6710324" y="3689285"/>
                </a:lnTo>
                <a:lnTo>
                  <a:pt x="6726234" y="3666794"/>
                </a:lnTo>
                <a:lnTo>
                  <a:pt x="6741683" y="3643945"/>
                </a:lnTo>
                <a:lnTo>
                  <a:pt x="6756662" y="3620745"/>
                </a:lnTo>
                <a:lnTo>
                  <a:pt x="6771166" y="3597202"/>
                </a:lnTo>
                <a:lnTo>
                  <a:pt x="6785187" y="3573324"/>
                </a:lnTo>
                <a:lnTo>
                  <a:pt x="6798717" y="3549116"/>
                </a:lnTo>
                <a:lnTo>
                  <a:pt x="6811751" y="3524586"/>
                </a:lnTo>
                <a:lnTo>
                  <a:pt x="6824280" y="3499741"/>
                </a:lnTo>
                <a:lnTo>
                  <a:pt x="6836299" y="3474589"/>
                </a:lnTo>
                <a:lnTo>
                  <a:pt x="6847800" y="3449137"/>
                </a:lnTo>
                <a:lnTo>
                  <a:pt x="6858775" y="3423391"/>
                </a:lnTo>
                <a:lnTo>
                  <a:pt x="6869220" y="3397359"/>
                </a:lnTo>
                <a:lnTo>
                  <a:pt x="6879124" y="3371049"/>
                </a:lnTo>
                <a:lnTo>
                  <a:pt x="6888483" y="3344466"/>
                </a:lnTo>
                <a:lnTo>
                  <a:pt x="6897289" y="3317619"/>
                </a:lnTo>
                <a:lnTo>
                  <a:pt x="6905534" y="3290515"/>
                </a:lnTo>
                <a:lnTo>
                  <a:pt x="6913213" y="3263160"/>
                </a:lnTo>
                <a:lnTo>
                  <a:pt x="6920317" y="3235562"/>
                </a:lnTo>
                <a:lnTo>
                  <a:pt x="6926841" y="3207729"/>
                </a:lnTo>
                <a:lnTo>
                  <a:pt x="6932777" y="3179666"/>
                </a:lnTo>
                <a:lnTo>
                  <a:pt x="6938117" y="3151382"/>
                </a:lnTo>
                <a:lnTo>
                  <a:pt x="6942856" y="3122884"/>
                </a:lnTo>
                <a:lnTo>
                  <a:pt x="6946985" y="3094178"/>
                </a:lnTo>
                <a:lnTo>
                  <a:pt x="6950498" y="3065272"/>
                </a:lnTo>
                <a:lnTo>
                  <a:pt x="6953388" y="3036173"/>
                </a:lnTo>
                <a:lnTo>
                  <a:pt x="6955649" y="3006888"/>
                </a:lnTo>
                <a:lnTo>
                  <a:pt x="6957271" y="2977425"/>
                </a:lnTo>
                <a:lnTo>
                  <a:pt x="6958250" y="2947790"/>
                </a:lnTo>
                <a:lnTo>
                  <a:pt x="6958578" y="2917991"/>
                </a:lnTo>
                <a:lnTo>
                  <a:pt x="6958578" y="381002"/>
                </a:lnTo>
                <a:close/>
                <a:moveTo>
                  <a:pt x="0" y="0"/>
                </a:moveTo>
                <a:lnTo>
                  <a:pt x="12192000" y="0"/>
                </a:lnTo>
                <a:lnTo>
                  <a:pt x="12192000" y="6858000"/>
                </a:lnTo>
                <a:lnTo>
                  <a:pt x="0" y="6858000"/>
                </a:lnTo>
                <a:close/>
              </a:path>
            </a:pathLst>
          </a:custGeom>
          <a:solidFill>
            <a:schemeClr val="bg1"/>
          </a:solidFill>
        </p:spPr>
        <p:txBody>
          <a:bodyPr wrap="square">
            <a:noAutofit/>
          </a:bodyPr>
          <a:lstStyle/>
          <a:p>
            <a:r>
              <a:rPr lang="en-US" noProof="0"/>
              <a:t>Add image by clicking on icon and set image in background</a:t>
            </a:r>
            <a:endParaRPr lang="en-GB" noProof="0"/>
          </a:p>
        </p:txBody>
      </p:sp>
      <p:sp>
        <p:nvSpPr>
          <p:cNvPr id="17" name="Titel 16">
            <a:extLst>
              <a:ext uri="{FF2B5EF4-FFF2-40B4-BE49-F238E27FC236}">
                <a16:creationId xmlns:a16="http://schemas.microsoft.com/office/drawing/2014/main" id="{4E0FC179-7CC2-79F2-EE8D-9237AE0B1B05}"/>
              </a:ext>
            </a:extLst>
          </p:cNvPr>
          <p:cNvSpPr>
            <a:spLocks noGrp="1"/>
          </p:cNvSpPr>
          <p:nvPr>
            <p:ph type="title" hasCustomPrompt="1"/>
          </p:nvPr>
        </p:nvSpPr>
        <p:spPr bwMode="gray">
          <a:xfrm>
            <a:off x="760164" y="1105231"/>
            <a:ext cx="5235824" cy="2128507"/>
          </a:xfrm>
        </p:spPr>
        <p:txBody>
          <a:bodyPr vert="horz" anchor="t" anchorCtr="0">
            <a:noAutofit/>
          </a:bodyPr>
          <a:lstStyle>
            <a:lvl1pPr>
              <a:defRPr sz="4000" b="1">
                <a:solidFill>
                  <a:schemeClr val="bg1"/>
                </a:solidFill>
              </a:defRPr>
            </a:lvl1pPr>
          </a:lstStyle>
          <a:p>
            <a:r>
              <a:rPr lang="en-US" noProof="0"/>
              <a:t>Presentation title</a:t>
            </a:r>
          </a:p>
        </p:txBody>
      </p:sp>
      <p:sp>
        <p:nvSpPr>
          <p:cNvPr id="5" name="Datumsplatzhalter 58">
            <a:extLst>
              <a:ext uri="{FF2B5EF4-FFF2-40B4-BE49-F238E27FC236}">
                <a16:creationId xmlns:a16="http://schemas.microsoft.com/office/drawing/2014/main" id="{9C26AB0A-833A-F38E-B779-0B91251A3662}"/>
              </a:ext>
            </a:extLst>
          </p:cNvPr>
          <p:cNvSpPr>
            <a:spLocks noGrp="1"/>
          </p:cNvSpPr>
          <p:nvPr>
            <p:ph type="dt" sz="half" idx="18"/>
          </p:nvPr>
        </p:nvSpPr>
        <p:spPr bwMode="gray">
          <a:xfrm>
            <a:off x="760164" y="3649364"/>
            <a:ext cx="5235824" cy="192897"/>
          </a:xfrm>
          <a:prstGeom prst="rect">
            <a:avLst/>
          </a:prstGeom>
        </p:spPr>
        <p:txBody>
          <a:bodyPr/>
          <a:lstStyle>
            <a:lvl1pPr>
              <a:defRPr sz="1200">
                <a:solidFill>
                  <a:schemeClr val="bg1"/>
                </a:solidFill>
              </a:defRPr>
            </a:lvl1pPr>
          </a:lstStyle>
          <a:p>
            <a:fld id="{A4F29CCC-46AF-4958-9417-ECD5C4DDF559}" type="datetime1">
              <a:rPr lang="en-US" noProof="0" smtClean="0"/>
              <a:t>10/31/2024</a:t>
            </a:fld>
            <a:endParaRPr lang="en-US" noProof="0"/>
          </a:p>
        </p:txBody>
      </p:sp>
      <p:sp>
        <p:nvSpPr>
          <p:cNvPr id="7" name="Fußzeilenplatzhalter 59">
            <a:extLst>
              <a:ext uri="{FF2B5EF4-FFF2-40B4-BE49-F238E27FC236}">
                <a16:creationId xmlns:a16="http://schemas.microsoft.com/office/drawing/2014/main" id="{EDC5C50B-FB82-16E1-DF81-9FE7C54439DE}"/>
              </a:ext>
            </a:extLst>
          </p:cNvPr>
          <p:cNvSpPr>
            <a:spLocks noGrp="1"/>
          </p:cNvSpPr>
          <p:nvPr>
            <p:ph type="ftr" sz="quarter" idx="11"/>
          </p:nvPr>
        </p:nvSpPr>
        <p:spPr bwMode="gray">
          <a:xfrm>
            <a:off x="760164" y="3394367"/>
            <a:ext cx="5235824" cy="192897"/>
          </a:xfrm>
        </p:spPr>
        <p:txBody>
          <a:bodyPr anchor="b"/>
          <a:lstStyle>
            <a:lvl1pPr>
              <a:defRPr sz="1200">
                <a:solidFill>
                  <a:schemeClr val="bg1"/>
                </a:solidFill>
              </a:defRPr>
            </a:lvl1pPr>
          </a:lstStyle>
          <a:p>
            <a:r>
              <a:rPr lang="en-US" noProof="0"/>
              <a:t>Group Presentation</a:t>
            </a:r>
          </a:p>
        </p:txBody>
      </p:sp>
      <p:sp>
        <p:nvSpPr>
          <p:cNvPr id="9" name="Bildplatzhalter 19">
            <a:extLst>
              <a:ext uri="{FF2B5EF4-FFF2-40B4-BE49-F238E27FC236}">
                <a16:creationId xmlns:a16="http://schemas.microsoft.com/office/drawing/2014/main" id="{329F519C-3635-9EE8-3365-B02794F1DC6F}"/>
              </a:ext>
            </a:extLst>
          </p:cNvPr>
          <p:cNvSpPr>
            <a:spLocks noGrp="1"/>
          </p:cNvSpPr>
          <p:nvPr>
            <p:ph type="pic" sz="quarter" idx="17" hasCustomPrompt="1"/>
          </p:nvPr>
        </p:nvSpPr>
        <p:spPr bwMode="gray">
          <a:xfrm>
            <a:off x="384969" y="6372143"/>
            <a:ext cx="1532476" cy="149002"/>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8" name="Text Placeholder 9">
            <a:extLst>
              <a:ext uri="{FF2B5EF4-FFF2-40B4-BE49-F238E27FC236}">
                <a16:creationId xmlns:a16="http://schemas.microsoft.com/office/drawing/2014/main" id="{19005A2F-AF89-0A82-F2C1-1431F42F8E6F}"/>
              </a:ext>
            </a:extLst>
          </p:cNvPr>
          <p:cNvSpPr>
            <a:spLocks noGrp="1"/>
          </p:cNvSpPr>
          <p:nvPr>
            <p:ph type="body" sz="quarter" idx="19" hasCustomPrompt="1"/>
          </p:nvPr>
        </p:nvSpPr>
        <p:spPr>
          <a:xfrm>
            <a:off x="11295111" y="5981426"/>
            <a:ext cx="508274" cy="508274"/>
          </a:xfrm>
          <a:blipFill>
            <a:blip r:embed="rId6">
              <a:extLst>
                <a:ext uri="{96DAC541-7B7A-43D3-8B79-37D633B846F1}">
                  <asvg:svgBlip xmlns:asvg="http://schemas.microsoft.com/office/drawing/2016/SVG/main" r:embed="rId7"/>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317187004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688082E-0041-A782-48BF-0372E2E1DB54}"/>
              </a:ext>
            </a:extLst>
          </p:cNvPr>
          <p:cNvSpPr>
            <a:spLocks noGrp="1"/>
          </p:cNvSpPr>
          <p:nvPr>
            <p:ph type="pic" sz="quarter" idx="36" hasCustomPrompt="1"/>
          </p:nvPr>
        </p:nvSpPr>
        <p:spPr>
          <a:xfrm>
            <a:off x="0" y="0"/>
            <a:ext cx="12192000" cy="6858000"/>
          </a:xfrm>
          <a:noFill/>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0" name="Text Placeholder 9">
            <a:extLst>
              <a:ext uri="{FF2B5EF4-FFF2-40B4-BE49-F238E27FC236}">
                <a16:creationId xmlns:a16="http://schemas.microsoft.com/office/drawing/2014/main" id="{1A5A7469-1CDC-3D9B-5A55-EC5263B0209D}"/>
              </a:ext>
            </a:extLst>
          </p:cNvPr>
          <p:cNvSpPr>
            <a:spLocks noGrp="1"/>
          </p:cNvSpPr>
          <p:nvPr>
            <p:ph type="body" sz="quarter" idx="37" hasCustomPrompt="1"/>
          </p:nvPr>
        </p:nvSpPr>
        <p:spPr>
          <a:xfrm>
            <a:off x="382588" y="1920910"/>
            <a:ext cx="8517168" cy="4581037"/>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vl5pPr marL="1616075" indent="0">
              <a:buNone/>
              <a:defRPr/>
            </a:lvl5pPr>
          </a:lstStyle>
          <a:p>
            <a:pPr lvl="0"/>
            <a:r>
              <a:rPr lang="en-GB"/>
              <a:t> </a:t>
            </a:r>
          </a:p>
        </p:txBody>
      </p:sp>
      <p:graphicFrame>
        <p:nvGraphicFramePr>
          <p:cNvPr id="2" name="Object 1" hidden="1">
            <a:extLst>
              <a:ext uri="{FF2B5EF4-FFF2-40B4-BE49-F238E27FC236}">
                <a16:creationId xmlns:a16="http://schemas.microsoft.com/office/drawing/2014/main" id="{4C836B75-95D5-10B9-C762-236304748B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2" name="Object 1" hidden="1">
                        <a:extLst>
                          <a:ext uri="{FF2B5EF4-FFF2-40B4-BE49-F238E27FC236}">
                            <a16:creationId xmlns:a16="http://schemas.microsoft.com/office/drawing/2014/main" id="{4C836B75-95D5-10B9-C762-236304748B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Titel 32">
            <a:extLst>
              <a:ext uri="{FF2B5EF4-FFF2-40B4-BE49-F238E27FC236}">
                <a16:creationId xmlns:a16="http://schemas.microsoft.com/office/drawing/2014/main" id="{D8BF3EE4-385A-D03A-0172-38A912799F38}"/>
              </a:ext>
            </a:extLst>
          </p:cNvPr>
          <p:cNvSpPr>
            <a:spLocks noGrp="1"/>
          </p:cNvSpPr>
          <p:nvPr>
            <p:ph type="title" hasCustomPrompt="1"/>
          </p:nvPr>
        </p:nvSpPr>
        <p:spPr bwMode="gray">
          <a:xfrm>
            <a:off x="773723" y="2615013"/>
            <a:ext cx="7163777" cy="2351437"/>
          </a:xfrm>
        </p:spPr>
        <p:txBody>
          <a:bodyPr vert="horz" anchor="t" anchorCtr="0">
            <a:noAutofit/>
          </a:bodyPr>
          <a:lstStyle>
            <a:lvl1pPr>
              <a:defRPr sz="4000">
                <a:solidFill>
                  <a:schemeClr val="bg1"/>
                </a:solidFill>
              </a:defRPr>
            </a:lvl1pPr>
          </a:lstStyle>
          <a:p>
            <a:r>
              <a:rPr lang="en-US" noProof="0"/>
              <a:t>Presentation title</a:t>
            </a:r>
          </a:p>
        </p:txBody>
      </p:sp>
      <p:sp>
        <p:nvSpPr>
          <p:cNvPr id="3" name="Datumsplatzhalter 58">
            <a:extLst>
              <a:ext uri="{FF2B5EF4-FFF2-40B4-BE49-F238E27FC236}">
                <a16:creationId xmlns:a16="http://schemas.microsoft.com/office/drawing/2014/main" id="{97E48789-2B24-2C14-7FB7-FBF6B63CAAEB}"/>
              </a:ext>
            </a:extLst>
          </p:cNvPr>
          <p:cNvSpPr>
            <a:spLocks noGrp="1"/>
          </p:cNvSpPr>
          <p:nvPr>
            <p:ph type="dt" sz="half" idx="18"/>
          </p:nvPr>
        </p:nvSpPr>
        <p:spPr bwMode="gray">
          <a:xfrm>
            <a:off x="773723" y="5903734"/>
            <a:ext cx="7163777" cy="192897"/>
          </a:xfrm>
          <a:prstGeom prst="rect">
            <a:avLst/>
          </a:prstGeom>
        </p:spPr>
        <p:txBody>
          <a:bodyPr/>
          <a:lstStyle>
            <a:lvl1pPr>
              <a:defRPr sz="1200">
                <a:solidFill>
                  <a:schemeClr val="bg1"/>
                </a:solidFill>
              </a:defRPr>
            </a:lvl1pPr>
          </a:lstStyle>
          <a:p>
            <a:fld id="{49913A72-4660-4190-8985-7285A51C7DB1}" type="datetime1">
              <a:rPr lang="en-US" noProof="0" smtClean="0"/>
              <a:t>10/31/2024</a:t>
            </a:fld>
            <a:endParaRPr lang="en-US" noProof="0"/>
          </a:p>
        </p:txBody>
      </p:sp>
      <p:sp>
        <p:nvSpPr>
          <p:cNvPr id="4" name="Fußzeilenplatzhalter 59">
            <a:extLst>
              <a:ext uri="{FF2B5EF4-FFF2-40B4-BE49-F238E27FC236}">
                <a16:creationId xmlns:a16="http://schemas.microsoft.com/office/drawing/2014/main" id="{5B204CA9-F463-D119-1E79-262C41A493F2}"/>
              </a:ext>
            </a:extLst>
          </p:cNvPr>
          <p:cNvSpPr>
            <a:spLocks noGrp="1"/>
          </p:cNvSpPr>
          <p:nvPr>
            <p:ph type="ftr" sz="quarter" idx="11"/>
          </p:nvPr>
        </p:nvSpPr>
        <p:spPr bwMode="gray">
          <a:xfrm>
            <a:off x="773723" y="5648737"/>
            <a:ext cx="7163777" cy="192897"/>
          </a:xfrm>
        </p:spPr>
        <p:txBody>
          <a:bodyPr anchor="b"/>
          <a:lstStyle>
            <a:lvl1pPr>
              <a:defRPr sz="1200">
                <a:solidFill>
                  <a:schemeClr val="bg1"/>
                </a:solidFill>
              </a:defRPr>
            </a:lvl1pPr>
          </a:lstStyle>
          <a:p>
            <a:r>
              <a:rPr lang="en-US" noProof="0"/>
              <a:t>Group Presentation</a:t>
            </a:r>
          </a:p>
        </p:txBody>
      </p:sp>
      <p:sp>
        <p:nvSpPr>
          <p:cNvPr id="5" name="Text Placeholder 7">
            <a:extLst>
              <a:ext uri="{FF2B5EF4-FFF2-40B4-BE49-F238E27FC236}">
                <a16:creationId xmlns:a16="http://schemas.microsoft.com/office/drawing/2014/main" id="{AE88F90A-D493-5516-335B-6823767F21BE}"/>
              </a:ext>
            </a:extLst>
          </p:cNvPr>
          <p:cNvSpPr>
            <a:spLocks noGrp="1" noChangeAspect="1"/>
          </p:cNvSpPr>
          <p:nvPr>
            <p:ph type="body" sz="quarter" idx="35" hasCustomPrompt="1"/>
          </p:nvPr>
        </p:nvSpPr>
        <p:spPr>
          <a:xfrm>
            <a:off x="11118212" y="370764"/>
            <a:ext cx="691200" cy="691200"/>
          </a:xfrm>
          <a:blipFill>
            <a:blip r:embed="rId7"/>
            <a:stretch>
              <a:fillRect/>
            </a:stretch>
          </a:blipFill>
        </p:spPr>
        <p:txBody>
          <a:bodyPr/>
          <a:lstStyle>
            <a:lvl1pPr>
              <a:defRPr sz="100"/>
            </a:lvl1pPr>
          </a:lstStyle>
          <a:p>
            <a:pPr lvl="0"/>
            <a:r>
              <a:rPr lang="de-DE"/>
              <a:t> </a:t>
            </a:r>
            <a:endParaRPr lang="en-US"/>
          </a:p>
        </p:txBody>
      </p:sp>
      <p:sp>
        <p:nvSpPr>
          <p:cNvPr id="9" name="Bildplatzhalter 19">
            <a:extLst>
              <a:ext uri="{FF2B5EF4-FFF2-40B4-BE49-F238E27FC236}">
                <a16:creationId xmlns:a16="http://schemas.microsoft.com/office/drawing/2014/main" id="{87E62702-31F3-852D-7836-237E1276712F}"/>
              </a:ext>
            </a:extLst>
          </p:cNvPr>
          <p:cNvSpPr>
            <a:spLocks noGrp="1" noChangeAspect="1"/>
          </p:cNvSpPr>
          <p:nvPr>
            <p:ph type="pic" sz="quarter" idx="17" hasCustomPrompt="1"/>
          </p:nvPr>
        </p:nvSpPr>
        <p:spPr bwMode="gray">
          <a:xfrm>
            <a:off x="382588" y="384175"/>
            <a:ext cx="2712032" cy="263691"/>
          </a:xfrm>
          <a:blipFill>
            <a:blip r:embed="rId8"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54205127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148992-DA70-DDC1-200A-390558D8D8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F0148992-DA70-DDC1-200A-390558D8D8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7">
            <a:extLst>
              <a:ext uri="{FF2B5EF4-FFF2-40B4-BE49-F238E27FC236}">
                <a16:creationId xmlns:a16="http://schemas.microsoft.com/office/drawing/2014/main" id="{DDF05E62-E407-08E0-E750-6112ECAAF915}"/>
              </a:ext>
            </a:extLst>
          </p:cNvPr>
          <p:cNvSpPr>
            <a:spLocks noGrp="1"/>
          </p:cNvSpPr>
          <p:nvPr>
            <p:ph type="pic" sz="quarter" idx="36" hasCustomPrompt="1"/>
          </p:nvPr>
        </p:nvSpPr>
        <p:spPr>
          <a:xfrm>
            <a:off x="0" y="0"/>
            <a:ext cx="12192000" cy="6858000"/>
          </a:xfrm>
          <a:noFill/>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4" name="Text Placeholder 3">
            <a:extLst>
              <a:ext uri="{FF2B5EF4-FFF2-40B4-BE49-F238E27FC236}">
                <a16:creationId xmlns:a16="http://schemas.microsoft.com/office/drawing/2014/main" id="{CCC84020-6BC7-6F3A-B0D7-265E2C987CF0}"/>
              </a:ext>
            </a:extLst>
          </p:cNvPr>
          <p:cNvSpPr>
            <a:spLocks noGrp="1"/>
          </p:cNvSpPr>
          <p:nvPr>
            <p:ph type="body" sz="quarter" idx="39" hasCustomPrompt="1"/>
          </p:nvPr>
        </p:nvSpPr>
        <p:spPr>
          <a:xfrm>
            <a:off x="382587" y="370800"/>
            <a:ext cx="6570663" cy="3851275"/>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17" name="Titel 16">
            <a:extLst>
              <a:ext uri="{FF2B5EF4-FFF2-40B4-BE49-F238E27FC236}">
                <a16:creationId xmlns:a16="http://schemas.microsoft.com/office/drawing/2014/main" id="{4E0FC179-7CC2-79F2-EE8D-9237AE0B1B05}"/>
              </a:ext>
            </a:extLst>
          </p:cNvPr>
          <p:cNvSpPr>
            <a:spLocks noGrp="1"/>
          </p:cNvSpPr>
          <p:nvPr>
            <p:ph type="title" hasCustomPrompt="1"/>
          </p:nvPr>
        </p:nvSpPr>
        <p:spPr bwMode="gray">
          <a:xfrm>
            <a:off x="760164" y="1105231"/>
            <a:ext cx="5235824" cy="2128507"/>
          </a:xfrm>
        </p:spPr>
        <p:txBody>
          <a:bodyPr vert="horz" anchor="t" anchorCtr="0">
            <a:noAutofit/>
          </a:bodyPr>
          <a:lstStyle>
            <a:lvl1pPr>
              <a:defRPr sz="4000">
                <a:solidFill>
                  <a:schemeClr val="bg1"/>
                </a:solidFill>
              </a:defRPr>
            </a:lvl1pPr>
          </a:lstStyle>
          <a:p>
            <a:r>
              <a:rPr lang="en-US" noProof="0"/>
              <a:t>Presentation title</a:t>
            </a:r>
          </a:p>
        </p:txBody>
      </p:sp>
      <p:sp>
        <p:nvSpPr>
          <p:cNvPr id="5" name="Datumsplatzhalter 58">
            <a:extLst>
              <a:ext uri="{FF2B5EF4-FFF2-40B4-BE49-F238E27FC236}">
                <a16:creationId xmlns:a16="http://schemas.microsoft.com/office/drawing/2014/main" id="{9C26AB0A-833A-F38E-B779-0B91251A3662}"/>
              </a:ext>
            </a:extLst>
          </p:cNvPr>
          <p:cNvSpPr>
            <a:spLocks noGrp="1"/>
          </p:cNvSpPr>
          <p:nvPr>
            <p:ph type="dt" sz="half" idx="18"/>
          </p:nvPr>
        </p:nvSpPr>
        <p:spPr bwMode="gray">
          <a:xfrm>
            <a:off x="760164" y="3649364"/>
            <a:ext cx="5235824" cy="192897"/>
          </a:xfrm>
          <a:prstGeom prst="rect">
            <a:avLst/>
          </a:prstGeom>
        </p:spPr>
        <p:txBody>
          <a:bodyPr/>
          <a:lstStyle>
            <a:lvl1pPr>
              <a:defRPr sz="1200">
                <a:solidFill>
                  <a:schemeClr val="bg1"/>
                </a:solidFill>
              </a:defRPr>
            </a:lvl1pPr>
          </a:lstStyle>
          <a:p>
            <a:fld id="{8FDA7712-9B2E-459D-A29A-AC64FF7909D3}" type="datetime1">
              <a:rPr lang="en-US" noProof="0" smtClean="0"/>
              <a:t>10/31/2024</a:t>
            </a:fld>
            <a:endParaRPr lang="en-US" noProof="0"/>
          </a:p>
        </p:txBody>
      </p:sp>
      <p:sp>
        <p:nvSpPr>
          <p:cNvPr id="7" name="Fußzeilenplatzhalter 59">
            <a:extLst>
              <a:ext uri="{FF2B5EF4-FFF2-40B4-BE49-F238E27FC236}">
                <a16:creationId xmlns:a16="http://schemas.microsoft.com/office/drawing/2014/main" id="{EDC5C50B-FB82-16E1-DF81-9FE7C54439DE}"/>
              </a:ext>
            </a:extLst>
          </p:cNvPr>
          <p:cNvSpPr>
            <a:spLocks noGrp="1"/>
          </p:cNvSpPr>
          <p:nvPr>
            <p:ph type="ftr" sz="quarter" idx="11"/>
          </p:nvPr>
        </p:nvSpPr>
        <p:spPr bwMode="gray">
          <a:xfrm>
            <a:off x="760164" y="3394367"/>
            <a:ext cx="5235824" cy="192897"/>
          </a:xfrm>
        </p:spPr>
        <p:txBody>
          <a:bodyPr anchor="b"/>
          <a:lstStyle>
            <a:lvl1pPr>
              <a:defRPr sz="1200">
                <a:solidFill>
                  <a:schemeClr val="bg1"/>
                </a:solidFill>
              </a:defRPr>
            </a:lvl1pPr>
          </a:lstStyle>
          <a:p>
            <a:r>
              <a:rPr lang="en-US" noProof="0"/>
              <a:t>Group Presentation</a:t>
            </a:r>
          </a:p>
        </p:txBody>
      </p:sp>
      <p:sp>
        <p:nvSpPr>
          <p:cNvPr id="2" name="Bildplatzhalter 19">
            <a:extLst>
              <a:ext uri="{FF2B5EF4-FFF2-40B4-BE49-F238E27FC236}">
                <a16:creationId xmlns:a16="http://schemas.microsoft.com/office/drawing/2014/main" id="{066FCD21-EA0D-C835-2F14-FDAD793E4DC9}"/>
              </a:ext>
            </a:extLst>
          </p:cNvPr>
          <p:cNvSpPr>
            <a:spLocks noGrp="1" noChangeAspect="1"/>
          </p:cNvSpPr>
          <p:nvPr>
            <p:ph type="pic" sz="quarter" idx="17" hasCustomPrompt="1"/>
          </p:nvPr>
        </p:nvSpPr>
        <p:spPr bwMode="gray">
          <a:xfrm>
            <a:off x="382588" y="6284902"/>
            <a:ext cx="2712042" cy="263691"/>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10" name="Text Placeholder 9">
            <a:extLst>
              <a:ext uri="{FF2B5EF4-FFF2-40B4-BE49-F238E27FC236}">
                <a16:creationId xmlns:a16="http://schemas.microsoft.com/office/drawing/2014/main" id="{F898F2BC-5256-0E86-29AA-14C797F9C3D2}"/>
              </a:ext>
            </a:extLst>
          </p:cNvPr>
          <p:cNvSpPr>
            <a:spLocks noGrp="1"/>
          </p:cNvSpPr>
          <p:nvPr>
            <p:ph type="body" sz="quarter" idx="19" hasCustomPrompt="1"/>
          </p:nvPr>
        </p:nvSpPr>
        <p:spPr>
          <a:xfrm>
            <a:off x="11113294" y="5799609"/>
            <a:ext cx="690091" cy="690091"/>
          </a:xfrm>
          <a:blipFill>
            <a:blip r:embed="rId8">
              <a:extLst>
                <a:ext uri="{96DAC541-7B7A-43D3-8B79-37D633B846F1}">
                  <asvg:svgBlip xmlns:asvg="http://schemas.microsoft.com/office/drawing/2016/SVG/main" r:embed="rId9"/>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7308972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x 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3429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3" name="Plassholder for tekst 5">
            <a:extLst>
              <a:ext uri="{FF2B5EF4-FFF2-40B4-BE49-F238E27FC236}">
                <a16:creationId xmlns:a16="http://schemas.microsoft.com/office/drawing/2014/main" id="{347F94E1-265F-6BC1-DF23-B351F8D26640}"/>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4D584395-C35C-604C-9DC5-11DB394F088D}"/>
              </a:ext>
            </a:extLst>
          </p:cNvPr>
          <p:cNvSpPr>
            <a:spLocks noGrp="1"/>
          </p:cNvSpPr>
          <p:nvPr>
            <p:ph type="pic" sz="quarter" idx="17"/>
          </p:nvPr>
        </p:nvSpPr>
        <p:spPr>
          <a:xfrm>
            <a:off x="7315200" y="3442914"/>
            <a:ext cx="4876800" cy="3429000"/>
          </a:xfrm>
          <a:prstGeom prst="rect">
            <a:avLst/>
          </a:prstGeom>
        </p:spPr>
        <p:txBody>
          <a:bodyPr/>
          <a:lstStyle/>
          <a:p>
            <a:endParaRPr lang="nb-NO"/>
          </a:p>
        </p:txBody>
      </p:sp>
    </p:spTree>
    <p:extLst>
      <p:ext uri="{BB962C8B-B14F-4D97-AF65-F5344CB8AC3E}">
        <p14:creationId xmlns:p14="http://schemas.microsoft.com/office/powerpoint/2010/main" val="222928073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150A11-41CD-9D00-B3CF-B7A18A0ADA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C3150A11-41CD-9D00-B3CF-B7A18A0ADA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AB32F14A-3FBA-B3E4-533C-636E1B8257E6}"/>
              </a:ext>
            </a:extLst>
          </p:cNvPr>
          <p:cNvSpPr>
            <a:spLocks noGrp="1"/>
          </p:cNvSpPr>
          <p:nvPr>
            <p:ph type="pic" sz="quarter" idx="39" hasCustomPrompt="1"/>
          </p:nvPr>
        </p:nvSpPr>
        <p:spPr>
          <a:xfrm>
            <a:off x="0" y="0"/>
            <a:ext cx="12192000" cy="6858000"/>
          </a:xfrm>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US"/>
          </a:p>
        </p:txBody>
      </p:sp>
      <p:sp>
        <p:nvSpPr>
          <p:cNvPr id="13" name="Text Placeholder 12">
            <a:extLst>
              <a:ext uri="{FF2B5EF4-FFF2-40B4-BE49-F238E27FC236}">
                <a16:creationId xmlns:a16="http://schemas.microsoft.com/office/drawing/2014/main" id="{B11A0B99-7CE0-5560-A4B9-FCD50E14B969}"/>
              </a:ext>
            </a:extLst>
          </p:cNvPr>
          <p:cNvSpPr>
            <a:spLocks noGrp="1" noChangeAspect="1"/>
          </p:cNvSpPr>
          <p:nvPr>
            <p:ph type="body" sz="quarter" idx="38"/>
          </p:nvPr>
        </p:nvSpPr>
        <p:spPr>
          <a:xfrm>
            <a:off x="6091072" y="3049940"/>
            <a:ext cx="4061728" cy="2860508"/>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de-DE"/>
              <a:t>Mastertextformat bearbeiten</a:t>
            </a:r>
          </a:p>
        </p:txBody>
      </p:sp>
      <p:sp>
        <p:nvSpPr>
          <p:cNvPr id="11" name="Text Placeholder 10">
            <a:extLst>
              <a:ext uri="{FF2B5EF4-FFF2-40B4-BE49-F238E27FC236}">
                <a16:creationId xmlns:a16="http://schemas.microsoft.com/office/drawing/2014/main" id="{7ED86478-AFD3-DDEF-2EDB-8D876D424EB2}"/>
              </a:ext>
            </a:extLst>
          </p:cNvPr>
          <p:cNvSpPr>
            <a:spLocks noGrp="1"/>
          </p:cNvSpPr>
          <p:nvPr>
            <p:ph type="body" sz="quarter" idx="37" hasCustomPrompt="1"/>
          </p:nvPr>
        </p:nvSpPr>
        <p:spPr>
          <a:xfrm>
            <a:off x="878305" y="757238"/>
            <a:ext cx="6880352" cy="4145630"/>
          </a:xfrm>
          <a:blipFill>
            <a:blip r:embed="rId7">
              <a:extLst>
                <a:ext uri="{96DAC541-7B7A-43D3-8B79-37D633B846F1}">
                  <asvg:svgBlip xmlns:asvg="http://schemas.microsoft.com/office/drawing/2016/SVG/main" r:embed="rId8"/>
                </a:ext>
              </a:extLst>
            </a:blip>
            <a:stretch>
              <a:fillRect/>
            </a:stretch>
          </a:blipFill>
        </p:spPr>
        <p:txBody>
          <a:bodyPr/>
          <a:lstStyle>
            <a:lvl1pPr>
              <a:defRPr sz="100"/>
            </a:lvl1pPr>
          </a:lstStyle>
          <a:p>
            <a:pPr lvl="0"/>
            <a:r>
              <a:rPr lang="en-GB"/>
              <a:t> </a:t>
            </a:r>
          </a:p>
        </p:txBody>
      </p:sp>
      <p:sp>
        <p:nvSpPr>
          <p:cNvPr id="59" name="Datumsplatzhalter 58">
            <a:extLst>
              <a:ext uri="{FF2B5EF4-FFF2-40B4-BE49-F238E27FC236}">
                <a16:creationId xmlns:a16="http://schemas.microsoft.com/office/drawing/2014/main" id="{476C2453-25F2-3AC3-DA16-43039B26A11A}"/>
              </a:ext>
            </a:extLst>
          </p:cNvPr>
          <p:cNvSpPr>
            <a:spLocks noGrp="1"/>
          </p:cNvSpPr>
          <p:nvPr>
            <p:ph type="dt" sz="half" idx="10"/>
          </p:nvPr>
        </p:nvSpPr>
        <p:spPr bwMode="gray">
          <a:xfrm>
            <a:off x="1666016" y="4341166"/>
            <a:ext cx="5322957" cy="192897"/>
          </a:xfrm>
          <a:prstGeom prst="rect">
            <a:avLst/>
          </a:prstGeom>
        </p:spPr>
        <p:txBody>
          <a:bodyPr/>
          <a:lstStyle>
            <a:lvl1pPr>
              <a:defRPr sz="1200">
                <a:solidFill>
                  <a:schemeClr val="bg1"/>
                </a:solidFill>
              </a:defRPr>
            </a:lvl1pPr>
          </a:lstStyle>
          <a:p>
            <a:fld id="{F97B765F-3906-40C9-B3D0-853F96397668}" type="datetime1">
              <a:rPr lang="en-US" noProof="0" smtClean="0"/>
              <a:t>10/31/2024</a:t>
            </a:fld>
            <a:endParaRPr lang="en-US" noProof="0"/>
          </a:p>
        </p:txBody>
      </p:sp>
      <p:sp>
        <p:nvSpPr>
          <p:cNvPr id="60" name="Fußzeilenplatzhalter 59">
            <a:extLst>
              <a:ext uri="{FF2B5EF4-FFF2-40B4-BE49-F238E27FC236}">
                <a16:creationId xmlns:a16="http://schemas.microsoft.com/office/drawing/2014/main" id="{5478043B-0235-3707-F01E-E07D22B98BAA}"/>
              </a:ext>
            </a:extLst>
          </p:cNvPr>
          <p:cNvSpPr>
            <a:spLocks noGrp="1"/>
          </p:cNvSpPr>
          <p:nvPr>
            <p:ph type="ftr" sz="quarter" idx="11"/>
          </p:nvPr>
        </p:nvSpPr>
        <p:spPr bwMode="gray">
          <a:xfrm>
            <a:off x="1666016" y="4086169"/>
            <a:ext cx="5322957" cy="192897"/>
          </a:xfrm>
        </p:spPr>
        <p:txBody>
          <a:bodyPr anchor="b"/>
          <a:lstStyle>
            <a:lvl1pPr>
              <a:defRPr sz="1200">
                <a:solidFill>
                  <a:schemeClr val="bg1"/>
                </a:solidFill>
              </a:defRPr>
            </a:lvl1pPr>
          </a:lstStyle>
          <a:p>
            <a:r>
              <a:rPr lang="en-US" noProof="0"/>
              <a:t>Group Presentation</a:t>
            </a:r>
          </a:p>
        </p:txBody>
      </p:sp>
      <p:sp>
        <p:nvSpPr>
          <p:cNvPr id="2" name="Titel 57">
            <a:extLst>
              <a:ext uri="{FF2B5EF4-FFF2-40B4-BE49-F238E27FC236}">
                <a16:creationId xmlns:a16="http://schemas.microsoft.com/office/drawing/2014/main" id="{DFDB1623-80CC-3E4C-4375-0FFD5EE3DAE0}"/>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bg1"/>
                </a:solidFill>
              </a:defRPr>
            </a:lvl1pPr>
          </a:lstStyle>
          <a:p>
            <a:r>
              <a:rPr lang="en-US" noProof="0"/>
              <a:t>Presentation title</a:t>
            </a:r>
          </a:p>
        </p:txBody>
      </p:sp>
      <p:sp>
        <p:nvSpPr>
          <p:cNvPr id="4" name="Bildplatzhalter 19">
            <a:extLst>
              <a:ext uri="{FF2B5EF4-FFF2-40B4-BE49-F238E27FC236}">
                <a16:creationId xmlns:a16="http://schemas.microsoft.com/office/drawing/2014/main" id="{D454C7FC-1F96-9BCA-2856-721642D7112C}"/>
              </a:ext>
            </a:extLst>
          </p:cNvPr>
          <p:cNvSpPr>
            <a:spLocks noGrp="1" noChangeAspect="1"/>
          </p:cNvSpPr>
          <p:nvPr>
            <p:ph type="pic" sz="quarter" idx="17" hasCustomPrompt="1"/>
          </p:nvPr>
        </p:nvSpPr>
        <p:spPr bwMode="gray">
          <a:xfrm>
            <a:off x="382588" y="6285600"/>
            <a:ext cx="2712042" cy="263691"/>
          </a:xfrm>
          <a:blipFill>
            <a:blip r:embed="rId9"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9" name="Text Placeholder 9">
            <a:extLst>
              <a:ext uri="{FF2B5EF4-FFF2-40B4-BE49-F238E27FC236}">
                <a16:creationId xmlns:a16="http://schemas.microsoft.com/office/drawing/2014/main" id="{F242258C-4892-5543-4CC5-38EAC0AFD848}"/>
              </a:ext>
            </a:extLst>
          </p:cNvPr>
          <p:cNvSpPr>
            <a:spLocks noGrp="1"/>
          </p:cNvSpPr>
          <p:nvPr>
            <p:ph type="body" sz="quarter" idx="19" hasCustomPrompt="1"/>
          </p:nvPr>
        </p:nvSpPr>
        <p:spPr>
          <a:xfrm>
            <a:off x="11113294" y="5799609"/>
            <a:ext cx="690091" cy="690091"/>
          </a:xfrm>
          <a:blipFill>
            <a:blip r:embed="rId10">
              <a:extLst>
                <a:ext uri="{96DAC541-7B7A-43D3-8B79-37D633B846F1}">
                  <asvg:svgBlip xmlns:asvg="http://schemas.microsoft.com/office/drawing/2016/SVG/main" r:embed="rId11"/>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133809610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365621C1-C6DC-B27C-3DDA-A3856D50BD22}"/>
              </a:ext>
            </a:extLst>
          </p:cNvPr>
          <p:cNvSpPr>
            <a:spLocks noGrp="1"/>
          </p:cNvSpPr>
          <p:nvPr>
            <p:ph type="pic" sz="quarter" idx="36" hasCustomPrompt="1"/>
          </p:nvPr>
        </p:nvSpPr>
        <p:spPr>
          <a:xfrm>
            <a:off x="0" y="0"/>
            <a:ext cx="12192000" cy="6858000"/>
          </a:xfrm>
          <a:noFill/>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0" name="Text Placeholder 12">
            <a:extLst>
              <a:ext uri="{FF2B5EF4-FFF2-40B4-BE49-F238E27FC236}">
                <a16:creationId xmlns:a16="http://schemas.microsoft.com/office/drawing/2014/main" id="{81208EA0-E7A9-81F6-5763-2A3543A06056}"/>
              </a:ext>
            </a:extLst>
          </p:cNvPr>
          <p:cNvSpPr>
            <a:spLocks noGrp="1"/>
          </p:cNvSpPr>
          <p:nvPr>
            <p:ph type="body" sz="quarter" idx="38"/>
          </p:nvPr>
        </p:nvSpPr>
        <p:spPr bwMode="gray">
          <a:xfrm>
            <a:off x="6091072" y="3054964"/>
            <a:ext cx="4061728" cy="286050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de-DE"/>
              <a:t>Mastertextformat bearbeiten</a:t>
            </a:r>
          </a:p>
        </p:txBody>
      </p:sp>
      <p:sp>
        <p:nvSpPr>
          <p:cNvPr id="14" name="Text Placeholder 13">
            <a:extLst>
              <a:ext uri="{FF2B5EF4-FFF2-40B4-BE49-F238E27FC236}">
                <a16:creationId xmlns:a16="http://schemas.microsoft.com/office/drawing/2014/main" id="{DAA3A9CE-5368-A524-34A3-140952EB9AA2}"/>
              </a:ext>
            </a:extLst>
          </p:cNvPr>
          <p:cNvSpPr>
            <a:spLocks noGrp="1"/>
          </p:cNvSpPr>
          <p:nvPr>
            <p:ph type="body" sz="quarter" idx="39" hasCustomPrompt="1"/>
          </p:nvPr>
        </p:nvSpPr>
        <p:spPr bwMode="gray">
          <a:xfrm>
            <a:off x="878305" y="757238"/>
            <a:ext cx="6880352" cy="414563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a:t> </a:t>
            </a:r>
          </a:p>
        </p:txBody>
      </p:sp>
      <p:graphicFrame>
        <p:nvGraphicFramePr>
          <p:cNvPr id="4" name="Object 3" hidden="1">
            <a:extLst>
              <a:ext uri="{FF2B5EF4-FFF2-40B4-BE49-F238E27FC236}">
                <a16:creationId xmlns:a16="http://schemas.microsoft.com/office/drawing/2014/main" id="{008DA4DD-D292-85C2-3EDA-F44D161609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4" name="Object 3" hidden="1">
                        <a:extLst>
                          <a:ext uri="{FF2B5EF4-FFF2-40B4-BE49-F238E27FC236}">
                            <a16:creationId xmlns:a16="http://schemas.microsoft.com/office/drawing/2014/main" id="{008DA4DD-D292-85C2-3EDA-F44D161609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el 57">
            <a:extLst>
              <a:ext uri="{FF2B5EF4-FFF2-40B4-BE49-F238E27FC236}">
                <a16:creationId xmlns:a16="http://schemas.microsoft.com/office/drawing/2014/main" id="{0BC56700-C5B2-CB6A-EC6B-F1ABD8FF5D03}"/>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bg1"/>
                </a:solidFill>
              </a:defRPr>
            </a:lvl1pPr>
          </a:lstStyle>
          <a:p>
            <a:r>
              <a:rPr lang="en-US" noProof="0"/>
              <a:t>Presentation title</a:t>
            </a:r>
          </a:p>
        </p:txBody>
      </p:sp>
      <p:sp>
        <p:nvSpPr>
          <p:cNvPr id="11" name="Datumsplatzhalter 58">
            <a:extLst>
              <a:ext uri="{FF2B5EF4-FFF2-40B4-BE49-F238E27FC236}">
                <a16:creationId xmlns:a16="http://schemas.microsoft.com/office/drawing/2014/main" id="{EF613187-CC24-786E-B648-3774A8C96773}"/>
              </a:ext>
            </a:extLst>
          </p:cNvPr>
          <p:cNvSpPr>
            <a:spLocks noGrp="1"/>
          </p:cNvSpPr>
          <p:nvPr>
            <p:ph type="dt" sz="half" idx="10"/>
          </p:nvPr>
        </p:nvSpPr>
        <p:spPr bwMode="gray">
          <a:xfrm>
            <a:off x="1666016" y="4341166"/>
            <a:ext cx="5322957" cy="192897"/>
          </a:xfrm>
          <a:prstGeom prst="rect">
            <a:avLst/>
          </a:prstGeom>
        </p:spPr>
        <p:txBody>
          <a:bodyPr/>
          <a:lstStyle>
            <a:lvl1pPr>
              <a:defRPr sz="1200">
                <a:solidFill>
                  <a:schemeClr val="bg1"/>
                </a:solidFill>
              </a:defRPr>
            </a:lvl1pPr>
          </a:lstStyle>
          <a:p>
            <a:fld id="{A48954D4-B6BF-4D3C-BCD3-B20CAE36CFE3}" type="datetime1">
              <a:rPr lang="en-US" noProof="0" smtClean="0"/>
              <a:t>10/31/2024</a:t>
            </a:fld>
            <a:endParaRPr lang="en-US" noProof="0"/>
          </a:p>
        </p:txBody>
      </p:sp>
      <p:sp>
        <p:nvSpPr>
          <p:cNvPr id="12" name="Fußzeilenplatzhalter 59">
            <a:extLst>
              <a:ext uri="{FF2B5EF4-FFF2-40B4-BE49-F238E27FC236}">
                <a16:creationId xmlns:a16="http://schemas.microsoft.com/office/drawing/2014/main" id="{AE00E287-26F7-61E0-794E-841FDBE98CE9}"/>
              </a:ext>
            </a:extLst>
          </p:cNvPr>
          <p:cNvSpPr>
            <a:spLocks noGrp="1"/>
          </p:cNvSpPr>
          <p:nvPr>
            <p:ph type="ftr" sz="quarter" idx="11"/>
          </p:nvPr>
        </p:nvSpPr>
        <p:spPr bwMode="gray">
          <a:xfrm>
            <a:off x="1666016" y="4086169"/>
            <a:ext cx="5322957" cy="192897"/>
          </a:xfrm>
        </p:spPr>
        <p:txBody>
          <a:bodyPr anchor="b"/>
          <a:lstStyle>
            <a:lvl1pPr>
              <a:defRPr sz="1200">
                <a:solidFill>
                  <a:schemeClr val="bg1"/>
                </a:solidFill>
              </a:defRPr>
            </a:lvl1pPr>
          </a:lstStyle>
          <a:p>
            <a:r>
              <a:rPr lang="en-US" noProof="0"/>
              <a:t>Group Presentation</a:t>
            </a:r>
          </a:p>
        </p:txBody>
      </p:sp>
      <p:sp>
        <p:nvSpPr>
          <p:cNvPr id="6" name="Text Placeholder 9">
            <a:extLst>
              <a:ext uri="{FF2B5EF4-FFF2-40B4-BE49-F238E27FC236}">
                <a16:creationId xmlns:a16="http://schemas.microsoft.com/office/drawing/2014/main" id="{8726A798-2008-5C0A-4F7E-815369E7B33D}"/>
              </a:ext>
            </a:extLst>
          </p:cNvPr>
          <p:cNvSpPr>
            <a:spLocks noGrp="1"/>
          </p:cNvSpPr>
          <p:nvPr>
            <p:ph type="body" sz="quarter" idx="19" hasCustomPrompt="1"/>
          </p:nvPr>
        </p:nvSpPr>
        <p:spPr>
          <a:xfrm>
            <a:off x="11113294" y="5799609"/>
            <a:ext cx="690091" cy="690091"/>
          </a:xfrm>
          <a:blipFill>
            <a:blip r:embed="rId9">
              <a:extLst>
                <a:ext uri="{96DAC541-7B7A-43D3-8B79-37D633B846F1}">
                  <asvg:svgBlip xmlns:asvg="http://schemas.microsoft.com/office/drawing/2016/SVG/main" r:embed="rId10"/>
                </a:ext>
              </a:extLst>
            </a:blip>
            <a:stretch>
              <a:fillRect/>
            </a:stretch>
          </a:blipFill>
        </p:spPr>
        <p:txBody>
          <a:bodyPr/>
          <a:lstStyle>
            <a:lvl1pPr>
              <a:defRPr sz="100"/>
            </a:lvl1pPr>
          </a:lstStyle>
          <a:p>
            <a:pPr lvl="0"/>
            <a:r>
              <a:rPr lang="de-DE"/>
              <a:t> </a:t>
            </a:r>
            <a:endParaRPr lang="en-US"/>
          </a:p>
        </p:txBody>
      </p:sp>
      <p:sp>
        <p:nvSpPr>
          <p:cNvPr id="7" name="Bildplatzhalter 19">
            <a:extLst>
              <a:ext uri="{FF2B5EF4-FFF2-40B4-BE49-F238E27FC236}">
                <a16:creationId xmlns:a16="http://schemas.microsoft.com/office/drawing/2014/main" id="{363FFD61-D876-BD6A-B2F3-4EB925A61B10}"/>
              </a:ext>
            </a:extLst>
          </p:cNvPr>
          <p:cNvSpPr>
            <a:spLocks noGrp="1" noChangeAspect="1"/>
          </p:cNvSpPr>
          <p:nvPr>
            <p:ph type="pic" sz="quarter" idx="17" hasCustomPrompt="1"/>
          </p:nvPr>
        </p:nvSpPr>
        <p:spPr bwMode="gray">
          <a:xfrm>
            <a:off x="382588" y="6285600"/>
            <a:ext cx="2712042" cy="263691"/>
          </a:xfrm>
          <a:blipFill>
            <a:blip r:embed="rId11"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65349187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4F2DF0EB-F2E9-8668-494D-4FF63CFA3F02}"/>
              </a:ext>
            </a:extLst>
          </p:cNvPr>
          <p:cNvSpPr>
            <a:spLocks noGrp="1"/>
          </p:cNvSpPr>
          <p:nvPr>
            <p:ph type="pic" sz="quarter" idx="36" hasCustomPrompt="1"/>
          </p:nvPr>
        </p:nvSpPr>
        <p:spPr>
          <a:xfrm>
            <a:off x="0" y="0"/>
            <a:ext cx="12192000" cy="6858000"/>
          </a:xfrm>
          <a:noFill/>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0" name="Text Placeholder 12">
            <a:extLst>
              <a:ext uri="{FF2B5EF4-FFF2-40B4-BE49-F238E27FC236}">
                <a16:creationId xmlns:a16="http://schemas.microsoft.com/office/drawing/2014/main" id="{60E45E1A-0E37-D13F-05DA-AA37802A16E0}"/>
              </a:ext>
            </a:extLst>
          </p:cNvPr>
          <p:cNvSpPr>
            <a:spLocks noGrp="1"/>
          </p:cNvSpPr>
          <p:nvPr>
            <p:ph type="body" sz="quarter" idx="38"/>
          </p:nvPr>
        </p:nvSpPr>
        <p:spPr>
          <a:xfrm>
            <a:off x="6091072" y="3054964"/>
            <a:ext cx="4061728" cy="286050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de-DE"/>
              <a:t>Mastertextformat bearbeiten</a:t>
            </a:r>
          </a:p>
        </p:txBody>
      </p:sp>
      <p:sp>
        <p:nvSpPr>
          <p:cNvPr id="14" name="Text Placeholder 13">
            <a:extLst>
              <a:ext uri="{FF2B5EF4-FFF2-40B4-BE49-F238E27FC236}">
                <a16:creationId xmlns:a16="http://schemas.microsoft.com/office/drawing/2014/main" id="{60A7BD78-1E06-5B0A-A85A-4F1FE60E201B}"/>
              </a:ext>
            </a:extLst>
          </p:cNvPr>
          <p:cNvSpPr>
            <a:spLocks noGrp="1"/>
          </p:cNvSpPr>
          <p:nvPr>
            <p:ph type="body" sz="quarter" idx="39" hasCustomPrompt="1"/>
          </p:nvPr>
        </p:nvSpPr>
        <p:spPr>
          <a:xfrm>
            <a:off x="878305" y="757238"/>
            <a:ext cx="6880352" cy="414563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a:t> </a:t>
            </a:r>
          </a:p>
        </p:txBody>
      </p:sp>
      <p:graphicFrame>
        <p:nvGraphicFramePr>
          <p:cNvPr id="4" name="Object 3" hidden="1">
            <a:extLst>
              <a:ext uri="{FF2B5EF4-FFF2-40B4-BE49-F238E27FC236}">
                <a16:creationId xmlns:a16="http://schemas.microsoft.com/office/drawing/2014/main" id="{D653EF3F-4BF0-034F-CF9C-56920D73C0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4" name="Object 3" hidden="1">
                        <a:extLst>
                          <a:ext uri="{FF2B5EF4-FFF2-40B4-BE49-F238E27FC236}">
                            <a16:creationId xmlns:a16="http://schemas.microsoft.com/office/drawing/2014/main" id="{D653EF3F-4BF0-034F-CF9C-56920D73C0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Titel 57">
            <a:extLst>
              <a:ext uri="{FF2B5EF4-FFF2-40B4-BE49-F238E27FC236}">
                <a16:creationId xmlns:a16="http://schemas.microsoft.com/office/drawing/2014/main" id="{2F72976F-223C-63A0-32F9-4BB45CFC3EF4}"/>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tx2"/>
                </a:solidFill>
              </a:defRPr>
            </a:lvl1pPr>
          </a:lstStyle>
          <a:p>
            <a:r>
              <a:rPr lang="en-US" noProof="0"/>
              <a:t>Presentation title</a:t>
            </a:r>
          </a:p>
        </p:txBody>
      </p:sp>
      <p:sp>
        <p:nvSpPr>
          <p:cNvPr id="3" name="Datumsplatzhalter 58">
            <a:extLst>
              <a:ext uri="{FF2B5EF4-FFF2-40B4-BE49-F238E27FC236}">
                <a16:creationId xmlns:a16="http://schemas.microsoft.com/office/drawing/2014/main" id="{21CE75A4-EBFF-B9A3-6530-2A15A1136177}"/>
              </a:ext>
            </a:extLst>
          </p:cNvPr>
          <p:cNvSpPr>
            <a:spLocks noGrp="1"/>
          </p:cNvSpPr>
          <p:nvPr>
            <p:ph type="dt" sz="half" idx="10"/>
          </p:nvPr>
        </p:nvSpPr>
        <p:spPr bwMode="gray">
          <a:xfrm>
            <a:off x="1666016" y="4341166"/>
            <a:ext cx="5322957" cy="192897"/>
          </a:xfrm>
          <a:prstGeom prst="rect">
            <a:avLst/>
          </a:prstGeom>
        </p:spPr>
        <p:txBody>
          <a:bodyPr/>
          <a:lstStyle>
            <a:lvl1pPr>
              <a:defRPr sz="1200">
                <a:solidFill>
                  <a:schemeClr val="tx2"/>
                </a:solidFill>
              </a:defRPr>
            </a:lvl1pPr>
          </a:lstStyle>
          <a:p>
            <a:fld id="{85F5EB92-91D2-43F6-B7B2-CFE3443333DB}" type="datetime1">
              <a:rPr lang="en-US" smtClean="0"/>
              <a:t>10/31/2024</a:t>
            </a:fld>
            <a:endParaRPr lang="en-US"/>
          </a:p>
        </p:txBody>
      </p:sp>
      <p:sp>
        <p:nvSpPr>
          <p:cNvPr id="11" name="Fußzeilenplatzhalter 59">
            <a:extLst>
              <a:ext uri="{FF2B5EF4-FFF2-40B4-BE49-F238E27FC236}">
                <a16:creationId xmlns:a16="http://schemas.microsoft.com/office/drawing/2014/main" id="{F04CED20-D8AC-13F7-C65E-65C19DD30EDC}"/>
              </a:ext>
            </a:extLst>
          </p:cNvPr>
          <p:cNvSpPr>
            <a:spLocks noGrp="1"/>
          </p:cNvSpPr>
          <p:nvPr>
            <p:ph type="ftr" sz="quarter" idx="11"/>
          </p:nvPr>
        </p:nvSpPr>
        <p:spPr bwMode="gray">
          <a:xfrm>
            <a:off x="1666016" y="4086169"/>
            <a:ext cx="5322957" cy="192897"/>
          </a:xfrm>
        </p:spPr>
        <p:txBody>
          <a:bodyPr anchor="b"/>
          <a:lstStyle>
            <a:lvl1pPr>
              <a:defRPr sz="1200">
                <a:solidFill>
                  <a:schemeClr val="tx2"/>
                </a:solidFill>
              </a:defRPr>
            </a:lvl1pPr>
          </a:lstStyle>
          <a:p>
            <a:r>
              <a:rPr lang="en-US"/>
              <a:t>Group Presentation</a:t>
            </a:r>
          </a:p>
        </p:txBody>
      </p:sp>
      <p:sp>
        <p:nvSpPr>
          <p:cNvPr id="6" name="Text Placeholder 9">
            <a:extLst>
              <a:ext uri="{FF2B5EF4-FFF2-40B4-BE49-F238E27FC236}">
                <a16:creationId xmlns:a16="http://schemas.microsoft.com/office/drawing/2014/main" id="{F3B177E0-07A7-8981-3B09-621F0EBF591E}"/>
              </a:ext>
            </a:extLst>
          </p:cNvPr>
          <p:cNvSpPr>
            <a:spLocks noGrp="1"/>
          </p:cNvSpPr>
          <p:nvPr>
            <p:ph type="body" sz="quarter" idx="19" hasCustomPrompt="1"/>
          </p:nvPr>
        </p:nvSpPr>
        <p:spPr>
          <a:xfrm>
            <a:off x="11113294" y="5799609"/>
            <a:ext cx="690091" cy="690091"/>
          </a:xfrm>
          <a:blipFill>
            <a:blip r:embed="rId9">
              <a:extLst>
                <a:ext uri="{96DAC541-7B7A-43D3-8B79-37D633B846F1}">
                  <asvg:svgBlip xmlns:asvg="http://schemas.microsoft.com/office/drawing/2016/SVG/main" r:embed="rId10"/>
                </a:ext>
              </a:extLst>
            </a:blip>
            <a:stretch>
              <a:fillRect/>
            </a:stretch>
          </a:blipFill>
        </p:spPr>
        <p:txBody>
          <a:bodyPr/>
          <a:lstStyle>
            <a:lvl1pPr>
              <a:defRPr sz="100"/>
            </a:lvl1pPr>
          </a:lstStyle>
          <a:p>
            <a:pPr lvl="0"/>
            <a:r>
              <a:rPr lang="de-DE"/>
              <a:t> </a:t>
            </a:r>
            <a:endParaRPr lang="en-US"/>
          </a:p>
        </p:txBody>
      </p:sp>
      <p:sp>
        <p:nvSpPr>
          <p:cNvPr id="7" name="Bildplatzhalter 19">
            <a:extLst>
              <a:ext uri="{FF2B5EF4-FFF2-40B4-BE49-F238E27FC236}">
                <a16:creationId xmlns:a16="http://schemas.microsoft.com/office/drawing/2014/main" id="{0462F4D6-0A50-C445-81AA-DD2B54C4E683}"/>
              </a:ext>
            </a:extLst>
          </p:cNvPr>
          <p:cNvSpPr>
            <a:spLocks noGrp="1" noChangeAspect="1"/>
          </p:cNvSpPr>
          <p:nvPr>
            <p:ph type="pic" sz="quarter" idx="17" hasCustomPrompt="1"/>
          </p:nvPr>
        </p:nvSpPr>
        <p:spPr bwMode="gray">
          <a:xfrm>
            <a:off x="382588" y="6285600"/>
            <a:ext cx="2712042" cy="263691"/>
          </a:xfrm>
          <a:blipFill>
            <a:blip r:embed="rId11"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118103593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0BD68B66-8EB6-8EF1-AC7E-D5B2D96E4984}"/>
              </a:ext>
            </a:extLst>
          </p:cNvPr>
          <p:cNvSpPr>
            <a:spLocks noGrp="1"/>
          </p:cNvSpPr>
          <p:nvPr>
            <p:ph type="pic" sz="quarter" idx="36" hasCustomPrompt="1"/>
          </p:nvPr>
        </p:nvSpPr>
        <p:spPr>
          <a:xfrm>
            <a:off x="0" y="0"/>
            <a:ext cx="12192000" cy="6858000"/>
          </a:xfrm>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0" name="Text Placeholder 12">
            <a:extLst>
              <a:ext uri="{FF2B5EF4-FFF2-40B4-BE49-F238E27FC236}">
                <a16:creationId xmlns:a16="http://schemas.microsoft.com/office/drawing/2014/main" id="{BEA58FC5-5C43-BB40-DEC5-4633C9CEDD2E}"/>
              </a:ext>
            </a:extLst>
          </p:cNvPr>
          <p:cNvSpPr>
            <a:spLocks noGrp="1"/>
          </p:cNvSpPr>
          <p:nvPr>
            <p:ph type="body" sz="quarter" idx="38"/>
          </p:nvPr>
        </p:nvSpPr>
        <p:spPr>
          <a:xfrm>
            <a:off x="6091072" y="3054964"/>
            <a:ext cx="4061728" cy="286050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de-DE"/>
              <a:t>Mastertextformat bearbeiten</a:t>
            </a:r>
          </a:p>
        </p:txBody>
      </p:sp>
      <p:sp>
        <p:nvSpPr>
          <p:cNvPr id="16" name="Text Placeholder 15">
            <a:extLst>
              <a:ext uri="{FF2B5EF4-FFF2-40B4-BE49-F238E27FC236}">
                <a16:creationId xmlns:a16="http://schemas.microsoft.com/office/drawing/2014/main" id="{B73283CE-AF77-52E5-7120-462AEF9A41E8}"/>
              </a:ext>
            </a:extLst>
          </p:cNvPr>
          <p:cNvSpPr>
            <a:spLocks noGrp="1"/>
          </p:cNvSpPr>
          <p:nvPr>
            <p:ph type="body" sz="quarter" idx="40" hasCustomPrompt="1"/>
          </p:nvPr>
        </p:nvSpPr>
        <p:spPr>
          <a:xfrm>
            <a:off x="878305" y="757238"/>
            <a:ext cx="6880352" cy="414563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a:t> </a:t>
            </a:r>
          </a:p>
        </p:txBody>
      </p:sp>
      <p:graphicFrame>
        <p:nvGraphicFramePr>
          <p:cNvPr id="4" name="Object 3" hidden="1">
            <a:extLst>
              <a:ext uri="{FF2B5EF4-FFF2-40B4-BE49-F238E27FC236}">
                <a16:creationId xmlns:a16="http://schemas.microsoft.com/office/drawing/2014/main" id="{8314C205-CA11-0862-9693-9FFF06A446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4" name="Object 3" hidden="1">
                        <a:extLst>
                          <a:ext uri="{FF2B5EF4-FFF2-40B4-BE49-F238E27FC236}">
                            <a16:creationId xmlns:a16="http://schemas.microsoft.com/office/drawing/2014/main" id="{8314C205-CA11-0862-9693-9FFF06A446E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5" name="Textfeld 64">
            <a:extLst>
              <a:ext uri="{FF2B5EF4-FFF2-40B4-BE49-F238E27FC236}">
                <a16:creationId xmlns:a16="http://schemas.microsoft.com/office/drawing/2014/main" id="{A6A875DC-6707-9BE3-0EFB-142B3C254312}"/>
              </a:ext>
            </a:extLst>
          </p:cNvPr>
          <p:cNvSpPr txBox="1"/>
          <p:nvPr/>
        </p:nvSpPr>
        <p:spPr bwMode="gray">
          <a:xfrm>
            <a:off x="388615" y="6377271"/>
            <a:ext cx="1293822" cy="123111"/>
          </a:xfrm>
          <a:prstGeom prst="rect">
            <a:avLst/>
          </a:prstGeom>
          <a:noFill/>
        </p:spPr>
        <p:txBody>
          <a:bodyPr wrap="square" lIns="0" tIns="0" rIns="0" bIns="0" rtlCol="0">
            <a:spAutoFit/>
          </a:bodyPr>
          <a:lstStyle/>
          <a:p>
            <a:r>
              <a:rPr lang="en-US" sz="800" noProof="0">
                <a:solidFill>
                  <a:schemeClr val="bg1"/>
                </a:solidFill>
                <a:latin typeface="+mj-lt"/>
              </a:rPr>
              <a:t>Heidelberg Materials</a:t>
            </a:r>
          </a:p>
        </p:txBody>
      </p:sp>
      <p:sp>
        <p:nvSpPr>
          <p:cNvPr id="2" name="Bildplatzhalter 19">
            <a:extLst>
              <a:ext uri="{FF2B5EF4-FFF2-40B4-BE49-F238E27FC236}">
                <a16:creationId xmlns:a16="http://schemas.microsoft.com/office/drawing/2014/main" id="{C62CDBE2-9379-D362-9E36-CFE957AFB5E0}"/>
              </a:ext>
            </a:extLst>
          </p:cNvPr>
          <p:cNvSpPr>
            <a:spLocks noGrp="1" noChangeAspect="1"/>
          </p:cNvSpPr>
          <p:nvPr>
            <p:ph type="pic" sz="quarter" idx="17" hasCustomPrompt="1"/>
          </p:nvPr>
        </p:nvSpPr>
        <p:spPr bwMode="gray">
          <a:xfrm>
            <a:off x="382588" y="6285600"/>
            <a:ext cx="2712032" cy="263691"/>
          </a:xfrm>
          <a:blipFill>
            <a:blip r:embed="rId9"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3" name="Titel 57">
            <a:extLst>
              <a:ext uri="{FF2B5EF4-FFF2-40B4-BE49-F238E27FC236}">
                <a16:creationId xmlns:a16="http://schemas.microsoft.com/office/drawing/2014/main" id="{11487B52-A5EC-9531-194F-B0CEA00FDAFB}"/>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bg1"/>
                </a:solidFill>
              </a:defRPr>
            </a:lvl1pPr>
          </a:lstStyle>
          <a:p>
            <a:r>
              <a:rPr lang="en-US" noProof="0"/>
              <a:t>Presentation title</a:t>
            </a:r>
          </a:p>
        </p:txBody>
      </p:sp>
      <p:sp>
        <p:nvSpPr>
          <p:cNvPr id="11" name="Datumsplatzhalter 58">
            <a:extLst>
              <a:ext uri="{FF2B5EF4-FFF2-40B4-BE49-F238E27FC236}">
                <a16:creationId xmlns:a16="http://schemas.microsoft.com/office/drawing/2014/main" id="{78C714DE-1286-2A2E-0C68-0AEA19A46D75}"/>
              </a:ext>
            </a:extLst>
          </p:cNvPr>
          <p:cNvSpPr>
            <a:spLocks noGrp="1"/>
          </p:cNvSpPr>
          <p:nvPr>
            <p:ph type="dt" sz="half" idx="10"/>
          </p:nvPr>
        </p:nvSpPr>
        <p:spPr bwMode="gray">
          <a:xfrm>
            <a:off x="1666016" y="4341166"/>
            <a:ext cx="5322957" cy="192897"/>
          </a:xfrm>
          <a:prstGeom prst="rect">
            <a:avLst/>
          </a:prstGeom>
        </p:spPr>
        <p:txBody>
          <a:bodyPr/>
          <a:lstStyle>
            <a:lvl1pPr>
              <a:defRPr sz="1200">
                <a:solidFill>
                  <a:schemeClr val="bg1"/>
                </a:solidFill>
              </a:defRPr>
            </a:lvl1pPr>
          </a:lstStyle>
          <a:p>
            <a:fld id="{CD9AF819-56C4-4CA7-8A5F-B1AE385FCA2D}" type="datetime1">
              <a:rPr lang="en-US" noProof="0" smtClean="0"/>
              <a:t>10/31/2024</a:t>
            </a:fld>
            <a:endParaRPr lang="en-US" noProof="0"/>
          </a:p>
        </p:txBody>
      </p:sp>
      <p:sp>
        <p:nvSpPr>
          <p:cNvPr id="12" name="Fußzeilenplatzhalter 59">
            <a:extLst>
              <a:ext uri="{FF2B5EF4-FFF2-40B4-BE49-F238E27FC236}">
                <a16:creationId xmlns:a16="http://schemas.microsoft.com/office/drawing/2014/main" id="{769AB8E6-3970-76DB-4FF7-93F3E4B62E29}"/>
              </a:ext>
            </a:extLst>
          </p:cNvPr>
          <p:cNvSpPr>
            <a:spLocks noGrp="1"/>
          </p:cNvSpPr>
          <p:nvPr>
            <p:ph type="ftr" sz="quarter" idx="11"/>
          </p:nvPr>
        </p:nvSpPr>
        <p:spPr bwMode="gray">
          <a:xfrm>
            <a:off x="1666016" y="4086169"/>
            <a:ext cx="5322957" cy="192897"/>
          </a:xfrm>
        </p:spPr>
        <p:txBody>
          <a:bodyPr anchor="b"/>
          <a:lstStyle>
            <a:lvl1pPr>
              <a:defRPr sz="1200">
                <a:solidFill>
                  <a:schemeClr val="bg1"/>
                </a:solidFill>
              </a:defRPr>
            </a:lvl1pPr>
          </a:lstStyle>
          <a:p>
            <a:r>
              <a:rPr lang="en-US" noProof="0"/>
              <a:t>Group Presentation</a:t>
            </a:r>
          </a:p>
        </p:txBody>
      </p:sp>
      <p:sp>
        <p:nvSpPr>
          <p:cNvPr id="5" name="Text Placeholder 7">
            <a:extLst>
              <a:ext uri="{FF2B5EF4-FFF2-40B4-BE49-F238E27FC236}">
                <a16:creationId xmlns:a16="http://schemas.microsoft.com/office/drawing/2014/main" id="{CD0AEB1D-726A-A978-3CA0-425BC56EA77D}"/>
              </a:ext>
            </a:extLst>
          </p:cNvPr>
          <p:cNvSpPr>
            <a:spLocks noGrp="1" noChangeAspect="1"/>
          </p:cNvSpPr>
          <p:nvPr>
            <p:ph type="body" sz="quarter" idx="35" hasCustomPrompt="1"/>
          </p:nvPr>
        </p:nvSpPr>
        <p:spPr>
          <a:xfrm>
            <a:off x="11112185" y="5809182"/>
            <a:ext cx="691200" cy="691200"/>
          </a:xfrm>
          <a:blipFill>
            <a:blip r:embed="rId10"/>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417344771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DA0BCE-C6D4-6B3B-D6A4-CB8CD0A042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Object 1" hidden="1">
                        <a:extLst>
                          <a:ext uri="{FF2B5EF4-FFF2-40B4-BE49-F238E27FC236}">
                            <a16:creationId xmlns:a16="http://schemas.microsoft.com/office/drawing/2014/main" id="{1BDA0BCE-C6D4-6B3B-D6A4-CB8CD0A042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hasCustomPrompt="1"/>
          </p:nvPr>
        </p:nvSpPr>
        <p:spPr>
          <a:xfrm>
            <a:off x="0" y="1"/>
            <a:ext cx="3095502" cy="6857729"/>
          </a:xfrm>
          <a:solidFill>
            <a:schemeClr val="bg1"/>
          </a:solidFill>
        </p:spPr>
        <p:txBody>
          <a:bodyPr/>
          <a:lstStyle/>
          <a:p>
            <a:r>
              <a:rPr lang="en-US" noProof="0"/>
              <a:t>Add image by clicking on icon and set image in background</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a:xfrm>
            <a:off x="4260849" y="547147"/>
            <a:ext cx="7544691" cy="283219"/>
          </a:xfrm>
        </p:spPr>
        <p:txBody>
          <a:bodyPr vert="horz"/>
          <a:lstStyle>
            <a:lvl1pPr>
              <a:defRPr/>
            </a:lvl1pPr>
          </a:lstStyle>
          <a:p>
            <a:r>
              <a:rPr lang="en-US"/>
              <a:t>Agenda</a:t>
            </a:r>
          </a:p>
        </p:txBody>
      </p:sp>
      <p:sp>
        <p:nvSpPr>
          <p:cNvPr id="15" name="Textplatzhalter 14">
            <a:extLst>
              <a:ext uri="{FF2B5EF4-FFF2-40B4-BE49-F238E27FC236}">
                <a16:creationId xmlns:a16="http://schemas.microsoft.com/office/drawing/2014/main" id="{D20139B8-C371-8FB6-4092-C3C2958A90E5}"/>
              </a:ext>
            </a:extLst>
          </p:cNvPr>
          <p:cNvSpPr>
            <a:spLocks noGrp="1"/>
          </p:cNvSpPr>
          <p:nvPr>
            <p:ph type="body" sz="quarter" idx="14" hasCustomPrompt="1"/>
          </p:nvPr>
        </p:nvSpPr>
        <p:spPr>
          <a:xfrm>
            <a:off x="4260850" y="1527175"/>
            <a:ext cx="3676650" cy="264303"/>
          </a:xfrm>
        </p:spPr>
        <p:txBody>
          <a:bodyPr/>
          <a:lstStyle>
            <a:lvl1pPr marL="0" indent="0">
              <a:buNone/>
              <a:defRPr b="1">
                <a:latin typeface="+mj-lt"/>
              </a:defRPr>
            </a:lvl1pPr>
          </a:lstStyle>
          <a:p>
            <a:pPr lvl="0"/>
            <a:r>
              <a:rPr lang="en-US"/>
              <a:t>Chapter heading</a:t>
            </a:r>
          </a:p>
        </p:txBody>
      </p:sp>
      <p:sp>
        <p:nvSpPr>
          <p:cNvPr id="16" name="Textplatzhalter 14">
            <a:extLst>
              <a:ext uri="{FF2B5EF4-FFF2-40B4-BE49-F238E27FC236}">
                <a16:creationId xmlns:a16="http://schemas.microsoft.com/office/drawing/2014/main" id="{A314BA95-0D62-676A-CAF2-F108D0BAFCCF}"/>
              </a:ext>
            </a:extLst>
          </p:cNvPr>
          <p:cNvSpPr>
            <a:spLocks noGrp="1"/>
          </p:cNvSpPr>
          <p:nvPr>
            <p:ph type="body" sz="quarter" idx="15" hasCustomPrompt="1"/>
          </p:nvPr>
        </p:nvSpPr>
        <p:spPr>
          <a:xfrm>
            <a:off x="4260850" y="3713026"/>
            <a:ext cx="3676650" cy="264303"/>
          </a:xfrm>
        </p:spPr>
        <p:txBody>
          <a:bodyPr/>
          <a:lstStyle>
            <a:lvl1pPr marL="0" indent="0">
              <a:buNone/>
              <a:defRPr b="1">
                <a:latin typeface="+mj-lt"/>
              </a:defRPr>
            </a:lvl1pPr>
          </a:lstStyle>
          <a:p>
            <a:pPr lvl="0"/>
            <a:r>
              <a:rPr lang="en-US"/>
              <a:t>Chapter heading</a:t>
            </a:r>
          </a:p>
        </p:txBody>
      </p:sp>
      <p:sp>
        <p:nvSpPr>
          <p:cNvPr id="17" name="Textplatzhalter 14">
            <a:extLst>
              <a:ext uri="{FF2B5EF4-FFF2-40B4-BE49-F238E27FC236}">
                <a16:creationId xmlns:a16="http://schemas.microsoft.com/office/drawing/2014/main" id="{15F4FDC0-3FB4-D5F3-FC94-A2FB648B2D1A}"/>
              </a:ext>
            </a:extLst>
          </p:cNvPr>
          <p:cNvSpPr>
            <a:spLocks noGrp="1"/>
          </p:cNvSpPr>
          <p:nvPr>
            <p:ph type="body" sz="quarter" idx="16" hasCustomPrompt="1"/>
          </p:nvPr>
        </p:nvSpPr>
        <p:spPr>
          <a:xfrm>
            <a:off x="8135938" y="1529651"/>
            <a:ext cx="3676650" cy="264303"/>
          </a:xfrm>
        </p:spPr>
        <p:txBody>
          <a:bodyPr/>
          <a:lstStyle>
            <a:lvl1pPr marL="0" indent="0">
              <a:buNone/>
              <a:defRPr b="1">
                <a:latin typeface="+mj-lt"/>
              </a:defRPr>
            </a:lvl1pPr>
          </a:lstStyle>
          <a:p>
            <a:pPr lvl="0"/>
            <a:r>
              <a:rPr lang="en-US"/>
              <a:t>Chapter heading</a:t>
            </a:r>
          </a:p>
        </p:txBody>
      </p:sp>
      <p:sp>
        <p:nvSpPr>
          <p:cNvPr id="18" name="Textplatzhalter 14">
            <a:extLst>
              <a:ext uri="{FF2B5EF4-FFF2-40B4-BE49-F238E27FC236}">
                <a16:creationId xmlns:a16="http://schemas.microsoft.com/office/drawing/2014/main" id="{3B584C6E-6A74-1E7B-E3FD-FAB2E8CAFA39}"/>
              </a:ext>
            </a:extLst>
          </p:cNvPr>
          <p:cNvSpPr>
            <a:spLocks noGrp="1"/>
          </p:cNvSpPr>
          <p:nvPr>
            <p:ph type="body" sz="quarter" idx="17" hasCustomPrompt="1"/>
          </p:nvPr>
        </p:nvSpPr>
        <p:spPr>
          <a:xfrm>
            <a:off x="8135938" y="3715501"/>
            <a:ext cx="3676650" cy="264303"/>
          </a:xfrm>
        </p:spPr>
        <p:txBody>
          <a:bodyPr/>
          <a:lstStyle>
            <a:lvl1pPr marL="0" indent="0">
              <a:buNone/>
              <a:defRPr b="1">
                <a:latin typeface="+mj-lt"/>
              </a:defRPr>
            </a:lvl1pPr>
          </a:lstStyle>
          <a:p>
            <a:pPr lvl="0"/>
            <a:r>
              <a:rPr lang="en-US"/>
              <a:t>Chapter heading</a:t>
            </a:r>
          </a:p>
        </p:txBody>
      </p:sp>
      <p:sp>
        <p:nvSpPr>
          <p:cNvPr id="20" name="Textplatzhalter 19">
            <a:extLst>
              <a:ext uri="{FF2B5EF4-FFF2-40B4-BE49-F238E27FC236}">
                <a16:creationId xmlns:a16="http://schemas.microsoft.com/office/drawing/2014/main" id="{94B1AA2F-15B3-3E78-E3E4-903909F0E3E9}"/>
              </a:ext>
            </a:extLst>
          </p:cNvPr>
          <p:cNvSpPr>
            <a:spLocks noGrp="1"/>
          </p:cNvSpPr>
          <p:nvPr>
            <p:ph type="body" sz="quarter" idx="18" hasCustomPrompt="1"/>
          </p:nvPr>
        </p:nvSpPr>
        <p:spPr>
          <a:xfrm>
            <a:off x="4260850" y="1791478"/>
            <a:ext cx="3676650" cy="1743885"/>
          </a:xfrm>
        </p:spPr>
        <p:txBody>
          <a:bodyPr tIns="90000" rIns="0">
            <a:noAutofit/>
          </a:bodyPr>
          <a:lstStyle>
            <a:lvl1pPr marL="447675" indent="-447675">
              <a:buFont typeface="+mj-lt"/>
              <a:buAutoNum type="arabicPeriod"/>
              <a:defRPr sz="1200"/>
            </a:lvl1pPr>
          </a:lstStyle>
          <a:p>
            <a:pPr lvl="0"/>
            <a:r>
              <a:rPr lang="en-US"/>
              <a:t>Lorem ipsum dolor sit </a:t>
            </a:r>
            <a:r>
              <a:rPr lang="en-US" err="1"/>
              <a:t>amet</a:t>
            </a:r>
            <a:endParaRPr lang="en-US"/>
          </a:p>
          <a:p>
            <a:pPr lvl="0"/>
            <a:r>
              <a:rPr lang="en-US"/>
              <a:t>Lorem ipsum dolor sit </a:t>
            </a:r>
            <a:r>
              <a:rPr lang="en-US" err="1"/>
              <a:t>amet</a:t>
            </a:r>
            <a:endParaRPr lang="en-US"/>
          </a:p>
        </p:txBody>
      </p:sp>
      <p:sp>
        <p:nvSpPr>
          <p:cNvPr id="21" name="Textplatzhalter 19">
            <a:extLst>
              <a:ext uri="{FF2B5EF4-FFF2-40B4-BE49-F238E27FC236}">
                <a16:creationId xmlns:a16="http://schemas.microsoft.com/office/drawing/2014/main" id="{5CAFF808-66B2-9494-3634-EFC51E403442}"/>
              </a:ext>
            </a:extLst>
          </p:cNvPr>
          <p:cNvSpPr>
            <a:spLocks noGrp="1"/>
          </p:cNvSpPr>
          <p:nvPr>
            <p:ph type="body" sz="quarter" idx="19" hasCustomPrompt="1"/>
          </p:nvPr>
        </p:nvSpPr>
        <p:spPr>
          <a:xfrm>
            <a:off x="4260850" y="3977329"/>
            <a:ext cx="3676650" cy="1743885"/>
          </a:xfrm>
        </p:spPr>
        <p:txBody>
          <a:bodyPr tIns="90000" rIns="0">
            <a:noAutofit/>
          </a:bodyPr>
          <a:lstStyle>
            <a:lvl1pPr marL="447675" indent="-447675">
              <a:buFont typeface="+mj-lt"/>
              <a:buAutoNum type="arabicPeriod"/>
              <a:defRPr sz="1200"/>
            </a:lvl1pPr>
          </a:lstStyle>
          <a:p>
            <a:pPr lvl="0"/>
            <a:r>
              <a:rPr lang="en-US"/>
              <a:t>Lorem ipsum dolor sit </a:t>
            </a:r>
            <a:r>
              <a:rPr lang="en-US" err="1"/>
              <a:t>amet</a:t>
            </a:r>
            <a:endParaRPr lang="en-US"/>
          </a:p>
          <a:p>
            <a:pPr lvl="0"/>
            <a:r>
              <a:rPr lang="en-US"/>
              <a:t>Lorem ipsum dolor sit </a:t>
            </a:r>
            <a:r>
              <a:rPr lang="en-US" err="1"/>
              <a:t>amet</a:t>
            </a:r>
            <a:endParaRPr lang="en-US"/>
          </a:p>
        </p:txBody>
      </p:sp>
      <p:sp>
        <p:nvSpPr>
          <p:cNvPr id="22" name="Textplatzhalter 19">
            <a:extLst>
              <a:ext uri="{FF2B5EF4-FFF2-40B4-BE49-F238E27FC236}">
                <a16:creationId xmlns:a16="http://schemas.microsoft.com/office/drawing/2014/main" id="{6C9931EC-DDE1-495A-9648-AFF91ED351ED}"/>
              </a:ext>
            </a:extLst>
          </p:cNvPr>
          <p:cNvSpPr>
            <a:spLocks noGrp="1"/>
          </p:cNvSpPr>
          <p:nvPr>
            <p:ph type="body" sz="quarter" idx="20" hasCustomPrompt="1"/>
          </p:nvPr>
        </p:nvSpPr>
        <p:spPr>
          <a:xfrm>
            <a:off x="8135938" y="1793954"/>
            <a:ext cx="3676650" cy="1743885"/>
          </a:xfrm>
        </p:spPr>
        <p:txBody>
          <a:bodyPr tIns="90000" rIns="0">
            <a:noAutofit/>
          </a:bodyPr>
          <a:lstStyle>
            <a:lvl1pPr marL="447675" indent="-447675">
              <a:buFont typeface="+mj-lt"/>
              <a:buAutoNum type="arabicPeriod"/>
              <a:defRPr sz="1200"/>
            </a:lvl1pPr>
          </a:lstStyle>
          <a:p>
            <a:pPr lvl="0"/>
            <a:r>
              <a:rPr lang="en-US"/>
              <a:t>Lorem ipsum dolor sit </a:t>
            </a:r>
            <a:r>
              <a:rPr lang="en-US" err="1"/>
              <a:t>amet</a:t>
            </a:r>
            <a:endParaRPr lang="en-US"/>
          </a:p>
          <a:p>
            <a:pPr lvl="0"/>
            <a:r>
              <a:rPr lang="en-US"/>
              <a:t>Lorem ipsum dolor sit </a:t>
            </a:r>
            <a:r>
              <a:rPr lang="en-US" err="1"/>
              <a:t>amet</a:t>
            </a:r>
            <a:endParaRPr lang="en-US"/>
          </a:p>
        </p:txBody>
      </p:sp>
      <p:sp>
        <p:nvSpPr>
          <p:cNvPr id="23" name="Textplatzhalter 19">
            <a:extLst>
              <a:ext uri="{FF2B5EF4-FFF2-40B4-BE49-F238E27FC236}">
                <a16:creationId xmlns:a16="http://schemas.microsoft.com/office/drawing/2014/main" id="{209CD599-CC2C-E5E6-4D03-0817D11194E3}"/>
              </a:ext>
            </a:extLst>
          </p:cNvPr>
          <p:cNvSpPr>
            <a:spLocks noGrp="1"/>
          </p:cNvSpPr>
          <p:nvPr>
            <p:ph type="body" sz="quarter" idx="21" hasCustomPrompt="1"/>
          </p:nvPr>
        </p:nvSpPr>
        <p:spPr>
          <a:xfrm>
            <a:off x="8135938" y="3979804"/>
            <a:ext cx="3676650" cy="1743885"/>
          </a:xfrm>
        </p:spPr>
        <p:txBody>
          <a:bodyPr tIns="90000" rIns="0">
            <a:noAutofit/>
          </a:bodyPr>
          <a:lstStyle>
            <a:lvl1pPr marL="447675" indent="-447675">
              <a:buFont typeface="+mj-lt"/>
              <a:buAutoNum type="arabicPeriod"/>
              <a:defRPr sz="1200"/>
            </a:lvl1pPr>
          </a:lstStyle>
          <a:p>
            <a:pPr lvl="0"/>
            <a:r>
              <a:rPr lang="en-US"/>
              <a:t>Lorem ipsum dolor sit </a:t>
            </a:r>
            <a:r>
              <a:rPr lang="en-US" err="1"/>
              <a:t>amet</a:t>
            </a:r>
            <a:endParaRPr lang="en-US"/>
          </a:p>
          <a:p>
            <a:pPr lvl="0"/>
            <a:r>
              <a:rPr lang="en-US"/>
              <a:t>Lorem ipsum dolor sit </a:t>
            </a:r>
            <a:r>
              <a:rPr lang="en-US" err="1"/>
              <a:t>amet</a:t>
            </a:r>
            <a:endParaRPr lang="en-US"/>
          </a:p>
        </p:txBody>
      </p:sp>
      <p:sp>
        <p:nvSpPr>
          <p:cNvPr id="10" name="Date Placeholder 9">
            <a:extLst>
              <a:ext uri="{FF2B5EF4-FFF2-40B4-BE49-F238E27FC236}">
                <a16:creationId xmlns:a16="http://schemas.microsoft.com/office/drawing/2014/main" id="{A98334B6-CD1D-5F15-3BF8-6F7E0E5132A7}"/>
              </a:ext>
            </a:extLst>
          </p:cNvPr>
          <p:cNvSpPr>
            <a:spLocks noGrp="1"/>
          </p:cNvSpPr>
          <p:nvPr>
            <p:ph type="dt" sz="half" idx="23"/>
          </p:nvPr>
        </p:nvSpPr>
        <p:spPr>
          <a:xfrm>
            <a:off x="4260849" y="6387525"/>
            <a:ext cx="592173" cy="123111"/>
          </a:xfrm>
        </p:spPr>
        <p:txBody>
          <a:bodyPr/>
          <a:lstStyle/>
          <a:p>
            <a:fld id="{2913E2AA-5549-4484-A8DA-0531C0F0F4A0}" type="datetime1">
              <a:rPr lang="en-US" smtClean="0"/>
              <a:t>10/31/2024</a:t>
            </a:fld>
            <a:endParaRPr lang="en-US"/>
          </a:p>
        </p:txBody>
      </p:sp>
      <p:sp>
        <p:nvSpPr>
          <p:cNvPr id="11" name="Footer Placeholder 10">
            <a:extLst>
              <a:ext uri="{FF2B5EF4-FFF2-40B4-BE49-F238E27FC236}">
                <a16:creationId xmlns:a16="http://schemas.microsoft.com/office/drawing/2014/main" id="{B4E422EB-9302-6B2D-A2B3-AA6AE510DFF5}"/>
              </a:ext>
            </a:extLst>
          </p:cNvPr>
          <p:cNvSpPr>
            <a:spLocks noGrp="1"/>
          </p:cNvSpPr>
          <p:nvPr>
            <p:ph type="ftr" sz="quarter" idx="24"/>
          </p:nvPr>
        </p:nvSpPr>
        <p:spPr>
          <a:xfrm>
            <a:off x="5024438" y="6387525"/>
            <a:ext cx="5618074" cy="123111"/>
          </a:xfrm>
        </p:spPr>
        <p:txBody>
          <a:bodyPr/>
          <a:lstStyle/>
          <a:p>
            <a:r>
              <a:rPr lang="en-US"/>
              <a:t>Group Presentation</a:t>
            </a:r>
          </a:p>
        </p:txBody>
      </p:sp>
      <p:sp>
        <p:nvSpPr>
          <p:cNvPr id="12" name="Slide Number Placeholder 11">
            <a:extLst>
              <a:ext uri="{FF2B5EF4-FFF2-40B4-BE49-F238E27FC236}">
                <a16:creationId xmlns:a16="http://schemas.microsoft.com/office/drawing/2014/main" id="{9ECA0F19-7D7E-1D9B-7AF8-4E809F253014}"/>
              </a:ext>
            </a:extLst>
          </p:cNvPr>
          <p:cNvSpPr>
            <a:spLocks noGrp="1"/>
          </p:cNvSpPr>
          <p:nvPr>
            <p:ph type="sldNum" sz="quarter" idx="25"/>
          </p:nvPr>
        </p:nvSpPr>
        <p:spPr>
          <a:xfrm>
            <a:off x="382589" y="6386334"/>
            <a:ext cx="265112" cy="123111"/>
          </a:xfrm>
        </p:spPr>
        <p:txBody>
          <a:bodyPr/>
          <a:lstStyle/>
          <a:p>
            <a:fld id="{A115CDC9-74CB-4F6C-8CD3-A6C89F254EE7}" type="slidenum">
              <a:rPr lang="en-US" smtClean="0"/>
              <a:pPr/>
              <a:t>‹#›</a:t>
            </a:fld>
            <a:endParaRPr lang="en-US"/>
          </a:p>
        </p:txBody>
      </p:sp>
      <p:sp>
        <p:nvSpPr>
          <p:cNvPr id="25" name="Bildplatzhalter 19">
            <a:extLst>
              <a:ext uri="{FF2B5EF4-FFF2-40B4-BE49-F238E27FC236}">
                <a16:creationId xmlns:a16="http://schemas.microsoft.com/office/drawing/2014/main" id="{FDD8BEB8-15F3-3AC8-B513-5EC7B5F7CEAA}"/>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257023909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Agenda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3F9F96-C180-C455-40B8-7073A9EBA0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Object 1" hidden="1">
                        <a:extLst>
                          <a:ext uri="{FF2B5EF4-FFF2-40B4-BE49-F238E27FC236}">
                            <a16:creationId xmlns:a16="http://schemas.microsoft.com/office/drawing/2014/main" id="{B63F9F96-C180-C455-40B8-7073A9EBA0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Bildplatzhalter 12">
            <a:extLst>
              <a:ext uri="{FF2B5EF4-FFF2-40B4-BE49-F238E27FC236}">
                <a16:creationId xmlns:a16="http://schemas.microsoft.com/office/drawing/2014/main" id="{6DDC2983-B7A7-3448-D56C-CC15554DD9E8}"/>
              </a:ext>
            </a:extLst>
          </p:cNvPr>
          <p:cNvSpPr>
            <a:spLocks noGrp="1"/>
          </p:cNvSpPr>
          <p:nvPr>
            <p:ph type="pic" sz="quarter" idx="13" hasCustomPrompt="1"/>
          </p:nvPr>
        </p:nvSpPr>
        <p:spPr>
          <a:xfrm>
            <a:off x="0" y="1"/>
            <a:ext cx="5032375" cy="6857729"/>
          </a:xfrm>
          <a:solidFill>
            <a:schemeClr val="bg1"/>
          </a:solidFill>
        </p:spPr>
        <p:txBody>
          <a:bodyPr/>
          <a:lstStyle/>
          <a:p>
            <a:r>
              <a:rPr lang="en-US" noProof="0"/>
              <a:t>Add image by clicking on icon and set image in background</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a:xfrm>
            <a:off x="6192838" y="542123"/>
            <a:ext cx="5618162" cy="283219"/>
          </a:xfrm>
        </p:spPr>
        <p:txBody>
          <a:bodyPr vert="horz"/>
          <a:lstStyle>
            <a:lvl1pPr>
              <a:defRPr/>
            </a:lvl1pPr>
          </a:lstStyle>
          <a:p>
            <a:r>
              <a:rPr lang="en-US" noProof="0"/>
              <a:t>Agenda</a:t>
            </a:r>
          </a:p>
        </p:txBody>
      </p:sp>
      <p:sp>
        <p:nvSpPr>
          <p:cNvPr id="20" name="Textplatzhalter 19">
            <a:extLst>
              <a:ext uri="{FF2B5EF4-FFF2-40B4-BE49-F238E27FC236}">
                <a16:creationId xmlns:a16="http://schemas.microsoft.com/office/drawing/2014/main" id="{2BE49A6E-C6FD-7D3F-63EF-3F16D24778D4}"/>
              </a:ext>
            </a:extLst>
          </p:cNvPr>
          <p:cNvSpPr>
            <a:spLocks noGrp="1"/>
          </p:cNvSpPr>
          <p:nvPr>
            <p:ph type="body" sz="quarter" idx="14" hasCustomPrompt="1"/>
          </p:nvPr>
        </p:nvSpPr>
        <p:spPr>
          <a:xfrm>
            <a:off x="6192838" y="1539550"/>
            <a:ext cx="5618162" cy="242597"/>
          </a:xfrm>
        </p:spPr>
        <p:txBody>
          <a:bodyPr/>
          <a:lstStyle>
            <a:lvl1pPr marL="719138" indent="-719138">
              <a:buFont typeface="+mj-lt"/>
              <a:buAutoNum type="arabicPeriod"/>
              <a:defRPr b="1">
                <a:latin typeface="+mj-lt"/>
              </a:defRPr>
            </a:lvl1pPr>
          </a:lstStyle>
          <a:p>
            <a:pPr lvl="0"/>
            <a:r>
              <a:rPr lang="en-US" noProof="0"/>
              <a:t>Chapter heading</a:t>
            </a:r>
          </a:p>
        </p:txBody>
      </p:sp>
      <p:sp>
        <p:nvSpPr>
          <p:cNvPr id="22" name="Textplatzhalter 21">
            <a:extLst>
              <a:ext uri="{FF2B5EF4-FFF2-40B4-BE49-F238E27FC236}">
                <a16:creationId xmlns:a16="http://schemas.microsoft.com/office/drawing/2014/main" id="{D26B39CE-6632-9409-187B-FC44FFB18B97}"/>
              </a:ext>
            </a:extLst>
          </p:cNvPr>
          <p:cNvSpPr>
            <a:spLocks noGrp="1"/>
          </p:cNvSpPr>
          <p:nvPr>
            <p:ph type="body" sz="quarter" idx="15" hasCustomPrompt="1"/>
          </p:nvPr>
        </p:nvSpPr>
        <p:spPr>
          <a:xfrm>
            <a:off x="6192838" y="1782148"/>
            <a:ext cx="5618162"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3" name="Textplatzhalter 19">
            <a:extLst>
              <a:ext uri="{FF2B5EF4-FFF2-40B4-BE49-F238E27FC236}">
                <a16:creationId xmlns:a16="http://schemas.microsoft.com/office/drawing/2014/main" id="{3C5040A3-3630-A769-6AD2-0EEAE25523CD}"/>
              </a:ext>
            </a:extLst>
          </p:cNvPr>
          <p:cNvSpPr>
            <a:spLocks noGrp="1"/>
          </p:cNvSpPr>
          <p:nvPr>
            <p:ph type="body" sz="quarter" idx="16" hasCustomPrompt="1"/>
          </p:nvPr>
        </p:nvSpPr>
        <p:spPr>
          <a:xfrm>
            <a:off x="6192838" y="2294745"/>
            <a:ext cx="5618162" cy="242597"/>
          </a:xfrm>
        </p:spPr>
        <p:txBody>
          <a:bodyPr/>
          <a:lstStyle>
            <a:lvl1pPr marL="719138" indent="-719138">
              <a:buFont typeface="+mj-lt"/>
              <a:buAutoNum type="arabicPeriod" startAt="2"/>
              <a:defRPr b="1">
                <a:latin typeface="+mj-lt"/>
              </a:defRPr>
            </a:lvl1pPr>
          </a:lstStyle>
          <a:p>
            <a:pPr lvl="0"/>
            <a:r>
              <a:rPr lang="en-US" noProof="0"/>
              <a:t>Chapter heading</a:t>
            </a:r>
          </a:p>
        </p:txBody>
      </p:sp>
      <p:sp>
        <p:nvSpPr>
          <p:cNvPr id="24" name="Textplatzhalter 21">
            <a:extLst>
              <a:ext uri="{FF2B5EF4-FFF2-40B4-BE49-F238E27FC236}">
                <a16:creationId xmlns:a16="http://schemas.microsoft.com/office/drawing/2014/main" id="{9556C504-11AB-CD71-FCA2-A34FDADDCFC0}"/>
              </a:ext>
            </a:extLst>
          </p:cNvPr>
          <p:cNvSpPr>
            <a:spLocks noGrp="1"/>
          </p:cNvSpPr>
          <p:nvPr>
            <p:ph type="body" sz="quarter" idx="17" hasCustomPrompt="1"/>
          </p:nvPr>
        </p:nvSpPr>
        <p:spPr>
          <a:xfrm>
            <a:off x="6192838" y="2537342"/>
            <a:ext cx="5618162"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5" name="Textplatzhalter 19">
            <a:extLst>
              <a:ext uri="{FF2B5EF4-FFF2-40B4-BE49-F238E27FC236}">
                <a16:creationId xmlns:a16="http://schemas.microsoft.com/office/drawing/2014/main" id="{C7B475B5-7119-CA3B-EB54-3152D6D487E6}"/>
              </a:ext>
            </a:extLst>
          </p:cNvPr>
          <p:cNvSpPr>
            <a:spLocks noGrp="1"/>
          </p:cNvSpPr>
          <p:nvPr>
            <p:ph type="body" sz="quarter" idx="18" hasCustomPrompt="1"/>
          </p:nvPr>
        </p:nvSpPr>
        <p:spPr>
          <a:xfrm>
            <a:off x="6192838" y="3049939"/>
            <a:ext cx="5618162" cy="242597"/>
          </a:xfrm>
        </p:spPr>
        <p:txBody>
          <a:bodyPr/>
          <a:lstStyle>
            <a:lvl1pPr marL="719138" indent="-719138">
              <a:buFont typeface="+mj-lt"/>
              <a:buAutoNum type="arabicPeriod" startAt="3"/>
              <a:defRPr b="1">
                <a:latin typeface="+mj-lt"/>
              </a:defRPr>
            </a:lvl1pPr>
          </a:lstStyle>
          <a:p>
            <a:pPr lvl="0"/>
            <a:r>
              <a:rPr lang="en-US" noProof="0"/>
              <a:t>Chapter heading</a:t>
            </a:r>
          </a:p>
        </p:txBody>
      </p:sp>
      <p:sp>
        <p:nvSpPr>
          <p:cNvPr id="26" name="Textplatzhalter 21">
            <a:extLst>
              <a:ext uri="{FF2B5EF4-FFF2-40B4-BE49-F238E27FC236}">
                <a16:creationId xmlns:a16="http://schemas.microsoft.com/office/drawing/2014/main" id="{9ED2EE46-9584-58D5-ED30-0B106DE57065}"/>
              </a:ext>
            </a:extLst>
          </p:cNvPr>
          <p:cNvSpPr>
            <a:spLocks noGrp="1"/>
          </p:cNvSpPr>
          <p:nvPr>
            <p:ph type="body" sz="quarter" idx="19" hasCustomPrompt="1"/>
          </p:nvPr>
        </p:nvSpPr>
        <p:spPr>
          <a:xfrm>
            <a:off x="6192838" y="3292536"/>
            <a:ext cx="5618162"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7" name="Textplatzhalter 19">
            <a:extLst>
              <a:ext uri="{FF2B5EF4-FFF2-40B4-BE49-F238E27FC236}">
                <a16:creationId xmlns:a16="http://schemas.microsoft.com/office/drawing/2014/main" id="{67997D2B-E157-24AA-D960-F09E43B3AA62}"/>
              </a:ext>
            </a:extLst>
          </p:cNvPr>
          <p:cNvSpPr>
            <a:spLocks noGrp="1"/>
          </p:cNvSpPr>
          <p:nvPr>
            <p:ph type="body" sz="quarter" idx="20" hasCustomPrompt="1"/>
          </p:nvPr>
        </p:nvSpPr>
        <p:spPr>
          <a:xfrm>
            <a:off x="6192838" y="3805133"/>
            <a:ext cx="5618162" cy="242597"/>
          </a:xfrm>
        </p:spPr>
        <p:txBody>
          <a:bodyPr/>
          <a:lstStyle>
            <a:lvl1pPr marL="719138" indent="-719138">
              <a:buFont typeface="+mj-lt"/>
              <a:buAutoNum type="arabicPeriod" startAt="4"/>
              <a:defRPr b="1">
                <a:latin typeface="+mj-lt"/>
              </a:defRPr>
            </a:lvl1pPr>
          </a:lstStyle>
          <a:p>
            <a:pPr lvl="0"/>
            <a:r>
              <a:rPr lang="en-US" noProof="0"/>
              <a:t>Chapter heading</a:t>
            </a:r>
          </a:p>
        </p:txBody>
      </p:sp>
      <p:sp>
        <p:nvSpPr>
          <p:cNvPr id="28" name="Textplatzhalter 21">
            <a:extLst>
              <a:ext uri="{FF2B5EF4-FFF2-40B4-BE49-F238E27FC236}">
                <a16:creationId xmlns:a16="http://schemas.microsoft.com/office/drawing/2014/main" id="{77E6D626-5CF9-6CE2-4F6F-1671F16BED0A}"/>
              </a:ext>
            </a:extLst>
          </p:cNvPr>
          <p:cNvSpPr>
            <a:spLocks noGrp="1"/>
          </p:cNvSpPr>
          <p:nvPr>
            <p:ph type="body" sz="quarter" idx="21" hasCustomPrompt="1"/>
          </p:nvPr>
        </p:nvSpPr>
        <p:spPr>
          <a:xfrm>
            <a:off x="6192838" y="4047730"/>
            <a:ext cx="5618162"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9" name="Textplatzhalter 19">
            <a:extLst>
              <a:ext uri="{FF2B5EF4-FFF2-40B4-BE49-F238E27FC236}">
                <a16:creationId xmlns:a16="http://schemas.microsoft.com/office/drawing/2014/main" id="{286CDAE6-B497-8686-B2B3-63B0FAABA1E1}"/>
              </a:ext>
            </a:extLst>
          </p:cNvPr>
          <p:cNvSpPr>
            <a:spLocks noGrp="1"/>
          </p:cNvSpPr>
          <p:nvPr>
            <p:ph type="body" sz="quarter" idx="22" hasCustomPrompt="1"/>
          </p:nvPr>
        </p:nvSpPr>
        <p:spPr>
          <a:xfrm>
            <a:off x="6192838" y="4560327"/>
            <a:ext cx="5618162" cy="242597"/>
          </a:xfrm>
        </p:spPr>
        <p:txBody>
          <a:bodyPr/>
          <a:lstStyle>
            <a:lvl1pPr marL="719138" indent="-719138">
              <a:buFont typeface="+mj-lt"/>
              <a:buAutoNum type="arabicPeriod" startAt="5"/>
              <a:defRPr b="1">
                <a:latin typeface="+mj-lt"/>
              </a:defRPr>
            </a:lvl1pPr>
          </a:lstStyle>
          <a:p>
            <a:pPr lvl="0"/>
            <a:r>
              <a:rPr lang="en-US" noProof="0"/>
              <a:t>Chapter heading</a:t>
            </a:r>
          </a:p>
        </p:txBody>
      </p:sp>
      <p:sp>
        <p:nvSpPr>
          <p:cNvPr id="30" name="Textplatzhalter 21">
            <a:extLst>
              <a:ext uri="{FF2B5EF4-FFF2-40B4-BE49-F238E27FC236}">
                <a16:creationId xmlns:a16="http://schemas.microsoft.com/office/drawing/2014/main" id="{1B50D682-8ACD-3995-B0AB-C894DD56D500}"/>
              </a:ext>
            </a:extLst>
          </p:cNvPr>
          <p:cNvSpPr>
            <a:spLocks noGrp="1"/>
          </p:cNvSpPr>
          <p:nvPr>
            <p:ph type="body" sz="quarter" idx="23" hasCustomPrompt="1"/>
          </p:nvPr>
        </p:nvSpPr>
        <p:spPr>
          <a:xfrm>
            <a:off x="6192838" y="4802924"/>
            <a:ext cx="5618162"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10" name="Date Placeholder 9">
            <a:extLst>
              <a:ext uri="{FF2B5EF4-FFF2-40B4-BE49-F238E27FC236}">
                <a16:creationId xmlns:a16="http://schemas.microsoft.com/office/drawing/2014/main" id="{E1B17CF3-5C4C-0D46-60F0-E0E93C38D834}"/>
              </a:ext>
            </a:extLst>
          </p:cNvPr>
          <p:cNvSpPr>
            <a:spLocks noGrp="1"/>
          </p:cNvSpPr>
          <p:nvPr>
            <p:ph type="dt" sz="half" idx="25"/>
          </p:nvPr>
        </p:nvSpPr>
        <p:spPr>
          <a:xfrm>
            <a:off x="6192838" y="6387525"/>
            <a:ext cx="592173" cy="123111"/>
          </a:xfrm>
        </p:spPr>
        <p:txBody>
          <a:bodyPr/>
          <a:lstStyle/>
          <a:p>
            <a:fld id="{230848E0-4435-4948-853E-FF7E322CF545}" type="datetime1">
              <a:rPr lang="en-US" noProof="0" smtClean="0"/>
              <a:t>10/31/2024</a:t>
            </a:fld>
            <a:endParaRPr lang="en-US" noProof="0"/>
          </a:p>
        </p:txBody>
      </p:sp>
      <p:sp>
        <p:nvSpPr>
          <p:cNvPr id="11" name="Footer Placeholder 10">
            <a:extLst>
              <a:ext uri="{FF2B5EF4-FFF2-40B4-BE49-F238E27FC236}">
                <a16:creationId xmlns:a16="http://schemas.microsoft.com/office/drawing/2014/main" id="{7638BDD2-7014-F28D-8CB6-368BCAF3C49A}"/>
              </a:ext>
            </a:extLst>
          </p:cNvPr>
          <p:cNvSpPr>
            <a:spLocks noGrp="1"/>
          </p:cNvSpPr>
          <p:nvPr>
            <p:ph type="ftr" sz="quarter" idx="26"/>
          </p:nvPr>
        </p:nvSpPr>
        <p:spPr>
          <a:xfrm>
            <a:off x="7164388" y="6387525"/>
            <a:ext cx="3667125" cy="123111"/>
          </a:xfrm>
        </p:spPr>
        <p:txBody>
          <a:bodyPr/>
          <a:lstStyle/>
          <a:p>
            <a:r>
              <a:rPr lang="en-US" noProof="0"/>
              <a:t>Group Presentation</a:t>
            </a:r>
          </a:p>
        </p:txBody>
      </p:sp>
      <p:sp>
        <p:nvSpPr>
          <p:cNvPr id="12" name="Slide Number Placeholder 11">
            <a:extLst>
              <a:ext uri="{FF2B5EF4-FFF2-40B4-BE49-F238E27FC236}">
                <a16:creationId xmlns:a16="http://schemas.microsoft.com/office/drawing/2014/main" id="{EA5E6616-8E56-236F-22CA-EF4AB2CB74AA}"/>
              </a:ext>
            </a:extLst>
          </p:cNvPr>
          <p:cNvSpPr>
            <a:spLocks noGrp="1"/>
          </p:cNvSpPr>
          <p:nvPr>
            <p:ph type="sldNum" sz="quarter" idx="27"/>
          </p:nvPr>
        </p:nvSpPr>
        <p:spPr/>
        <p:txBody>
          <a:bodyPr/>
          <a:lstStyle/>
          <a:p>
            <a:fld id="{A115CDC9-74CB-4F6C-8CD3-A6C89F254EE7}" type="slidenum">
              <a:rPr lang="en-US" noProof="0" smtClean="0"/>
              <a:pPr/>
              <a:t>‹#›</a:t>
            </a:fld>
            <a:endParaRPr lang="en-US" noProof="0"/>
          </a:p>
        </p:txBody>
      </p:sp>
      <p:sp>
        <p:nvSpPr>
          <p:cNvPr id="3" name="Bildplatzhalter 19">
            <a:extLst>
              <a:ext uri="{FF2B5EF4-FFF2-40B4-BE49-F238E27FC236}">
                <a16:creationId xmlns:a16="http://schemas.microsoft.com/office/drawing/2014/main" id="{EC6A1EFB-F13D-05CF-FE4C-5387DDD25260}"/>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270756723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9DA5E9-E4BA-9A87-0124-200A34FBF4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8" name="Object 7" hidden="1">
                        <a:extLst>
                          <a:ext uri="{FF2B5EF4-FFF2-40B4-BE49-F238E27FC236}">
                            <a16:creationId xmlns:a16="http://schemas.microsoft.com/office/drawing/2014/main" id="{799DA5E9-E4BA-9A87-0124-200A34FBF4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p:nvPr>
        </p:nvSpPr>
        <p:spPr>
          <a:xfrm>
            <a:off x="0" y="271"/>
            <a:ext cx="3095502" cy="6857729"/>
          </a:xfrm>
          <a:solidFill>
            <a:schemeClr val="bg1"/>
          </a:solidFill>
        </p:spPr>
        <p:txBody>
          <a:bodyPr/>
          <a:lstStyle/>
          <a:p>
            <a:r>
              <a:rPr lang="de-DE" noProof="0"/>
              <a:t>Bild durch Klicken auf Symbol hinzufügen</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a:xfrm>
            <a:off x="4260849" y="547147"/>
            <a:ext cx="7544691" cy="283219"/>
          </a:xfrm>
        </p:spPr>
        <p:txBody>
          <a:bodyPr vert="horz"/>
          <a:lstStyle>
            <a:lvl1pPr>
              <a:defRPr/>
            </a:lvl1pPr>
          </a:lstStyle>
          <a:p>
            <a:r>
              <a:rPr lang="en-US" noProof="0"/>
              <a:t>Agenda</a:t>
            </a:r>
          </a:p>
        </p:txBody>
      </p:sp>
      <p:sp>
        <p:nvSpPr>
          <p:cNvPr id="2" name="Textplatzhalter 19">
            <a:extLst>
              <a:ext uri="{FF2B5EF4-FFF2-40B4-BE49-F238E27FC236}">
                <a16:creationId xmlns:a16="http://schemas.microsoft.com/office/drawing/2014/main" id="{CA39A1E5-E8EF-0237-A64E-13416A5D1022}"/>
              </a:ext>
            </a:extLst>
          </p:cNvPr>
          <p:cNvSpPr>
            <a:spLocks noGrp="1"/>
          </p:cNvSpPr>
          <p:nvPr>
            <p:ph type="body" sz="quarter" idx="14" hasCustomPrompt="1"/>
          </p:nvPr>
        </p:nvSpPr>
        <p:spPr>
          <a:xfrm>
            <a:off x="4260850" y="1539550"/>
            <a:ext cx="3676650" cy="242597"/>
          </a:xfrm>
        </p:spPr>
        <p:txBody>
          <a:bodyPr/>
          <a:lstStyle>
            <a:lvl1pPr marL="719138" indent="-719138">
              <a:buFont typeface="+mj-lt"/>
              <a:buAutoNum type="arabicPeriod"/>
              <a:defRPr b="1">
                <a:latin typeface="+mj-lt"/>
              </a:defRPr>
            </a:lvl1pPr>
          </a:lstStyle>
          <a:p>
            <a:pPr lvl="0"/>
            <a:r>
              <a:rPr lang="en-US" noProof="0"/>
              <a:t>Chapter heading</a:t>
            </a:r>
          </a:p>
        </p:txBody>
      </p:sp>
      <p:sp>
        <p:nvSpPr>
          <p:cNvPr id="3" name="Textplatzhalter 21">
            <a:extLst>
              <a:ext uri="{FF2B5EF4-FFF2-40B4-BE49-F238E27FC236}">
                <a16:creationId xmlns:a16="http://schemas.microsoft.com/office/drawing/2014/main" id="{9A5E3B74-AC92-D4E6-08FB-7E0E1D2E7CDB}"/>
              </a:ext>
            </a:extLst>
          </p:cNvPr>
          <p:cNvSpPr>
            <a:spLocks noGrp="1"/>
          </p:cNvSpPr>
          <p:nvPr>
            <p:ph type="body" sz="quarter" idx="15" hasCustomPrompt="1"/>
          </p:nvPr>
        </p:nvSpPr>
        <p:spPr>
          <a:xfrm>
            <a:off x="4260850" y="1782148"/>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4" name="Textplatzhalter 19">
            <a:extLst>
              <a:ext uri="{FF2B5EF4-FFF2-40B4-BE49-F238E27FC236}">
                <a16:creationId xmlns:a16="http://schemas.microsoft.com/office/drawing/2014/main" id="{194A37A7-CCE0-C4DD-08FB-84CAC2A14E9F}"/>
              </a:ext>
            </a:extLst>
          </p:cNvPr>
          <p:cNvSpPr>
            <a:spLocks noGrp="1"/>
          </p:cNvSpPr>
          <p:nvPr>
            <p:ph type="body" sz="quarter" idx="16" hasCustomPrompt="1"/>
          </p:nvPr>
        </p:nvSpPr>
        <p:spPr>
          <a:xfrm>
            <a:off x="4260850" y="2294745"/>
            <a:ext cx="3676650" cy="242597"/>
          </a:xfrm>
        </p:spPr>
        <p:txBody>
          <a:bodyPr/>
          <a:lstStyle>
            <a:lvl1pPr marL="719138" indent="-719138">
              <a:buFont typeface="+mj-lt"/>
              <a:buAutoNum type="arabicPeriod" startAt="2"/>
              <a:defRPr b="1">
                <a:latin typeface="+mj-lt"/>
              </a:defRPr>
            </a:lvl1pPr>
          </a:lstStyle>
          <a:p>
            <a:pPr lvl="0"/>
            <a:r>
              <a:rPr lang="en-US" noProof="0"/>
              <a:t>Chapter heading</a:t>
            </a:r>
          </a:p>
        </p:txBody>
      </p:sp>
      <p:sp>
        <p:nvSpPr>
          <p:cNvPr id="5" name="Textplatzhalter 21">
            <a:extLst>
              <a:ext uri="{FF2B5EF4-FFF2-40B4-BE49-F238E27FC236}">
                <a16:creationId xmlns:a16="http://schemas.microsoft.com/office/drawing/2014/main" id="{CDCF2FC9-7F31-58A8-86E1-536ECADA3D7E}"/>
              </a:ext>
            </a:extLst>
          </p:cNvPr>
          <p:cNvSpPr>
            <a:spLocks noGrp="1"/>
          </p:cNvSpPr>
          <p:nvPr>
            <p:ph type="body" sz="quarter" idx="17" hasCustomPrompt="1"/>
          </p:nvPr>
        </p:nvSpPr>
        <p:spPr>
          <a:xfrm>
            <a:off x="4260850" y="2537342"/>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6" name="Textplatzhalter 19">
            <a:extLst>
              <a:ext uri="{FF2B5EF4-FFF2-40B4-BE49-F238E27FC236}">
                <a16:creationId xmlns:a16="http://schemas.microsoft.com/office/drawing/2014/main" id="{7DF88484-847E-4926-F617-C732B90F6E1E}"/>
              </a:ext>
            </a:extLst>
          </p:cNvPr>
          <p:cNvSpPr>
            <a:spLocks noGrp="1"/>
          </p:cNvSpPr>
          <p:nvPr>
            <p:ph type="body" sz="quarter" idx="18" hasCustomPrompt="1"/>
          </p:nvPr>
        </p:nvSpPr>
        <p:spPr>
          <a:xfrm>
            <a:off x="4260850" y="3049939"/>
            <a:ext cx="3676650" cy="242597"/>
          </a:xfrm>
        </p:spPr>
        <p:txBody>
          <a:bodyPr/>
          <a:lstStyle>
            <a:lvl1pPr marL="719138" indent="-719138">
              <a:buFont typeface="+mj-lt"/>
              <a:buAutoNum type="arabicPeriod" startAt="3"/>
              <a:defRPr b="1">
                <a:latin typeface="+mj-lt"/>
              </a:defRPr>
            </a:lvl1pPr>
          </a:lstStyle>
          <a:p>
            <a:pPr lvl="0"/>
            <a:r>
              <a:rPr lang="en-US" noProof="0"/>
              <a:t>Chapter heading</a:t>
            </a:r>
          </a:p>
        </p:txBody>
      </p:sp>
      <p:sp>
        <p:nvSpPr>
          <p:cNvPr id="11" name="Textplatzhalter 21">
            <a:extLst>
              <a:ext uri="{FF2B5EF4-FFF2-40B4-BE49-F238E27FC236}">
                <a16:creationId xmlns:a16="http://schemas.microsoft.com/office/drawing/2014/main" id="{FA8EC28A-3440-0DF5-AE6F-F97C33C3335B}"/>
              </a:ext>
            </a:extLst>
          </p:cNvPr>
          <p:cNvSpPr>
            <a:spLocks noGrp="1"/>
          </p:cNvSpPr>
          <p:nvPr>
            <p:ph type="body" sz="quarter" idx="19" hasCustomPrompt="1"/>
          </p:nvPr>
        </p:nvSpPr>
        <p:spPr>
          <a:xfrm>
            <a:off x="4260850" y="3292536"/>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12" name="Textplatzhalter 19">
            <a:extLst>
              <a:ext uri="{FF2B5EF4-FFF2-40B4-BE49-F238E27FC236}">
                <a16:creationId xmlns:a16="http://schemas.microsoft.com/office/drawing/2014/main" id="{8643FFF0-4582-651C-F184-4D64BD89C2AA}"/>
              </a:ext>
            </a:extLst>
          </p:cNvPr>
          <p:cNvSpPr>
            <a:spLocks noGrp="1"/>
          </p:cNvSpPr>
          <p:nvPr>
            <p:ph type="body" sz="quarter" idx="20" hasCustomPrompt="1"/>
          </p:nvPr>
        </p:nvSpPr>
        <p:spPr>
          <a:xfrm>
            <a:off x="4260850" y="3805133"/>
            <a:ext cx="3676650" cy="242597"/>
          </a:xfrm>
        </p:spPr>
        <p:txBody>
          <a:bodyPr/>
          <a:lstStyle>
            <a:lvl1pPr marL="719138" indent="-719138">
              <a:buFont typeface="+mj-lt"/>
              <a:buAutoNum type="arabicPeriod" startAt="4"/>
              <a:defRPr b="1">
                <a:latin typeface="+mj-lt"/>
              </a:defRPr>
            </a:lvl1pPr>
          </a:lstStyle>
          <a:p>
            <a:pPr lvl="0"/>
            <a:r>
              <a:rPr lang="en-US" noProof="0"/>
              <a:t>Chapter heading</a:t>
            </a:r>
          </a:p>
        </p:txBody>
      </p:sp>
      <p:sp>
        <p:nvSpPr>
          <p:cNvPr id="14" name="Textplatzhalter 21">
            <a:extLst>
              <a:ext uri="{FF2B5EF4-FFF2-40B4-BE49-F238E27FC236}">
                <a16:creationId xmlns:a16="http://schemas.microsoft.com/office/drawing/2014/main" id="{E2C72C6B-00DD-24EB-0D80-A696763DC761}"/>
              </a:ext>
            </a:extLst>
          </p:cNvPr>
          <p:cNvSpPr>
            <a:spLocks noGrp="1"/>
          </p:cNvSpPr>
          <p:nvPr>
            <p:ph type="body" sz="quarter" idx="21" hasCustomPrompt="1"/>
          </p:nvPr>
        </p:nvSpPr>
        <p:spPr>
          <a:xfrm>
            <a:off x="4260850" y="4047730"/>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19" name="Textplatzhalter 19">
            <a:extLst>
              <a:ext uri="{FF2B5EF4-FFF2-40B4-BE49-F238E27FC236}">
                <a16:creationId xmlns:a16="http://schemas.microsoft.com/office/drawing/2014/main" id="{8D862FC6-3FEE-D8EA-0C5F-4D3300F00047}"/>
              </a:ext>
            </a:extLst>
          </p:cNvPr>
          <p:cNvSpPr>
            <a:spLocks noGrp="1"/>
          </p:cNvSpPr>
          <p:nvPr>
            <p:ph type="body" sz="quarter" idx="22" hasCustomPrompt="1"/>
          </p:nvPr>
        </p:nvSpPr>
        <p:spPr>
          <a:xfrm>
            <a:off x="4260850" y="4560327"/>
            <a:ext cx="3676650" cy="242597"/>
          </a:xfrm>
        </p:spPr>
        <p:txBody>
          <a:bodyPr/>
          <a:lstStyle>
            <a:lvl1pPr marL="719138" indent="-719138">
              <a:buFont typeface="+mj-lt"/>
              <a:buAutoNum type="arabicPeriod" startAt="5"/>
              <a:defRPr b="1">
                <a:latin typeface="+mj-lt"/>
              </a:defRPr>
            </a:lvl1pPr>
          </a:lstStyle>
          <a:p>
            <a:pPr lvl="0"/>
            <a:r>
              <a:rPr lang="en-US" noProof="0"/>
              <a:t>Chapter heading</a:t>
            </a:r>
          </a:p>
        </p:txBody>
      </p:sp>
      <p:sp>
        <p:nvSpPr>
          <p:cNvPr id="24" name="Textplatzhalter 21">
            <a:extLst>
              <a:ext uri="{FF2B5EF4-FFF2-40B4-BE49-F238E27FC236}">
                <a16:creationId xmlns:a16="http://schemas.microsoft.com/office/drawing/2014/main" id="{66374619-2AE0-8B11-57D0-3A61E5D540F9}"/>
              </a:ext>
            </a:extLst>
          </p:cNvPr>
          <p:cNvSpPr>
            <a:spLocks noGrp="1"/>
          </p:cNvSpPr>
          <p:nvPr>
            <p:ph type="body" sz="quarter" idx="23" hasCustomPrompt="1"/>
          </p:nvPr>
        </p:nvSpPr>
        <p:spPr>
          <a:xfrm>
            <a:off x="4260850" y="4802924"/>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5" name="Textplatzhalter 19">
            <a:extLst>
              <a:ext uri="{FF2B5EF4-FFF2-40B4-BE49-F238E27FC236}">
                <a16:creationId xmlns:a16="http://schemas.microsoft.com/office/drawing/2014/main" id="{CD9F7968-3D9B-E69D-220F-F0CB15EC9726}"/>
              </a:ext>
            </a:extLst>
          </p:cNvPr>
          <p:cNvSpPr>
            <a:spLocks noGrp="1"/>
          </p:cNvSpPr>
          <p:nvPr>
            <p:ph type="body" sz="quarter" idx="24" hasCustomPrompt="1"/>
          </p:nvPr>
        </p:nvSpPr>
        <p:spPr>
          <a:xfrm>
            <a:off x="8135938" y="1527175"/>
            <a:ext cx="3676650" cy="242597"/>
          </a:xfrm>
        </p:spPr>
        <p:txBody>
          <a:bodyPr/>
          <a:lstStyle>
            <a:lvl1pPr marL="719138" indent="-719138">
              <a:buFont typeface="+mj-lt"/>
              <a:buAutoNum type="arabicPeriod" startAt="6"/>
              <a:defRPr b="1">
                <a:latin typeface="+mj-lt"/>
              </a:defRPr>
            </a:lvl1pPr>
          </a:lstStyle>
          <a:p>
            <a:pPr lvl="0"/>
            <a:r>
              <a:rPr lang="en-US" noProof="0"/>
              <a:t>Chapter heading</a:t>
            </a:r>
          </a:p>
        </p:txBody>
      </p:sp>
      <p:sp>
        <p:nvSpPr>
          <p:cNvPr id="26" name="Textplatzhalter 21">
            <a:extLst>
              <a:ext uri="{FF2B5EF4-FFF2-40B4-BE49-F238E27FC236}">
                <a16:creationId xmlns:a16="http://schemas.microsoft.com/office/drawing/2014/main" id="{D82B70E0-C476-78C4-3C02-71EBA0C9EDC0}"/>
              </a:ext>
            </a:extLst>
          </p:cNvPr>
          <p:cNvSpPr>
            <a:spLocks noGrp="1"/>
          </p:cNvSpPr>
          <p:nvPr>
            <p:ph type="body" sz="quarter" idx="25" hasCustomPrompt="1"/>
          </p:nvPr>
        </p:nvSpPr>
        <p:spPr>
          <a:xfrm>
            <a:off x="8135938" y="1769773"/>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7" name="Textplatzhalter 19">
            <a:extLst>
              <a:ext uri="{FF2B5EF4-FFF2-40B4-BE49-F238E27FC236}">
                <a16:creationId xmlns:a16="http://schemas.microsoft.com/office/drawing/2014/main" id="{5C631519-6969-29C0-663C-5E51356E910E}"/>
              </a:ext>
            </a:extLst>
          </p:cNvPr>
          <p:cNvSpPr>
            <a:spLocks noGrp="1"/>
          </p:cNvSpPr>
          <p:nvPr>
            <p:ph type="body" sz="quarter" idx="26" hasCustomPrompt="1"/>
          </p:nvPr>
        </p:nvSpPr>
        <p:spPr>
          <a:xfrm>
            <a:off x="8135938" y="2282370"/>
            <a:ext cx="3676650" cy="242597"/>
          </a:xfrm>
        </p:spPr>
        <p:txBody>
          <a:bodyPr/>
          <a:lstStyle>
            <a:lvl1pPr marL="719138" indent="-719138">
              <a:buFont typeface="+mj-lt"/>
              <a:buAutoNum type="arabicPeriod" startAt="7"/>
              <a:defRPr b="1">
                <a:latin typeface="+mj-lt"/>
              </a:defRPr>
            </a:lvl1pPr>
          </a:lstStyle>
          <a:p>
            <a:pPr lvl="0"/>
            <a:r>
              <a:rPr lang="en-US" noProof="0"/>
              <a:t>Chapter heading</a:t>
            </a:r>
          </a:p>
        </p:txBody>
      </p:sp>
      <p:sp>
        <p:nvSpPr>
          <p:cNvPr id="28" name="Textplatzhalter 21">
            <a:extLst>
              <a:ext uri="{FF2B5EF4-FFF2-40B4-BE49-F238E27FC236}">
                <a16:creationId xmlns:a16="http://schemas.microsoft.com/office/drawing/2014/main" id="{D25547B7-3EA6-7411-FDC2-EC03C298DC3C}"/>
              </a:ext>
            </a:extLst>
          </p:cNvPr>
          <p:cNvSpPr>
            <a:spLocks noGrp="1"/>
          </p:cNvSpPr>
          <p:nvPr>
            <p:ph type="body" sz="quarter" idx="27" hasCustomPrompt="1"/>
          </p:nvPr>
        </p:nvSpPr>
        <p:spPr>
          <a:xfrm>
            <a:off x="8135938" y="2524967"/>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9" name="Textplatzhalter 19">
            <a:extLst>
              <a:ext uri="{FF2B5EF4-FFF2-40B4-BE49-F238E27FC236}">
                <a16:creationId xmlns:a16="http://schemas.microsoft.com/office/drawing/2014/main" id="{AD000910-F934-F245-4303-3D3B3EB730D0}"/>
              </a:ext>
            </a:extLst>
          </p:cNvPr>
          <p:cNvSpPr>
            <a:spLocks noGrp="1"/>
          </p:cNvSpPr>
          <p:nvPr>
            <p:ph type="body" sz="quarter" idx="28" hasCustomPrompt="1"/>
          </p:nvPr>
        </p:nvSpPr>
        <p:spPr>
          <a:xfrm>
            <a:off x="8135938" y="3037564"/>
            <a:ext cx="3676650" cy="242597"/>
          </a:xfrm>
        </p:spPr>
        <p:txBody>
          <a:bodyPr/>
          <a:lstStyle>
            <a:lvl1pPr marL="719138" indent="-719138">
              <a:buFont typeface="+mj-lt"/>
              <a:buAutoNum type="arabicPeriod" startAt="8"/>
              <a:defRPr b="1">
                <a:latin typeface="+mj-lt"/>
              </a:defRPr>
            </a:lvl1pPr>
          </a:lstStyle>
          <a:p>
            <a:pPr lvl="0"/>
            <a:r>
              <a:rPr lang="en-US" noProof="0"/>
              <a:t>Chapter heading</a:t>
            </a:r>
          </a:p>
        </p:txBody>
      </p:sp>
      <p:sp>
        <p:nvSpPr>
          <p:cNvPr id="30" name="Textplatzhalter 21">
            <a:extLst>
              <a:ext uri="{FF2B5EF4-FFF2-40B4-BE49-F238E27FC236}">
                <a16:creationId xmlns:a16="http://schemas.microsoft.com/office/drawing/2014/main" id="{39E6C198-7F9D-691C-3FD0-A7A633446DFA}"/>
              </a:ext>
            </a:extLst>
          </p:cNvPr>
          <p:cNvSpPr>
            <a:spLocks noGrp="1"/>
          </p:cNvSpPr>
          <p:nvPr>
            <p:ph type="body" sz="quarter" idx="29" hasCustomPrompt="1"/>
          </p:nvPr>
        </p:nvSpPr>
        <p:spPr>
          <a:xfrm>
            <a:off x="8135938" y="3280161"/>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31" name="Textplatzhalter 19">
            <a:extLst>
              <a:ext uri="{FF2B5EF4-FFF2-40B4-BE49-F238E27FC236}">
                <a16:creationId xmlns:a16="http://schemas.microsoft.com/office/drawing/2014/main" id="{851DA279-9FE1-1511-CA36-E1D42B2042E3}"/>
              </a:ext>
            </a:extLst>
          </p:cNvPr>
          <p:cNvSpPr>
            <a:spLocks noGrp="1"/>
          </p:cNvSpPr>
          <p:nvPr>
            <p:ph type="body" sz="quarter" idx="30" hasCustomPrompt="1"/>
          </p:nvPr>
        </p:nvSpPr>
        <p:spPr>
          <a:xfrm>
            <a:off x="8135938" y="3792758"/>
            <a:ext cx="3676650" cy="242597"/>
          </a:xfrm>
        </p:spPr>
        <p:txBody>
          <a:bodyPr/>
          <a:lstStyle>
            <a:lvl1pPr marL="719138" indent="-719138">
              <a:buFont typeface="+mj-lt"/>
              <a:buAutoNum type="arabicPeriod" startAt="9"/>
              <a:defRPr b="1">
                <a:latin typeface="+mj-lt"/>
              </a:defRPr>
            </a:lvl1pPr>
          </a:lstStyle>
          <a:p>
            <a:pPr lvl="0"/>
            <a:r>
              <a:rPr lang="en-US" noProof="0"/>
              <a:t>Chapter heading</a:t>
            </a:r>
          </a:p>
        </p:txBody>
      </p:sp>
      <p:sp>
        <p:nvSpPr>
          <p:cNvPr id="32" name="Textplatzhalter 21">
            <a:extLst>
              <a:ext uri="{FF2B5EF4-FFF2-40B4-BE49-F238E27FC236}">
                <a16:creationId xmlns:a16="http://schemas.microsoft.com/office/drawing/2014/main" id="{C9D6D55E-8585-D922-33D0-7FB69BDA977E}"/>
              </a:ext>
            </a:extLst>
          </p:cNvPr>
          <p:cNvSpPr>
            <a:spLocks noGrp="1"/>
          </p:cNvSpPr>
          <p:nvPr>
            <p:ph type="body" sz="quarter" idx="31" hasCustomPrompt="1"/>
          </p:nvPr>
        </p:nvSpPr>
        <p:spPr>
          <a:xfrm>
            <a:off x="8135938" y="4035355"/>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33" name="Textplatzhalter 19">
            <a:extLst>
              <a:ext uri="{FF2B5EF4-FFF2-40B4-BE49-F238E27FC236}">
                <a16:creationId xmlns:a16="http://schemas.microsoft.com/office/drawing/2014/main" id="{63E4B976-3034-8602-58B1-664686D12DAC}"/>
              </a:ext>
            </a:extLst>
          </p:cNvPr>
          <p:cNvSpPr>
            <a:spLocks noGrp="1"/>
          </p:cNvSpPr>
          <p:nvPr>
            <p:ph type="body" sz="quarter" idx="32" hasCustomPrompt="1"/>
          </p:nvPr>
        </p:nvSpPr>
        <p:spPr>
          <a:xfrm>
            <a:off x="8135938" y="4547952"/>
            <a:ext cx="3676650" cy="242597"/>
          </a:xfrm>
        </p:spPr>
        <p:txBody>
          <a:bodyPr/>
          <a:lstStyle>
            <a:lvl1pPr marL="719138" indent="-719138">
              <a:buFont typeface="+mj-lt"/>
              <a:buAutoNum type="arabicPeriod" startAt="10"/>
              <a:defRPr b="1">
                <a:latin typeface="+mj-lt"/>
              </a:defRPr>
            </a:lvl1pPr>
          </a:lstStyle>
          <a:p>
            <a:pPr lvl="0"/>
            <a:r>
              <a:rPr lang="en-US" noProof="0"/>
              <a:t>Chapter heading</a:t>
            </a:r>
          </a:p>
        </p:txBody>
      </p:sp>
      <p:sp>
        <p:nvSpPr>
          <p:cNvPr id="34" name="Textplatzhalter 21">
            <a:extLst>
              <a:ext uri="{FF2B5EF4-FFF2-40B4-BE49-F238E27FC236}">
                <a16:creationId xmlns:a16="http://schemas.microsoft.com/office/drawing/2014/main" id="{A15B8A27-0CAB-13C7-C7B1-4EE3120EF1CB}"/>
              </a:ext>
            </a:extLst>
          </p:cNvPr>
          <p:cNvSpPr>
            <a:spLocks noGrp="1"/>
          </p:cNvSpPr>
          <p:nvPr>
            <p:ph type="body" sz="quarter" idx="33" hasCustomPrompt="1"/>
          </p:nvPr>
        </p:nvSpPr>
        <p:spPr>
          <a:xfrm>
            <a:off x="8135938" y="4790549"/>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15" name="Bildplatzhalter 19">
            <a:extLst>
              <a:ext uri="{FF2B5EF4-FFF2-40B4-BE49-F238E27FC236}">
                <a16:creationId xmlns:a16="http://schemas.microsoft.com/office/drawing/2014/main" id="{397096BF-371A-6EE9-AF7E-94DEBA7FF117}"/>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20" name="Date Placeholder 19">
            <a:extLst>
              <a:ext uri="{FF2B5EF4-FFF2-40B4-BE49-F238E27FC236}">
                <a16:creationId xmlns:a16="http://schemas.microsoft.com/office/drawing/2014/main" id="{26E541A7-DE82-304B-3356-342106D96024}"/>
              </a:ext>
            </a:extLst>
          </p:cNvPr>
          <p:cNvSpPr>
            <a:spLocks noGrp="1"/>
          </p:cNvSpPr>
          <p:nvPr>
            <p:ph type="dt" sz="half" idx="35"/>
          </p:nvPr>
        </p:nvSpPr>
        <p:spPr>
          <a:xfrm>
            <a:off x="4263279" y="6387525"/>
            <a:ext cx="592173" cy="123111"/>
          </a:xfrm>
        </p:spPr>
        <p:txBody>
          <a:bodyPr/>
          <a:lstStyle/>
          <a:p>
            <a:fld id="{EA82C0AB-2C1B-4046-B666-E56C9D1911CD}" type="datetime1">
              <a:rPr lang="en-US" noProof="0" smtClean="0"/>
              <a:t>10/31/2024</a:t>
            </a:fld>
            <a:endParaRPr lang="en-US" noProof="0"/>
          </a:p>
        </p:txBody>
      </p:sp>
      <p:sp>
        <p:nvSpPr>
          <p:cNvPr id="21" name="Footer Placeholder 20">
            <a:extLst>
              <a:ext uri="{FF2B5EF4-FFF2-40B4-BE49-F238E27FC236}">
                <a16:creationId xmlns:a16="http://schemas.microsoft.com/office/drawing/2014/main" id="{45A577BA-A9D7-EADA-2EAF-9A047A0C7CA5}"/>
              </a:ext>
            </a:extLst>
          </p:cNvPr>
          <p:cNvSpPr>
            <a:spLocks noGrp="1"/>
          </p:cNvSpPr>
          <p:nvPr>
            <p:ph type="ftr" sz="quarter" idx="36"/>
          </p:nvPr>
        </p:nvSpPr>
        <p:spPr>
          <a:xfrm>
            <a:off x="5226782" y="6387525"/>
            <a:ext cx="5418160" cy="123111"/>
          </a:xfrm>
        </p:spPr>
        <p:txBody>
          <a:bodyPr/>
          <a:lstStyle/>
          <a:p>
            <a:r>
              <a:rPr lang="en-US" noProof="0"/>
              <a:t>Group Presentation</a:t>
            </a:r>
          </a:p>
        </p:txBody>
      </p:sp>
      <p:sp>
        <p:nvSpPr>
          <p:cNvPr id="22" name="Slide Number Placeholder 21">
            <a:extLst>
              <a:ext uri="{FF2B5EF4-FFF2-40B4-BE49-F238E27FC236}">
                <a16:creationId xmlns:a16="http://schemas.microsoft.com/office/drawing/2014/main" id="{A4DF786A-DFF7-2E50-D313-665093026396}"/>
              </a:ext>
            </a:extLst>
          </p:cNvPr>
          <p:cNvSpPr>
            <a:spLocks noGrp="1"/>
          </p:cNvSpPr>
          <p:nvPr>
            <p:ph type="sldNum" sz="quarter" idx="37"/>
          </p:nvPr>
        </p:nvSpPr>
        <p:spPr/>
        <p:txBody>
          <a:bodyPr/>
          <a:lstStyle/>
          <a:p>
            <a:fld id="{A115CDC9-74CB-4F6C-8CD3-A6C89F254EE7}" type="slidenum">
              <a:rPr lang="en-US" noProof="0" smtClean="0"/>
              <a:pPr/>
              <a:t>‹#›</a:t>
            </a:fld>
            <a:endParaRPr lang="en-US" noProof="0"/>
          </a:p>
        </p:txBody>
      </p:sp>
    </p:spTree>
    <p:extLst>
      <p:ext uri="{BB962C8B-B14F-4D97-AF65-F5344CB8AC3E}">
        <p14:creationId xmlns:p14="http://schemas.microsoft.com/office/powerpoint/2010/main" val="371326514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genda 4">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CAECAC2-527C-99A2-0D96-5D8F89F01E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8" name="Object 7" hidden="1">
                        <a:extLst>
                          <a:ext uri="{FF2B5EF4-FFF2-40B4-BE49-F238E27FC236}">
                            <a16:creationId xmlns:a16="http://schemas.microsoft.com/office/drawing/2014/main" id="{ACAECAC2-527C-99A2-0D96-5D8F89F01E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EE5E6F2E-1218-E22D-5877-C0280F73DE38}"/>
              </a:ext>
            </a:extLst>
          </p:cNvPr>
          <p:cNvSpPr/>
          <p:nvPr/>
        </p:nvSpPr>
        <p:spPr bwMode="gray">
          <a:xfrm>
            <a:off x="0" y="0"/>
            <a:ext cx="12192000" cy="685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hasCustomPrompt="1"/>
          </p:nvPr>
        </p:nvSpPr>
        <p:spPr bwMode="gray">
          <a:xfrm>
            <a:off x="0" y="1"/>
            <a:ext cx="3095502" cy="6857729"/>
          </a:xfrm>
          <a:solidFill>
            <a:schemeClr val="bg1"/>
          </a:solidFill>
        </p:spPr>
        <p:txBody>
          <a:bodyPr/>
          <a:lstStyle/>
          <a:p>
            <a:r>
              <a:rPr lang="en-US" noProof="0"/>
              <a:t>Add image by clicking on icon and set image in background</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bwMode="gray">
          <a:xfrm>
            <a:off x="4260849" y="542123"/>
            <a:ext cx="7544691" cy="283219"/>
          </a:xfrm>
        </p:spPr>
        <p:txBody>
          <a:bodyPr vert="horz"/>
          <a:lstStyle>
            <a:lvl1pPr>
              <a:defRPr>
                <a:solidFill>
                  <a:schemeClr val="bg1"/>
                </a:solidFill>
              </a:defRPr>
            </a:lvl1pPr>
          </a:lstStyle>
          <a:p>
            <a:r>
              <a:rPr lang="en-US" noProof="0"/>
              <a:t>Agenda</a:t>
            </a:r>
          </a:p>
        </p:txBody>
      </p:sp>
      <p:sp>
        <p:nvSpPr>
          <p:cNvPr id="15" name="Textplatzhalter 14">
            <a:extLst>
              <a:ext uri="{FF2B5EF4-FFF2-40B4-BE49-F238E27FC236}">
                <a16:creationId xmlns:a16="http://schemas.microsoft.com/office/drawing/2014/main" id="{D20139B8-C371-8FB6-4092-C3C2958A90E5}"/>
              </a:ext>
            </a:extLst>
          </p:cNvPr>
          <p:cNvSpPr>
            <a:spLocks noGrp="1"/>
          </p:cNvSpPr>
          <p:nvPr>
            <p:ph type="body" sz="quarter" idx="14" hasCustomPrompt="1"/>
          </p:nvPr>
        </p:nvSpPr>
        <p:spPr bwMode="gray">
          <a:xfrm>
            <a:off x="4260850" y="1527175"/>
            <a:ext cx="3676650" cy="264303"/>
          </a:xfrm>
        </p:spPr>
        <p:txBody>
          <a:bodyPr>
            <a:noAutofit/>
          </a:bodyPr>
          <a:lstStyle>
            <a:lvl1pPr marL="0" indent="0">
              <a:buNone/>
              <a:defRPr b="1">
                <a:solidFill>
                  <a:schemeClr val="bg1"/>
                </a:solidFill>
                <a:latin typeface="+mj-lt"/>
              </a:defRPr>
            </a:lvl1pPr>
          </a:lstStyle>
          <a:p>
            <a:pPr lvl="0"/>
            <a:r>
              <a:rPr lang="en-US" noProof="0"/>
              <a:t>Chapter heading</a:t>
            </a:r>
          </a:p>
        </p:txBody>
      </p:sp>
      <p:sp>
        <p:nvSpPr>
          <p:cNvPr id="16" name="Textplatzhalter 14">
            <a:extLst>
              <a:ext uri="{FF2B5EF4-FFF2-40B4-BE49-F238E27FC236}">
                <a16:creationId xmlns:a16="http://schemas.microsoft.com/office/drawing/2014/main" id="{A314BA95-0D62-676A-CAF2-F108D0BAFCCF}"/>
              </a:ext>
            </a:extLst>
          </p:cNvPr>
          <p:cNvSpPr>
            <a:spLocks noGrp="1"/>
          </p:cNvSpPr>
          <p:nvPr>
            <p:ph type="body" sz="quarter" idx="15" hasCustomPrompt="1"/>
          </p:nvPr>
        </p:nvSpPr>
        <p:spPr bwMode="gray">
          <a:xfrm>
            <a:off x="4260850" y="3713026"/>
            <a:ext cx="3676650" cy="264303"/>
          </a:xfrm>
        </p:spPr>
        <p:txBody>
          <a:bodyPr>
            <a:noAutofit/>
          </a:bodyPr>
          <a:lstStyle>
            <a:lvl1pPr marL="0" indent="0">
              <a:buNone/>
              <a:defRPr b="1">
                <a:solidFill>
                  <a:schemeClr val="bg1"/>
                </a:solidFill>
                <a:latin typeface="+mj-lt"/>
              </a:defRPr>
            </a:lvl1pPr>
          </a:lstStyle>
          <a:p>
            <a:pPr lvl="0"/>
            <a:r>
              <a:rPr lang="en-US" noProof="0"/>
              <a:t>Chapter heading</a:t>
            </a:r>
          </a:p>
        </p:txBody>
      </p:sp>
      <p:sp>
        <p:nvSpPr>
          <p:cNvPr id="17" name="Textplatzhalter 14">
            <a:extLst>
              <a:ext uri="{FF2B5EF4-FFF2-40B4-BE49-F238E27FC236}">
                <a16:creationId xmlns:a16="http://schemas.microsoft.com/office/drawing/2014/main" id="{15F4FDC0-3FB4-D5F3-FC94-A2FB648B2D1A}"/>
              </a:ext>
            </a:extLst>
          </p:cNvPr>
          <p:cNvSpPr>
            <a:spLocks noGrp="1"/>
          </p:cNvSpPr>
          <p:nvPr>
            <p:ph type="body" sz="quarter" idx="16" hasCustomPrompt="1"/>
          </p:nvPr>
        </p:nvSpPr>
        <p:spPr bwMode="gray">
          <a:xfrm>
            <a:off x="8135938" y="1529651"/>
            <a:ext cx="3676650" cy="264303"/>
          </a:xfrm>
        </p:spPr>
        <p:txBody>
          <a:bodyPr>
            <a:noAutofit/>
          </a:bodyPr>
          <a:lstStyle>
            <a:lvl1pPr marL="0" indent="0">
              <a:buNone/>
              <a:defRPr b="1">
                <a:solidFill>
                  <a:schemeClr val="bg1"/>
                </a:solidFill>
                <a:latin typeface="+mj-lt"/>
              </a:defRPr>
            </a:lvl1pPr>
          </a:lstStyle>
          <a:p>
            <a:pPr lvl="0"/>
            <a:r>
              <a:rPr lang="en-US" noProof="0"/>
              <a:t>Chapter heading</a:t>
            </a:r>
          </a:p>
        </p:txBody>
      </p:sp>
      <p:sp>
        <p:nvSpPr>
          <p:cNvPr id="18" name="Textplatzhalter 14">
            <a:extLst>
              <a:ext uri="{FF2B5EF4-FFF2-40B4-BE49-F238E27FC236}">
                <a16:creationId xmlns:a16="http://schemas.microsoft.com/office/drawing/2014/main" id="{3B584C6E-6A74-1E7B-E3FD-FAB2E8CAFA39}"/>
              </a:ext>
            </a:extLst>
          </p:cNvPr>
          <p:cNvSpPr>
            <a:spLocks noGrp="1"/>
          </p:cNvSpPr>
          <p:nvPr>
            <p:ph type="body" sz="quarter" idx="17" hasCustomPrompt="1"/>
          </p:nvPr>
        </p:nvSpPr>
        <p:spPr bwMode="gray">
          <a:xfrm>
            <a:off x="8135938" y="3715501"/>
            <a:ext cx="3676650" cy="264303"/>
          </a:xfrm>
        </p:spPr>
        <p:txBody>
          <a:bodyPr>
            <a:noAutofit/>
          </a:bodyPr>
          <a:lstStyle>
            <a:lvl1pPr marL="0" indent="0">
              <a:buNone/>
              <a:defRPr b="1">
                <a:solidFill>
                  <a:schemeClr val="bg1"/>
                </a:solidFill>
                <a:latin typeface="+mj-lt"/>
              </a:defRPr>
            </a:lvl1pPr>
          </a:lstStyle>
          <a:p>
            <a:pPr lvl="0"/>
            <a:r>
              <a:rPr lang="en-US" noProof="0"/>
              <a:t>Chapter heading</a:t>
            </a:r>
          </a:p>
        </p:txBody>
      </p:sp>
      <p:sp>
        <p:nvSpPr>
          <p:cNvPr id="20" name="Textplatzhalter 19">
            <a:extLst>
              <a:ext uri="{FF2B5EF4-FFF2-40B4-BE49-F238E27FC236}">
                <a16:creationId xmlns:a16="http://schemas.microsoft.com/office/drawing/2014/main" id="{94B1AA2F-15B3-3E78-E3E4-903909F0E3E9}"/>
              </a:ext>
            </a:extLst>
          </p:cNvPr>
          <p:cNvSpPr>
            <a:spLocks noGrp="1"/>
          </p:cNvSpPr>
          <p:nvPr>
            <p:ph type="body" sz="quarter" idx="18" hasCustomPrompt="1"/>
          </p:nvPr>
        </p:nvSpPr>
        <p:spPr bwMode="gray">
          <a:xfrm>
            <a:off x="4260850" y="1791478"/>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 </a:t>
            </a:r>
            <a:r>
              <a:rPr lang="en-US"/>
              <a:t>ipsum dolor sit </a:t>
            </a:r>
            <a:r>
              <a:rPr lang="en-US" err="1"/>
              <a:t>amet</a:t>
            </a:r>
            <a:endParaRPr lang="en-US" noProof="0"/>
          </a:p>
          <a:p>
            <a:pPr lvl="0"/>
            <a:r>
              <a:rPr lang="en-US" noProof="0"/>
              <a:t>Lorem </a:t>
            </a:r>
            <a:r>
              <a:rPr lang="en-US"/>
              <a:t>ipsum dolor sit </a:t>
            </a:r>
            <a:r>
              <a:rPr lang="en-US" err="1"/>
              <a:t>amet</a:t>
            </a:r>
            <a:endParaRPr lang="en-US" noProof="0"/>
          </a:p>
        </p:txBody>
      </p:sp>
      <p:sp>
        <p:nvSpPr>
          <p:cNvPr id="21" name="Textplatzhalter 19">
            <a:extLst>
              <a:ext uri="{FF2B5EF4-FFF2-40B4-BE49-F238E27FC236}">
                <a16:creationId xmlns:a16="http://schemas.microsoft.com/office/drawing/2014/main" id="{5CAFF808-66B2-9494-3634-EFC51E403442}"/>
              </a:ext>
            </a:extLst>
          </p:cNvPr>
          <p:cNvSpPr>
            <a:spLocks noGrp="1"/>
          </p:cNvSpPr>
          <p:nvPr>
            <p:ph type="body" sz="quarter" idx="19" hasCustomPrompt="1"/>
          </p:nvPr>
        </p:nvSpPr>
        <p:spPr bwMode="gray">
          <a:xfrm>
            <a:off x="4260850" y="3977329"/>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 </a:t>
            </a:r>
            <a:r>
              <a:rPr lang="en-US"/>
              <a:t>ipsum dolor sit </a:t>
            </a:r>
            <a:r>
              <a:rPr lang="en-US" err="1"/>
              <a:t>amet</a:t>
            </a:r>
            <a:endParaRPr lang="en-US" noProof="0"/>
          </a:p>
          <a:p>
            <a:pPr lvl="0"/>
            <a:r>
              <a:rPr lang="en-US" noProof="0"/>
              <a:t>Lorem </a:t>
            </a:r>
            <a:r>
              <a:rPr lang="en-US"/>
              <a:t>ipsum dolor sit </a:t>
            </a:r>
            <a:r>
              <a:rPr lang="en-US" err="1"/>
              <a:t>amet</a:t>
            </a:r>
            <a:endParaRPr lang="en-US" noProof="0"/>
          </a:p>
        </p:txBody>
      </p:sp>
      <p:sp>
        <p:nvSpPr>
          <p:cNvPr id="22" name="Textplatzhalter 19">
            <a:extLst>
              <a:ext uri="{FF2B5EF4-FFF2-40B4-BE49-F238E27FC236}">
                <a16:creationId xmlns:a16="http://schemas.microsoft.com/office/drawing/2014/main" id="{6C9931EC-DDE1-495A-9648-AFF91ED351ED}"/>
              </a:ext>
            </a:extLst>
          </p:cNvPr>
          <p:cNvSpPr>
            <a:spLocks noGrp="1"/>
          </p:cNvSpPr>
          <p:nvPr>
            <p:ph type="body" sz="quarter" idx="20" hasCustomPrompt="1"/>
          </p:nvPr>
        </p:nvSpPr>
        <p:spPr bwMode="gray">
          <a:xfrm>
            <a:off x="8135938" y="1793954"/>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 </a:t>
            </a:r>
            <a:r>
              <a:rPr lang="en-US"/>
              <a:t>ipsum dolor sit </a:t>
            </a:r>
            <a:r>
              <a:rPr lang="en-US" err="1"/>
              <a:t>amet</a:t>
            </a:r>
            <a:endParaRPr lang="en-US" noProof="0"/>
          </a:p>
          <a:p>
            <a:pPr lvl="0"/>
            <a:r>
              <a:rPr lang="en-US" noProof="0"/>
              <a:t>Lorem </a:t>
            </a:r>
            <a:r>
              <a:rPr lang="en-US"/>
              <a:t>ipsum dolor sit </a:t>
            </a:r>
            <a:r>
              <a:rPr lang="en-US" err="1"/>
              <a:t>amet</a:t>
            </a:r>
            <a:endParaRPr lang="en-US" noProof="0"/>
          </a:p>
        </p:txBody>
      </p:sp>
      <p:sp>
        <p:nvSpPr>
          <p:cNvPr id="23" name="Textplatzhalter 19">
            <a:extLst>
              <a:ext uri="{FF2B5EF4-FFF2-40B4-BE49-F238E27FC236}">
                <a16:creationId xmlns:a16="http://schemas.microsoft.com/office/drawing/2014/main" id="{209CD599-CC2C-E5E6-4D03-0817D11194E3}"/>
              </a:ext>
            </a:extLst>
          </p:cNvPr>
          <p:cNvSpPr>
            <a:spLocks noGrp="1"/>
          </p:cNvSpPr>
          <p:nvPr>
            <p:ph type="body" sz="quarter" idx="21" hasCustomPrompt="1"/>
          </p:nvPr>
        </p:nvSpPr>
        <p:spPr bwMode="gray">
          <a:xfrm>
            <a:off x="8135938" y="3979804"/>
            <a:ext cx="3676650" cy="1743885"/>
          </a:xfrm>
        </p:spPr>
        <p:txBody>
          <a:bodyPr tIns="90000" rIns="0">
            <a:noAutofit/>
          </a:bodyPr>
          <a:lstStyle>
            <a:lvl1pPr marL="447675" indent="-447675">
              <a:buFont typeface="+mj-lt"/>
              <a:buAutoNum type="arabicPeriod"/>
              <a:defRPr sz="1200">
                <a:solidFill>
                  <a:schemeClr val="bg1"/>
                </a:solidFill>
              </a:defRPr>
            </a:lvl1pPr>
          </a:lstStyle>
          <a:p>
            <a:pPr lvl="0"/>
            <a:r>
              <a:rPr lang="en-US" noProof="0"/>
              <a:t>Lorem </a:t>
            </a:r>
            <a:r>
              <a:rPr lang="en-US"/>
              <a:t>ipsum dolor sit </a:t>
            </a:r>
            <a:r>
              <a:rPr lang="en-US" err="1"/>
              <a:t>amet</a:t>
            </a:r>
            <a:endParaRPr lang="en-US" noProof="0"/>
          </a:p>
          <a:p>
            <a:pPr lvl="0"/>
            <a:r>
              <a:rPr lang="en-US" noProof="0"/>
              <a:t>Lorem </a:t>
            </a:r>
            <a:r>
              <a:rPr lang="en-US"/>
              <a:t>ipsum dolor sit </a:t>
            </a:r>
            <a:r>
              <a:rPr lang="en-US" err="1"/>
              <a:t>amet</a:t>
            </a:r>
            <a:endParaRPr lang="en-US" noProof="0"/>
          </a:p>
        </p:txBody>
      </p:sp>
      <p:grpSp>
        <p:nvGrpSpPr>
          <p:cNvPr id="4" name="object 8">
            <a:extLst>
              <a:ext uri="{FF2B5EF4-FFF2-40B4-BE49-F238E27FC236}">
                <a16:creationId xmlns:a16="http://schemas.microsoft.com/office/drawing/2014/main" id="{802F1D76-0D7B-D75A-3D45-78CC41F7564D}"/>
              </a:ext>
            </a:extLst>
          </p:cNvPr>
          <p:cNvGrpSpPr/>
          <p:nvPr/>
        </p:nvGrpSpPr>
        <p:grpSpPr bwMode="gray">
          <a:xfrm>
            <a:off x="11523000" y="6201700"/>
            <a:ext cx="288000" cy="288000"/>
            <a:chOff x="18934851" y="10156759"/>
            <a:chExt cx="523875" cy="523875"/>
          </a:xfrm>
        </p:grpSpPr>
        <p:sp>
          <p:nvSpPr>
            <p:cNvPr id="5" name="object 9">
              <a:extLst>
                <a:ext uri="{FF2B5EF4-FFF2-40B4-BE49-F238E27FC236}">
                  <a16:creationId xmlns:a16="http://schemas.microsoft.com/office/drawing/2014/main" id="{E5F9700E-C24D-E6AE-A760-D50B580478BE}"/>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6" name="object 10">
              <a:extLst>
                <a:ext uri="{FF2B5EF4-FFF2-40B4-BE49-F238E27FC236}">
                  <a16:creationId xmlns:a16="http://schemas.microsoft.com/office/drawing/2014/main" id="{C205A939-303C-F387-58B4-D93EA62F2E44}"/>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11" name="object 11">
              <a:extLst>
                <a:ext uri="{FF2B5EF4-FFF2-40B4-BE49-F238E27FC236}">
                  <a16:creationId xmlns:a16="http://schemas.microsoft.com/office/drawing/2014/main" id="{2E0E3D84-C1C3-6EA6-330F-414843E29058}"/>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26" name="Slide Number Placeholder 25">
            <a:extLst>
              <a:ext uri="{FF2B5EF4-FFF2-40B4-BE49-F238E27FC236}">
                <a16:creationId xmlns:a16="http://schemas.microsoft.com/office/drawing/2014/main" id="{A621CBE1-B7C4-8253-F16A-129BB90FE6C7}"/>
              </a:ext>
            </a:extLst>
          </p:cNvPr>
          <p:cNvSpPr>
            <a:spLocks noGrp="1"/>
          </p:cNvSpPr>
          <p:nvPr>
            <p:ph type="sldNum" sz="quarter" idx="25"/>
          </p:nvPr>
        </p:nvSpPr>
        <p:spPr bwMode="gray"/>
        <p:txBody>
          <a:bodyPr/>
          <a:lstStyle/>
          <a:p>
            <a:fld id="{A115CDC9-74CB-4F6C-8CD3-A6C89F254EE7}" type="slidenum">
              <a:rPr lang="en-US" noProof="0" smtClean="0"/>
              <a:pPr/>
              <a:t>‹#›</a:t>
            </a:fld>
            <a:endParaRPr lang="en-US" noProof="0"/>
          </a:p>
        </p:txBody>
      </p:sp>
      <p:sp>
        <p:nvSpPr>
          <p:cNvPr id="27" name="Date Placeholder 9">
            <a:extLst>
              <a:ext uri="{FF2B5EF4-FFF2-40B4-BE49-F238E27FC236}">
                <a16:creationId xmlns:a16="http://schemas.microsoft.com/office/drawing/2014/main" id="{C9777360-D14C-FDE6-041C-97925419B749}"/>
              </a:ext>
            </a:extLst>
          </p:cNvPr>
          <p:cNvSpPr>
            <a:spLocks noGrp="1"/>
          </p:cNvSpPr>
          <p:nvPr>
            <p:ph type="dt" sz="half" idx="23"/>
          </p:nvPr>
        </p:nvSpPr>
        <p:spPr bwMode="gray">
          <a:xfrm>
            <a:off x="4260849" y="6387525"/>
            <a:ext cx="592173" cy="123111"/>
          </a:xfrm>
        </p:spPr>
        <p:txBody>
          <a:bodyPr/>
          <a:lstStyle>
            <a:lvl1pPr>
              <a:defRPr>
                <a:solidFill>
                  <a:schemeClr val="bg1"/>
                </a:solidFill>
              </a:defRPr>
            </a:lvl1pPr>
          </a:lstStyle>
          <a:p>
            <a:fld id="{F5EAAEA7-BBD9-4D56-90BA-EE74079E31F0}" type="datetime1">
              <a:rPr lang="en-US" noProof="0" smtClean="0"/>
              <a:t>10/31/2024</a:t>
            </a:fld>
            <a:endParaRPr lang="en-US" noProof="0"/>
          </a:p>
        </p:txBody>
      </p:sp>
      <p:sp>
        <p:nvSpPr>
          <p:cNvPr id="28" name="Footer Placeholder 10">
            <a:extLst>
              <a:ext uri="{FF2B5EF4-FFF2-40B4-BE49-F238E27FC236}">
                <a16:creationId xmlns:a16="http://schemas.microsoft.com/office/drawing/2014/main" id="{0EA36738-0DC6-DD49-290E-72210B9065CA}"/>
              </a:ext>
            </a:extLst>
          </p:cNvPr>
          <p:cNvSpPr>
            <a:spLocks noGrp="1"/>
          </p:cNvSpPr>
          <p:nvPr>
            <p:ph type="ftr" sz="quarter" idx="24"/>
          </p:nvPr>
        </p:nvSpPr>
        <p:spPr bwMode="gray">
          <a:xfrm>
            <a:off x="5024438" y="6387525"/>
            <a:ext cx="5618074" cy="123111"/>
          </a:xfrm>
        </p:spPr>
        <p:txBody>
          <a:bodyPr/>
          <a:lstStyle>
            <a:lvl1pPr>
              <a:defRPr>
                <a:solidFill>
                  <a:schemeClr val="bg1"/>
                </a:solidFill>
              </a:defRPr>
            </a:lvl1pPr>
          </a:lstStyle>
          <a:p>
            <a:r>
              <a:rPr lang="en-US" noProof="0"/>
              <a:t>Group Presentation</a:t>
            </a:r>
          </a:p>
        </p:txBody>
      </p:sp>
      <p:sp>
        <p:nvSpPr>
          <p:cNvPr id="3" name="Bildplatzhalter 19">
            <a:extLst>
              <a:ext uri="{FF2B5EF4-FFF2-40B4-BE49-F238E27FC236}">
                <a16:creationId xmlns:a16="http://schemas.microsoft.com/office/drawing/2014/main" id="{5E12244F-C005-955B-F573-81EE1B246F71}"/>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0008451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Agenda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D92A061-8253-231E-49A3-4FC46F997A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AD92A061-8253-231E-49A3-4FC46F997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762DABF9-3F54-0EC6-73B6-EDD098E6B7CD}"/>
              </a:ext>
            </a:extLst>
          </p:cNvPr>
          <p:cNvSpPr/>
          <p:nvPr/>
        </p:nvSpPr>
        <p:spPr bwMode="gray">
          <a:xfrm>
            <a:off x="0" y="0"/>
            <a:ext cx="12192000" cy="685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Bildplatzhalter 12">
            <a:extLst>
              <a:ext uri="{FF2B5EF4-FFF2-40B4-BE49-F238E27FC236}">
                <a16:creationId xmlns:a16="http://schemas.microsoft.com/office/drawing/2014/main" id="{6DDC2983-B7A7-3448-D56C-CC15554DD9E8}"/>
              </a:ext>
            </a:extLst>
          </p:cNvPr>
          <p:cNvSpPr>
            <a:spLocks noGrp="1"/>
          </p:cNvSpPr>
          <p:nvPr>
            <p:ph type="pic" sz="quarter" idx="13" hasCustomPrompt="1"/>
          </p:nvPr>
        </p:nvSpPr>
        <p:spPr bwMode="gray">
          <a:xfrm>
            <a:off x="0" y="1"/>
            <a:ext cx="5032375" cy="6857729"/>
          </a:xfrm>
          <a:solidFill>
            <a:schemeClr val="bg1"/>
          </a:solidFill>
        </p:spPr>
        <p:txBody>
          <a:bodyPr/>
          <a:lstStyle/>
          <a:p>
            <a:r>
              <a:rPr lang="en-US" noProof="0"/>
              <a:t>Add image by clicking on icon and set image in background</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bwMode="gray">
          <a:xfrm>
            <a:off x="6192838" y="542123"/>
            <a:ext cx="5618162" cy="283219"/>
          </a:xfrm>
        </p:spPr>
        <p:txBody>
          <a:bodyPr vert="horz"/>
          <a:lstStyle>
            <a:lvl1pPr>
              <a:defRPr>
                <a:solidFill>
                  <a:schemeClr val="bg1"/>
                </a:solidFill>
              </a:defRPr>
            </a:lvl1pPr>
          </a:lstStyle>
          <a:p>
            <a:r>
              <a:rPr lang="en-US" noProof="0"/>
              <a:t>Agenda</a:t>
            </a:r>
          </a:p>
        </p:txBody>
      </p:sp>
      <p:sp>
        <p:nvSpPr>
          <p:cNvPr id="20" name="Textplatzhalter 19">
            <a:extLst>
              <a:ext uri="{FF2B5EF4-FFF2-40B4-BE49-F238E27FC236}">
                <a16:creationId xmlns:a16="http://schemas.microsoft.com/office/drawing/2014/main" id="{2BE49A6E-C6FD-7D3F-63EF-3F16D24778D4}"/>
              </a:ext>
            </a:extLst>
          </p:cNvPr>
          <p:cNvSpPr>
            <a:spLocks noGrp="1"/>
          </p:cNvSpPr>
          <p:nvPr>
            <p:ph type="body" sz="quarter" idx="14" hasCustomPrompt="1"/>
          </p:nvPr>
        </p:nvSpPr>
        <p:spPr bwMode="gray">
          <a:xfrm>
            <a:off x="6192838" y="1539550"/>
            <a:ext cx="5618162" cy="242597"/>
          </a:xfrm>
        </p:spPr>
        <p:txBody>
          <a:bodyPr/>
          <a:lstStyle>
            <a:lvl1pPr marL="719138" indent="-719138">
              <a:buFont typeface="+mj-lt"/>
              <a:buAutoNum type="arabicPeriod"/>
              <a:defRPr b="1">
                <a:solidFill>
                  <a:schemeClr val="bg1"/>
                </a:solidFill>
                <a:latin typeface="+mj-lt"/>
              </a:defRPr>
            </a:lvl1pPr>
          </a:lstStyle>
          <a:p>
            <a:pPr lvl="0"/>
            <a:r>
              <a:rPr lang="en-US" noProof="0"/>
              <a:t>Chapter heading</a:t>
            </a:r>
          </a:p>
        </p:txBody>
      </p:sp>
      <p:sp>
        <p:nvSpPr>
          <p:cNvPr id="22" name="Textplatzhalter 21">
            <a:extLst>
              <a:ext uri="{FF2B5EF4-FFF2-40B4-BE49-F238E27FC236}">
                <a16:creationId xmlns:a16="http://schemas.microsoft.com/office/drawing/2014/main" id="{D26B39CE-6632-9409-187B-FC44FFB18B97}"/>
              </a:ext>
            </a:extLst>
          </p:cNvPr>
          <p:cNvSpPr>
            <a:spLocks noGrp="1"/>
          </p:cNvSpPr>
          <p:nvPr>
            <p:ph type="body" sz="quarter" idx="15" hasCustomPrompt="1"/>
          </p:nvPr>
        </p:nvSpPr>
        <p:spPr bwMode="gray">
          <a:xfrm>
            <a:off x="6192838" y="1782148"/>
            <a:ext cx="5618162"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3" name="Textplatzhalter 19">
            <a:extLst>
              <a:ext uri="{FF2B5EF4-FFF2-40B4-BE49-F238E27FC236}">
                <a16:creationId xmlns:a16="http://schemas.microsoft.com/office/drawing/2014/main" id="{3C5040A3-3630-A769-6AD2-0EEAE25523CD}"/>
              </a:ext>
            </a:extLst>
          </p:cNvPr>
          <p:cNvSpPr>
            <a:spLocks noGrp="1"/>
          </p:cNvSpPr>
          <p:nvPr>
            <p:ph type="body" sz="quarter" idx="16" hasCustomPrompt="1"/>
          </p:nvPr>
        </p:nvSpPr>
        <p:spPr bwMode="gray">
          <a:xfrm>
            <a:off x="6192838" y="2294745"/>
            <a:ext cx="5618162" cy="242597"/>
          </a:xfrm>
        </p:spPr>
        <p:txBody>
          <a:bodyPr/>
          <a:lstStyle>
            <a:lvl1pPr marL="719138" indent="-719138">
              <a:buFont typeface="+mj-lt"/>
              <a:buAutoNum type="arabicPeriod" startAt="2"/>
              <a:defRPr b="1">
                <a:solidFill>
                  <a:schemeClr val="bg1"/>
                </a:solidFill>
                <a:latin typeface="+mj-lt"/>
              </a:defRPr>
            </a:lvl1pPr>
          </a:lstStyle>
          <a:p>
            <a:pPr lvl="0"/>
            <a:r>
              <a:rPr lang="en-US" noProof="0"/>
              <a:t>Chapter heading</a:t>
            </a:r>
          </a:p>
        </p:txBody>
      </p:sp>
      <p:sp>
        <p:nvSpPr>
          <p:cNvPr id="24" name="Textplatzhalter 21">
            <a:extLst>
              <a:ext uri="{FF2B5EF4-FFF2-40B4-BE49-F238E27FC236}">
                <a16:creationId xmlns:a16="http://schemas.microsoft.com/office/drawing/2014/main" id="{9556C504-11AB-CD71-FCA2-A34FDADDCFC0}"/>
              </a:ext>
            </a:extLst>
          </p:cNvPr>
          <p:cNvSpPr>
            <a:spLocks noGrp="1"/>
          </p:cNvSpPr>
          <p:nvPr>
            <p:ph type="body" sz="quarter" idx="17" hasCustomPrompt="1"/>
          </p:nvPr>
        </p:nvSpPr>
        <p:spPr bwMode="gray">
          <a:xfrm>
            <a:off x="6192838" y="2537342"/>
            <a:ext cx="5618162"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5" name="Textplatzhalter 19">
            <a:extLst>
              <a:ext uri="{FF2B5EF4-FFF2-40B4-BE49-F238E27FC236}">
                <a16:creationId xmlns:a16="http://schemas.microsoft.com/office/drawing/2014/main" id="{C7B475B5-7119-CA3B-EB54-3152D6D487E6}"/>
              </a:ext>
            </a:extLst>
          </p:cNvPr>
          <p:cNvSpPr>
            <a:spLocks noGrp="1"/>
          </p:cNvSpPr>
          <p:nvPr>
            <p:ph type="body" sz="quarter" idx="18" hasCustomPrompt="1"/>
          </p:nvPr>
        </p:nvSpPr>
        <p:spPr bwMode="gray">
          <a:xfrm>
            <a:off x="6192838" y="3049939"/>
            <a:ext cx="5618162" cy="242597"/>
          </a:xfrm>
        </p:spPr>
        <p:txBody>
          <a:bodyPr/>
          <a:lstStyle>
            <a:lvl1pPr marL="719138" indent="-719138">
              <a:buFont typeface="+mj-lt"/>
              <a:buAutoNum type="arabicPeriod" startAt="3"/>
              <a:defRPr b="1">
                <a:solidFill>
                  <a:schemeClr val="bg1"/>
                </a:solidFill>
                <a:latin typeface="+mj-lt"/>
              </a:defRPr>
            </a:lvl1pPr>
          </a:lstStyle>
          <a:p>
            <a:pPr lvl="0"/>
            <a:r>
              <a:rPr lang="en-US" noProof="0"/>
              <a:t>Chapter heading</a:t>
            </a:r>
          </a:p>
        </p:txBody>
      </p:sp>
      <p:sp>
        <p:nvSpPr>
          <p:cNvPr id="26" name="Textplatzhalter 21">
            <a:extLst>
              <a:ext uri="{FF2B5EF4-FFF2-40B4-BE49-F238E27FC236}">
                <a16:creationId xmlns:a16="http://schemas.microsoft.com/office/drawing/2014/main" id="{9ED2EE46-9584-58D5-ED30-0B106DE57065}"/>
              </a:ext>
            </a:extLst>
          </p:cNvPr>
          <p:cNvSpPr>
            <a:spLocks noGrp="1"/>
          </p:cNvSpPr>
          <p:nvPr>
            <p:ph type="body" sz="quarter" idx="19" hasCustomPrompt="1"/>
          </p:nvPr>
        </p:nvSpPr>
        <p:spPr bwMode="gray">
          <a:xfrm>
            <a:off x="6192838" y="3292536"/>
            <a:ext cx="5618162"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7" name="Textplatzhalter 19">
            <a:extLst>
              <a:ext uri="{FF2B5EF4-FFF2-40B4-BE49-F238E27FC236}">
                <a16:creationId xmlns:a16="http://schemas.microsoft.com/office/drawing/2014/main" id="{67997D2B-E157-24AA-D960-F09E43B3AA62}"/>
              </a:ext>
            </a:extLst>
          </p:cNvPr>
          <p:cNvSpPr>
            <a:spLocks noGrp="1"/>
          </p:cNvSpPr>
          <p:nvPr>
            <p:ph type="body" sz="quarter" idx="20" hasCustomPrompt="1"/>
          </p:nvPr>
        </p:nvSpPr>
        <p:spPr bwMode="gray">
          <a:xfrm>
            <a:off x="6192838" y="3805133"/>
            <a:ext cx="5618162" cy="242597"/>
          </a:xfrm>
        </p:spPr>
        <p:txBody>
          <a:bodyPr/>
          <a:lstStyle>
            <a:lvl1pPr marL="719138" indent="-719138">
              <a:buFont typeface="+mj-lt"/>
              <a:buAutoNum type="arabicPeriod" startAt="4"/>
              <a:defRPr b="1">
                <a:solidFill>
                  <a:schemeClr val="bg1"/>
                </a:solidFill>
                <a:latin typeface="+mj-lt"/>
              </a:defRPr>
            </a:lvl1pPr>
          </a:lstStyle>
          <a:p>
            <a:pPr lvl="0"/>
            <a:r>
              <a:rPr lang="en-US" noProof="0"/>
              <a:t>Chapter heading</a:t>
            </a:r>
          </a:p>
        </p:txBody>
      </p:sp>
      <p:sp>
        <p:nvSpPr>
          <p:cNvPr id="28" name="Textplatzhalter 21">
            <a:extLst>
              <a:ext uri="{FF2B5EF4-FFF2-40B4-BE49-F238E27FC236}">
                <a16:creationId xmlns:a16="http://schemas.microsoft.com/office/drawing/2014/main" id="{77E6D626-5CF9-6CE2-4F6F-1671F16BED0A}"/>
              </a:ext>
            </a:extLst>
          </p:cNvPr>
          <p:cNvSpPr>
            <a:spLocks noGrp="1"/>
          </p:cNvSpPr>
          <p:nvPr>
            <p:ph type="body" sz="quarter" idx="21" hasCustomPrompt="1"/>
          </p:nvPr>
        </p:nvSpPr>
        <p:spPr bwMode="gray">
          <a:xfrm>
            <a:off x="6192838" y="4047730"/>
            <a:ext cx="5618162"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9" name="Textplatzhalter 19">
            <a:extLst>
              <a:ext uri="{FF2B5EF4-FFF2-40B4-BE49-F238E27FC236}">
                <a16:creationId xmlns:a16="http://schemas.microsoft.com/office/drawing/2014/main" id="{286CDAE6-B497-8686-B2B3-63B0FAABA1E1}"/>
              </a:ext>
            </a:extLst>
          </p:cNvPr>
          <p:cNvSpPr>
            <a:spLocks noGrp="1"/>
          </p:cNvSpPr>
          <p:nvPr>
            <p:ph type="body" sz="quarter" idx="22" hasCustomPrompt="1"/>
          </p:nvPr>
        </p:nvSpPr>
        <p:spPr bwMode="gray">
          <a:xfrm>
            <a:off x="6192838" y="4560327"/>
            <a:ext cx="5618162" cy="242597"/>
          </a:xfrm>
        </p:spPr>
        <p:txBody>
          <a:bodyPr/>
          <a:lstStyle>
            <a:lvl1pPr marL="719138" indent="-719138">
              <a:buFont typeface="+mj-lt"/>
              <a:buAutoNum type="arabicPeriod" startAt="5"/>
              <a:defRPr b="1">
                <a:solidFill>
                  <a:schemeClr val="bg1"/>
                </a:solidFill>
                <a:latin typeface="+mj-lt"/>
              </a:defRPr>
            </a:lvl1pPr>
          </a:lstStyle>
          <a:p>
            <a:pPr lvl="0"/>
            <a:r>
              <a:rPr lang="en-US" noProof="0"/>
              <a:t>Chapter heading</a:t>
            </a:r>
          </a:p>
        </p:txBody>
      </p:sp>
      <p:sp>
        <p:nvSpPr>
          <p:cNvPr id="30" name="Textplatzhalter 21">
            <a:extLst>
              <a:ext uri="{FF2B5EF4-FFF2-40B4-BE49-F238E27FC236}">
                <a16:creationId xmlns:a16="http://schemas.microsoft.com/office/drawing/2014/main" id="{1B50D682-8ACD-3995-B0AB-C894DD56D500}"/>
              </a:ext>
            </a:extLst>
          </p:cNvPr>
          <p:cNvSpPr>
            <a:spLocks noGrp="1"/>
          </p:cNvSpPr>
          <p:nvPr>
            <p:ph type="body" sz="quarter" idx="23" hasCustomPrompt="1"/>
          </p:nvPr>
        </p:nvSpPr>
        <p:spPr bwMode="gray">
          <a:xfrm>
            <a:off x="6192838" y="4802924"/>
            <a:ext cx="5618162"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grpSp>
        <p:nvGrpSpPr>
          <p:cNvPr id="4" name="object 8">
            <a:extLst>
              <a:ext uri="{FF2B5EF4-FFF2-40B4-BE49-F238E27FC236}">
                <a16:creationId xmlns:a16="http://schemas.microsoft.com/office/drawing/2014/main" id="{949C3A63-EB55-D052-C410-A7B92AE0EDD1}"/>
              </a:ext>
            </a:extLst>
          </p:cNvPr>
          <p:cNvGrpSpPr/>
          <p:nvPr/>
        </p:nvGrpSpPr>
        <p:grpSpPr bwMode="gray">
          <a:xfrm>
            <a:off x="11523000" y="6201700"/>
            <a:ext cx="288000" cy="288000"/>
            <a:chOff x="18934851" y="10156759"/>
            <a:chExt cx="523875" cy="523875"/>
          </a:xfrm>
        </p:grpSpPr>
        <p:sp>
          <p:nvSpPr>
            <p:cNvPr id="5" name="object 9">
              <a:extLst>
                <a:ext uri="{FF2B5EF4-FFF2-40B4-BE49-F238E27FC236}">
                  <a16:creationId xmlns:a16="http://schemas.microsoft.com/office/drawing/2014/main" id="{A85B7FE7-797E-FF41-129C-ECFC448A3C12}"/>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6" name="object 10">
              <a:extLst>
                <a:ext uri="{FF2B5EF4-FFF2-40B4-BE49-F238E27FC236}">
                  <a16:creationId xmlns:a16="http://schemas.microsoft.com/office/drawing/2014/main" id="{F02F7F51-81B6-21CA-E422-92B338F370F0}"/>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8" name="object 11">
              <a:extLst>
                <a:ext uri="{FF2B5EF4-FFF2-40B4-BE49-F238E27FC236}">
                  <a16:creationId xmlns:a16="http://schemas.microsoft.com/office/drawing/2014/main" id="{8C0DF89F-1B6E-855D-0A02-348B4211F5BB}"/>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18" name="Slide Number Placeholder 17">
            <a:extLst>
              <a:ext uri="{FF2B5EF4-FFF2-40B4-BE49-F238E27FC236}">
                <a16:creationId xmlns:a16="http://schemas.microsoft.com/office/drawing/2014/main" id="{6407C056-CAD0-B286-16CA-B99087D934F1}"/>
              </a:ext>
            </a:extLst>
          </p:cNvPr>
          <p:cNvSpPr>
            <a:spLocks noGrp="1"/>
          </p:cNvSpPr>
          <p:nvPr>
            <p:ph type="sldNum" sz="quarter" idx="27"/>
          </p:nvPr>
        </p:nvSpPr>
        <p:spPr bwMode="gray"/>
        <p:txBody>
          <a:bodyPr/>
          <a:lstStyle/>
          <a:p>
            <a:fld id="{A115CDC9-74CB-4F6C-8CD3-A6C89F254EE7}" type="slidenum">
              <a:rPr lang="en-US" noProof="0" smtClean="0"/>
              <a:pPr/>
              <a:t>‹#›</a:t>
            </a:fld>
            <a:endParaRPr lang="en-US" noProof="0"/>
          </a:p>
        </p:txBody>
      </p:sp>
      <p:sp>
        <p:nvSpPr>
          <p:cNvPr id="19" name="Date Placeholder 9">
            <a:extLst>
              <a:ext uri="{FF2B5EF4-FFF2-40B4-BE49-F238E27FC236}">
                <a16:creationId xmlns:a16="http://schemas.microsoft.com/office/drawing/2014/main" id="{6F4F8326-A9B0-75AC-DE55-06DB7EFE0812}"/>
              </a:ext>
            </a:extLst>
          </p:cNvPr>
          <p:cNvSpPr>
            <a:spLocks noGrp="1"/>
          </p:cNvSpPr>
          <p:nvPr>
            <p:ph type="dt" sz="half" idx="25"/>
          </p:nvPr>
        </p:nvSpPr>
        <p:spPr bwMode="gray">
          <a:xfrm>
            <a:off x="6192838" y="6387525"/>
            <a:ext cx="592173" cy="123111"/>
          </a:xfrm>
        </p:spPr>
        <p:txBody>
          <a:bodyPr/>
          <a:lstStyle>
            <a:lvl1pPr>
              <a:defRPr>
                <a:solidFill>
                  <a:schemeClr val="bg1"/>
                </a:solidFill>
              </a:defRPr>
            </a:lvl1pPr>
          </a:lstStyle>
          <a:p>
            <a:fld id="{6C855503-CF5D-4B03-BA22-6C47EEFA1FBB}" type="datetime1">
              <a:rPr lang="en-US" noProof="0" smtClean="0"/>
              <a:t>10/31/2024</a:t>
            </a:fld>
            <a:endParaRPr lang="en-US" noProof="0"/>
          </a:p>
        </p:txBody>
      </p:sp>
      <p:sp>
        <p:nvSpPr>
          <p:cNvPr id="21" name="Footer Placeholder 10">
            <a:extLst>
              <a:ext uri="{FF2B5EF4-FFF2-40B4-BE49-F238E27FC236}">
                <a16:creationId xmlns:a16="http://schemas.microsoft.com/office/drawing/2014/main" id="{B8BA1634-4268-41A0-450D-B51DE9012199}"/>
              </a:ext>
            </a:extLst>
          </p:cNvPr>
          <p:cNvSpPr>
            <a:spLocks noGrp="1"/>
          </p:cNvSpPr>
          <p:nvPr>
            <p:ph type="ftr" sz="quarter" idx="26"/>
          </p:nvPr>
        </p:nvSpPr>
        <p:spPr bwMode="gray">
          <a:xfrm>
            <a:off x="7164388" y="6387525"/>
            <a:ext cx="3667125" cy="123111"/>
          </a:xfrm>
        </p:spPr>
        <p:txBody>
          <a:bodyPr/>
          <a:lstStyle>
            <a:lvl1pPr>
              <a:defRPr>
                <a:solidFill>
                  <a:schemeClr val="bg1"/>
                </a:solidFill>
              </a:defRPr>
            </a:lvl1pPr>
          </a:lstStyle>
          <a:p>
            <a:r>
              <a:rPr lang="en-US" noProof="0"/>
              <a:t>Group Presentation</a:t>
            </a:r>
          </a:p>
        </p:txBody>
      </p:sp>
      <p:sp>
        <p:nvSpPr>
          <p:cNvPr id="3" name="Bildplatzhalter 19">
            <a:extLst>
              <a:ext uri="{FF2B5EF4-FFF2-40B4-BE49-F238E27FC236}">
                <a16:creationId xmlns:a16="http://schemas.microsoft.com/office/drawing/2014/main" id="{DEA2C556-2D07-6171-F630-DE4FF5E4CE10}"/>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20149048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Agenda 6">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6080299-1817-12FB-A86B-4D3E7893E6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A6080299-1817-12FB-A86B-4D3E7893E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AC1BE5B5-1A15-90B2-BA28-19B882E5C163}"/>
              </a:ext>
            </a:extLst>
          </p:cNvPr>
          <p:cNvSpPr/>
          <p:nvPr/>
        </p:nvSpPr>
        <p:spPr bwMode="gray">
          <a:xfrm>
            <a:off x="0" y="0"/>
            <a:ext cx="12192000" cy="68577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hasCustomPrompt="1"/>
          </p:nvPr>
        </p:nvSpPr>
        <p:spPr bwMode="gray">
          <a:xfrm>
            <a:off x="0" y="1"/>
            <a:ext cx="3095502" cy="6857729"/>
          </a:xfrm>
          <a:solidFill>
            <a:schemeClr val="bg1"/>
          </a:solidFill>
        </p:spPr>
        <p:txBody>
          <a:bodyPr/>
          <a:lstStyle/>
          <a:p>
            <a:r>
              <a:rPr lang="en-US" noProof="0"/>
              <a:t>Add image by clicking on icon and set image in background</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bwMode="gray">
          <a:xfrm>
            <a:off x="4260849" y="542123"/>
            <a:ext cx="7544691" cy="283219"/>
          </a:xfrm>
        </p:spPr>
        <p:txBody>
          <a:bodyPr vert="horz"/>
          <a:lstStyle>
            <a:lvl1pPr>
              <a:defRPr>
                <a:solidFill>
                  <a:schemeClr val="bg1"/>
                </a:solidFill>
              </a:defRPr>
            </a:lvl1pPr>
          </a:lstStyle>
          <a:p>
            <a:r>
              <a:rPr lang="en-US" noProof="0"/>
              <a:t>Agenda</a:t>
            </a:r>
          </a:p>
        </p:txBody>
      </p:sp>
      <p:sp>
        <p:nvSpPr>
          <p:cNvPr id="2" name="Textplatzhalter 19">
            <a:extLst>
              <a:ext uri="{FF2B5EF4-FFF2-40B4-BE49-F238E27FC236}">
                <a16:creationId xmlns:a16="http://schemas.microsoft.com/office/drawing/2014/main" id="{CA39A1E5-E8EF-0237-A64E-13416A5D1022}"/>
              </a:ext>
            </a:extLst>
          </p:cNvPr>
          <p:cNvSpPr>
            <a:spLocks noGrp="1"/>
          </p:cNvSpPr>
          <p:nvPr>
            <p:ph type="body" sz="quarter" idx="14" hasCustomPrompt="1"/>
          </p:nvPr>
        </p:nvSpPr>
        <p:spPr bwMode="gray">
          <a:xfrm>
            <a:off x="4260850" y="1539550"/>
            <a:ext cx="3676650" cy="242597"/>
          </a:xfrm>
        </p:spPr>
        <p:txBody>
          <a:bodyPr/>
          <a:lstStyle>
            <a:lvl1pPr marL="719138" indent="-719138">
              <a:buFont typeface="+mj-lt"/>
              <a:buAutoNum type="arabicPeriod"/>
              <a:defRPr b="1">
                <a:solidFill>
                  <a:schemeClr val="bg1"/>
                </a:solidFill>
                <a:latin typeface="+mj-lt"/>
              </a:defRPr>
            </a:lvl1pPr>
          </a:lstStyle>
          <a:p>
            <a:pPr lvl="0"/>
            <a:r>
              <a:rPr lang="en-US" noProof="0"/>
              <a:t>Chapter heading</a:t>
            </a:r>
          </a:p>
        </p:txBody>
      </p:sp>
      <p:sp>
        <p:nvSpPr>
          <p:cNvPr id="3" name="Textplatzhalter 21">
            <a:extLst>
              <a:ext uri="{FF2B5EF4-FFF2-40B4-BE49-F238E27FC236}">
                <a16:creationId xmlns:a16="http://schemas.microsoft.com/office/drawing/2014/main" id="{9A5E3B74-AC92-D4E6-08FB-7E0E1D2E7CDB}"/>
              </a:ext>
            </a:extLst>
          </p:cNvPr>
          <p:cNvSpPr>
            <a:spLocks noGrp="1"/>
          </p:cNvSpPr>
          <p:nvPr>
            <p:ph type="body" sz="quarter" idx="15" hasCustomPrompt="1"/>
          </p:nvPr>
        </p:nvSpPr>
        <p:spPr bwMode="gray">
          <a:xfrm>
            <a:off x="4260850" y="1782148"/>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4" name="Textplatzhalter 19">
            <a:extLst>
              <a:ext uri="{FF2B5EF4-FFF2-40B4-BE49-F238E27FC236}">
                <a16:creationId xmlns:a16="http://schemas.microsoft.com/office/drawing/2014/main" id="{194A37A7-CCE0-C4DD-08FB-84CAC2A14E9F}"/>
              </a:ext>
            </a:extLst>
          </p:cNvPr>
          <p:cNvSpPr>
            <a:spLocks noGrp="1"/>
          </p:cNvSpPr>
          <p:nvPr>
            <p:ph type="body" sz="quarter" idx="16" hasCustomPrompt="1"/>
          </p:nvPr>
        </p:nvSpPr>
        <p:spPr bwMode="gray">
          <a:xfrm>
            <a:off x="4260850" y="2294745"/>
            <a:ext cx="3676650" cy="242597"/>
          </a:xfrm>
        </p:spPr>
        <p:txBody>
          <a:bodyPr/>
          <a:lstStyle>
            <a:lvl1pPr marL="719138" indent="-719138">
              <a:buFont typeface="+mj-lt"/>
              <a:buAutoNum type="arabicPeriod" startAt="2"/>
              <a:defRPr b="1">
                <a:solidFill>
                  <a:schemeClr val="bg1"/>
                </a:solidFill>
                <a:latin typeface="+mj-lt"/>
              </a:defRPr>
            </a:lvl1pPr>
          </a:lstStyle>
          <a:p>
            <a:pPr lvl="0"/>
            <a:r>
              <a:rPr lang="en-US" noProof="0"/>
              <a:t>Chapter heading</a:t>
            </a:r>
          </a:p>
        </p:txBody>
      </p:sp>
      <p:sp>
        <p:nvSpPr>
          <p:cNvPr id="5" name="Textplatzhalter 21">
            <a:extLst>
              <a:ext uri="{FF2B5EF4-FFF2-40B4-BE49-F238E27FC236}">
                <a16:creationId xmlns:a16="http://schemas.microsoft.com/office/drawing/2014/main" id="{CDCF2FC9-7F31-58A8-86E1-536ECADA3D7E}"/>
              </a:ext>
            </a:extLst>
          </p:cNvPr>
          <p:cNvSpPr>
            <a:spLocks noGrp="1"/>
          </p:cNvSpPr>
          <p:nvPr>
            <p:ph type="body" sz="quarter" idx="17" hasCustomPrompt="1"/>
          </p:nvPr>
        </p:nvSpPr>
        <p:spPr bwMode="gray">
          <a:xfrm>
            <a:off x="4260850" y="2537342"/>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6" name="Textplatzhalter 19">
            <a:extLst>
              <a:ext uri="{FF2B5EF4-FFF2-40B4-BE49-F238E27FC236}">
                <a16:creationId xmlns:a16="http://schemas.microsoft.com/office/drawing/2014/main" id="{7DF88484-847E-4926-F617-C732B90F6E1E}"/>
              </a:ext>
            </a:extLst>
          </p:cNvPr>
          <p:cNvSpPr>
            <a:spLocks noGrp="1"/>
          </p:cNvSpPr>
          <p:nvPr>
            <p:ph type="body" sz="quarter" idx="18" hasCustomPrompt="1"/>
          </p:nvPr>
        </p:nvSpPr>
        <p:spPr bwMode="gray">
          <a:xfrm>
            <a:off x="4260850" y="3049939"/>
            <a:ext cx="3676650" cy="242597"/>
          </a:xfrm>
        </p:spPr>
        <p:txBody>
          <a:bodyPr/>
          <a:lstStyle>
            <a:lvl1pPr marL="719138" indent="-719138">
              <a:buFont typeface="+mj-lt"/>
              <a:buAutoNum type="arabicPeriod" startAt="3"/>
              <a:defRPr b="1">
                <a:solidFill>
                  <a:schemeClr val="bg1"/>
                </a:solidFill>
                <a:latin typeface="+mj-lt"/>
              </a:defRPr>
            </a:lvl1pPr>
          </a:lstStyle>
          <a:p>
            <a:pPr lvl="0"/>
            <a:r>
              <a:rPr lang="en-US" noProof="0"/>
              <a:t>Chapter heading</a:t>
            </a:r>
          </a:p>
        </p:txBody>
      </p:sp>
      <p:sp>
        <p:nvSpPr>
          <p:cNvPr id="11" name="Textplatzhalter 21">
            <a:extLst>
              <a:ext uri="{FF2B5EF4-FFF2-40B4-BE49-F238E27FC236}">
                <a16:creationId xmlns:a16="http://schemas.microsoft.com/office/drawing/2014/main" id="{FA8EC28A-3440-0DF5-AE6F-F97C33C3335B}"/>
              </a:ext>
            </a:extLst>
          </p:cNvPr>
          <p:cNvSpPr>
            <a:spLocks noGrp="1"/>
          </p:cNvSpPr>
          <p:nvPr>
            <p:ph type="body" sz="quarter" idx="19" hasCustomPrompt="1"/>
          </p:nvPr>
        </p:nvSpPr>
        <p:spPr bwMode="gray">
          <a:xfrm>
            <a:off x="4260850" y="3292536"/>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12" name="Textplatzhalter 19">
            <a:extLst>
              <a:ext uri="{FF2B5EF4-FFF2-40B4-BE49-F238E27FC236}">
                <a16:creationId xmlns:a16="http://schemas.microsoft.com/office/drawing/2014/main" id="{8643FFF0-4582-651C-F184-4D64BD89C2AA}"/>
              </a:ext>
            </a:extLst>
          </p:cNvPr>
          <p:cNvSpPr>
            <a:spLocks noGrp="1"/>
          </p:cNvSpPr>
          <p:nvPr>
            <p:ph type="body" sz="quarter" idx="20" hasCustomPrompt="1"/>
          </p:nvPr>
        </p:nvSpPr>
        <p:spPr bwMode="gray">
          <a:xfrm>
            <a:off x="4260850" y="3805133"/>
            <a:ext cx="3676650" cy="242597"/>
          </a:xfrm>
        </p:spPr>
        <p:txBody>
          <a:bodyPr/>
          <a:lstStyle>
            <a:lvl1pPr marL="719138" indent="-719138">
              <a:buFont typeface="+mj-lt"/>
              <a:buAutoNum type="arabicPeriod" startAt="4"/>
              <a:defRPr b="1">
                <a:solidFill>
                  <a:schemeClr val="bg1"/>
                </a:solidFill>
                <a:latin typeface="+mj-lt"/>
              </a:defRPr>
            </a:lvl1pPr>
          </a:lstStyle>
          <a:p>
            <a:pPr lvl="0"/>
            <a:r>
              <a:rPr lang="en-US" noProof="0"/>
              <a:t>Chapter heading</a:t>
            </a:r>
          </a:p>
        </p:txBody>
      </p:sp>
      <p:sp>
        <p:nvSpPr>
          <p:cNvPr id="14" name="Textplatzhalter 21">
            <a:extLst>
              <a:ext uri="{FF2B5EF4-FFF2-40B4-BE49-F238E27FC236}">
                <a16:creationId xmlns:a16="http://schemas.microsoft.com/office/drawing/2014/main" id="{E2C72C6B-00DD-24EB-0D80-A696763DC761}"/>
              </a:ext>
            </a:extLst>
          </p:cNvPr>
          <p:cNvSpPr>
            <a:spLocks noGrp="1"/>
          </p:cNvSpPr>
          <p:nvPr>
            <p:ph type="body" sz="quarter" idx="21" hasCustomPrompt="1"/>
          </p:nvPr>
        </p:nvSpPr>
        <p:spPr bwMode="gray">
          <a:xfrm>
            <a:off x="4260850" y="4047730"/>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19" name="Textplatzhalter 19">
            <a:extLst>
              <a:ext uri="{FF2B5EF4-FFF2-40B4-BE49-F238E27FC236}">
                <a16:creationId xmlns:a16="http://schemas.microsoft.com/office/drawing/2014/main" id="{8D862FC6-3FEE-D8EA-0C5F-4D3300F00047}"/>
              </a:ext>
            </a:extLst>
          </p:cNvPr>
          <p:cNvSpPr>
            <a:spLocks noGrp="1"/>
          </p:cNvSpPr>
          <p:nvPr>
            <p:ph type="body" sz="quarter" idx="22" hasCustomPrompt="1"/>
          </p:nvPr>
        </p:nvSpPr>
        <p:spPr bwMode="gray">
          <a:xfrm>
            <a:off x="4260850" y="4560327"/>
            <a:ext cx="3676650" cy="242597"/>
          </a:xfrm>
        </p:spPr>
        <p:txBody>
          <a:bodyPr/>
          <a:lstStyle>
            <a:lvl1pPr marL="719138" indent="-719138">
              <a:buFont typeface="+mj-lt"/>
              <a:buAutoNum type="arabicPeriod" startAt="5"/>
              <a:defRPr b="1">
                <a:solidFill>
                  <a:schemeClr val="bg1"/>
                </a:solidFill>
                <a:latin typeface="+mj-lt"/>
              </a:defRPr>
            </a:lvl1pPr>
          </a:lstStyle>
          <a:p>
            <a:pPr lvl="0"/>
            <a:r>
              <a:rPr lang="en-US" noProof="0"/>
              <a:t>Chapter heading</a:t>
            </a:r>
          </a:p>
        </p:txBody>
      </p:sp>
      <p:sp>
        <p:nvSpPr>
          <p:cNvPr id="24" name="Textplatzhalter 21">
            <a:extLst>
              <a:ext uri="{FF2B5EF4-FFF2-40B4-BE49-F238E27FC236}">
                <a16:creationId xmlns:a16="http://schemas.microsoft.com/office/drawing/2014/main" id="{66374619-2AE0-8B11-57D0-3A61E5D540F9}"/>
              </a:ext>
            </a:extLst>
          </p:cNvPr>
          <p:cNvSpPr>
            <a:spLocks noGrp="1"/>
          </p:cNvSpPr>
          <p:nvPr>
            <p:ph type="body" sz="quarter" idx="23" hasCustomPrompt="1"/>
          </p:nvPr>
        </p:nvSpPr>
        <p:spPr bwMode="gray">
          <a:xfrm>
            <a:off x="4260850" y="4802924"/>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5" name="Textplatzhalter 19">
            <a:extLst>
              <a:ext uri="{FF2B5EF4-FFF2-40B4-BE49-F238E27FC236}">
                <a16:creationId xmlns:a16="http://schemas.microsoft.com/office/drawing/2014/main" id="{CD9F7968-3D9B-E69D-220F-F0CB15EC9726}"/>
              </a:ext>
            </a:extLst>
          </p:cNvPr>
          <p:cNvSpPr>
            <a:spLocks noGrp="1"/>
          </p:cNvSpPr>
          <p:nvPr>
            <p:ph type="body" sz="quarter" idx="24" hasCustomPrompt="1"/>
          </p:nvPr>
        </p:nvSpPr>
        <p:spPr bwMode="gray">
          <a:xfrm>
            <a:off x="8135938" y="1527175"/>
            <a:ext cx="3676650" cy="242597"/>
          </a:xfrm>
        </p:spPr>
        <p:txBody>
          <a:bodyPr/>
          <a:lstStyle>
            <a:lvl1pPr marL="719138" indent="-719138">
              <a:buFont typeface="+mj-lt"/>
              <a:buAutoNum type="arabicPeriod" startAt="6"/>
              <a:defRPr b="1">
                <a:solidFill>
                  <a:schemeClr val="bg1"/>
                </a:solidFill>
                <a:latin typeface="+mj-lt"/>
              </a:defRPr>
            </a:lvl1pPr>
          </a:lstStyle>
          <a:p>
            <a:pPr lvl="0"/>
            <a:r>
              <a:rPr lang="en-US" noProof="0"/>
              <a:t>Chapter heading</a:t>
            </a:r>
          </a:p>
        </p:txBody>
      </p:sp>
      <p:sp>
        <p:nvSpPr>
          <p:cNvPr id="26" name="Textplatzhalter 21">
            <a:extLst>
              <a:ext uri="{FF2B5EF4-FFF2-40B4-BE49-F238E27FC236}">
                <a16:creationId xmlns:a16="http://schemas.microsoft.com/office/drawing/2014/main" id="{D82B70E0-C476-78C4-3C02-71EBA0C9EDC0}"/>
              </a:ext>
            </a:extLst>
          </p:cNvPr>
          <p:cNvSpPr>
            <a:spLocks noGrp="1"/>
          </p:cNvSpPr>
          <p:nvPr>
            <p:ph type="body" sz="quarter" idx="25" hasCustomPrompt="1"/>
          </p:nvPr>
        </p:nvSpPr>
        <p:spPr bwMode="gray">
          <a:xfrm>
            <a:off x="8135938" y="1769773"/>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7" name="Textplatzhalter 19">
            <a:extLst>
              <a:ext uri="{FF2B5EF4-FFF2-40B4-BE49-F238E27FC236}">
                <a16:creationId xmlns:a16="http://schemas.microsoft.com/office/drawing/2014/main" id="{5C631519-6969-29C0-663C-5E51356E910E}"/>
              </a:ext>
            </a:extLst>
          </p:cNvPr>
          <p:cNvSpPr>
            <a:spLocks noGrp="1"/>
          </p:cNvSpPr>
          <p:nvPr>
            <p:ph type="body" sz="quarter" idx="26" hasCustomPrompt="1"/>
          </p:nvPr>
        </p:nvSpPr>
        <p:spPr bwMode="gray">
          <a:xfrm>
            <a:off x="8135938" y="2282370"/>
            <a:ext cx="3676650" cy="242597"/>
          </a:xfrm>
        </p:spPr>
        <p:txBody>
          <a:bodyPr/>
          <a:lstStyle>
            <a:lvl1pPr marL="719138" indent="-719138">
              <a:buFont typeface="+mj-lt"/>
              <a:buAutoNum type="arabicPeriod" startAt="7"/>
              <a:defRPr b="1">
                <a:solidFill>
                  <a:schemeClr val="bg1"/>
                </a:solidFill>
                <a:latin typeface="+mj-lt"/>
              </a:defRPr>
            </a:lvl1pPr>
          </a:lstStyle>
          <a:p>
            <a:pPr lvl="0"/>
            <a:r>
              <a:rPr lang="en-US" noProof="0"/>
              <a:t>Chapter heading</a:t>
            </a:r>
          </a:p>
        </p:txBody>
      </p:sp>
      <p:sp>
        <p:nvSpPr>
          <p:cNvPr id="28" name="Textplatzhalter 21">
            <a:extLst>
              <a:ext uri="{FF2B5EF4-FFF2-40B4-BE49-F238E27FC236}">
                <a16:creationId xmlns:a16="http://schemas.microsoft.com/office/drawing/2014/main" id="{D25547B7-3EA6-7411-FDC2-EC03C298DC3C}"/>
              </a:ext>
            </a:extLst>
          </p:cNvPr>
          <p:cNvSpPr>
            <a:spLocks noGrp="1"/>
          </p:cNvSpPr>
          <p:nvPr>
            <p:ph type="body" sz="quarter" idx="27" hasCustomPrompt="1"/>
          </p:nvPr>
        </p:nvSpPr>
        <p:spPr bwMode="gray">
          <a:xfrm>
            <a:off x="8135938" y="2524967"/>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29" name="Textplatzhalter 19">
            <a:extLst>
              <a:ext uri="{FF2B5EF4-FFF2-40B4-BE49-F238E27FC236}">
                <a16:creationId xmlns:a16="http://schemas.microsoft.com/office/drawing/2014/main" id="{AD000910-F934-F245-4303-3D3B3EB730D0}"/>
              </a:ext>
            </a:extLst>
          </p:cNvPr>
          <p:cNvSpPr>
            <a:spLocks noGrp="1"/>
          </p:cNvSpPr>
          <p:nvPr>
            <p:ph type="body" sz="quarter" idx="28" hasCustomPrompt="1"/>
          </p:nvPr>
        </p:nvSpPr>
        <p:spPr bwMode="gray">
          <a:xfrm>
            <a:off x="8135938" y="3037564"/>
            <a:ext cx="3676650" cy="242597"/>
          </a:xfrm>
        </p:spPr>
        <p:txBody>
          <a:bodyPr/>
          <a:lstStyle>
            <a:lvl1pPr marL="719138" indent="-719138">
              <a:buFont typeface="+mj-lt"/>
              <a:buAutoNum type="arabicPeriod" startAt="8"/>
              <a:defRPr b="1">
                <a:solidFill>
                  <a:schemeClr val="bg1"/>
                </a:solidFill>
                <a:latin typeface="+mj-lt"/>
              </a:defRPr>
            </a:lvl1pPr>
          </a:lstStyle>
          <a:p>
            <a:pPr lvl="0"/>
            <a:r>
              <a:rPr lang="en-US" noProof="0"/>
              <a:t>Chapter heading</a:t>
            </a:r>
          </a:p>
        </p:txBody>
      </p:sp>
      <p:sp>
        <p:nvSpPr>
          <p:cNvPr id="30" name="Textplatzhalter 21">
            <a:extLst>
              <a:ext uri="{FF2B5EF4-FFF2-40B4-BE49-F238E27FC236}">
                <a16:creationId xmlns:a16="http://schemas.microsoft.com/office/drawing/2014/main" id="{39E6C198-7F9D-691C-3FD0-A7A633446DFA}"/>
              </a:ext>
            </a:extLst>
          </p:cNvPr>
          <p:cNvSpPr>
            <a:spLocks noGrp="1"/>
          </p:cNvSpPr>
          <p:nvPr>
            <p:ph type="body" sz="quarter" idx="29" hasCustomPrompt="1"/>
          </p:nvPr>
        </p:nvSpPr>
        <p:spPr bwMode="gray">
          <a:xfrm>
            <a:off x="8135938" y="3280161"/>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31" name="Textplatzhalter 19">
            <a:extLst>
              <a:ext uri="{FF2B5EF4-FFF2-40B4-BE49-F238E27FC236}">
                <a16:creationId xmlns:a16="http://schemas.microsoft.com/office/drawing/2014/main" id="{851DA279-9FE1-1511-CA36-E1D42B2042E3}"/>
              </a:ext>
            </a:extLst>
          </p:cNvPr>
          <p:cNvSpPr>
            <a:spLocks noGrp="1"/>
          </p:cNvSpPr>
          <p:nvPr>
            <p:ph type="body" sz="quarter" idx="30" hasCustomPrompt="1"/>
          </p:nvPr>
        </p:nvSpPr>
        <p:spPr bwMode="gray">
          <a:xfrm>
            <a:off x="8135938" y="3792758"/>
            <a:ext cx="3676650" cy="242597"/>
          </a:xfrm>
        </p:spPr>
        <p:txBody>
          <a:bodyPr/>
          <a:lstStyle>
            <a:lvl1pPr marL="719138" indent="-719138">
              <a:buFont typeface="+mj-lt"/>
              <a:buAutoNum type="arabicPeriod" startAt="9"/>
              <a:defRPr b="1">
                <a:solidFill>
                  <a:schemeClr val="bg1"/>
                </a:solidFill>
                <a:latin typeface="+mj-lt"/>
              </a:defRPr>
            </a:lvl1pPr>
          </a:lstStyle>
          <a:p>
            <a:pPr lvl="0"/>
            <a:r>
              <a:rPr lang="en-US" noProof="0"/>
              <a:t>Chapter heading</a:t>
            </a:r>
          </a:p>
        </p:txBody>
      </p:sp>
      <p:sp>
        <p:nvSpPr>
          <p:cNvPr id="32" name="Textplatzhalter 21">
            <a:extLst>
              <a:ext uri="{FF2B5EF4-FFF2-40B4-BE49-F238E27FC236}">
                <a16:creationId xmlns:a16="http://schemas.microsoft.com/office/drawing/2014/main" id="{C9D6D55E-8585-D922-33D0-7FB69BDA977E}"/>
              </a:ext>
            </a:extLst>
          </p:cNvPr>
          <p:cNvSpPr>
            <a:spLocks noGrp="1"/>
          </p:cNvSpPr>
          <p:nvPr>
            <p:ph type="body" sz="quarter" idx="31" hasCustomPrompt="1"/>
          </p:nvPr>
        </p:nvSpPr>
        <p:spPr bwMode="gray">
          <a:xfrm>
            <a:off x="8135938" y="4035355"/>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sp>
        <p:nvSpPr>
          <p:cNvPr id="33" name="Textplatzhalter 19">
            <a:extLst>
              <a:ext uri="{FF2B5EF4-FFF2-40B4-BE49-F238E27FC236}">
                <a16:creationId xmlns:a16="http://schemas.microsoft.com/office/drawing/2014/main" id="{63E4B976-3034-8602-58B1-664686D12DAC}"/>
              </a:ext>
            </a:extLst>
          </p:cNvPr>
          <p:cNvSpPr>
            <a:spLocks noGrp="1"/>
          </p:cNvSpPr>
          <p:nvPr>
            <p:ph type="body" sz="quarter" idx="32" hasCustomPrompt="1"/>
          </p:nvPr>
        </p:nvSpPr>
        <p:spPr bwMode="gray">
          <a:xfrm>
            <a:off x="8135938" y="4547952"/>
            <a:ext cx="3676650" cy="242597"/>
          </a:xfrm>
        </p:spPr>
        <p:txBody>
          <a:bodyPr/>
          <a:lstStyle>
            <a:lvl1pPr marL="719138" indent="-719138">
              <a:buFont typeface="+mj-lt"/>
              <a:buAutoNum type="arabicPeriod" startAt="10"/>
              <a:defRPr b="1">
                <a:solidFill>
                  <a:schemeClr val="bg1"/>
                </a:solidFill>
                <a:latin typeface="+mj-lt"/>
              </a:defRPr>
            </a:lvl1pPr>
          </a:lstStyle>
          <a:p>
            <a:pPr lvl="0"/>
            <a:r>
              <a:rPr lang="en-US" noProof="0"/>
              <a:t>Chapter heading</a:t>
            </a:r>
          </a:p>
        </p:txBody>
      </p:sp>
      <p:sp>
        <p:nvSpPr>
          <p:cNvPr id="34" name="Textplatzhalter 21">
            <a:extLst>
              <a:ext uri="{FF2B5EF4-FFF2-40B4-BE49-F238E27FC236}">
                <a16:creationId xmlns:a16="http://schemas.microsoft.com/office/drawing/2014/main" id="{A15B8A27-0CAB-13C7-C7B1-4EE3120EF1CB}"/>
              </a:ext>
            </a:extLst>
          </p:cNvPr>
          <p:cNvSpPr>
            <a:spLocks noGrp="1"/>
          </p:cNvSpPr>
          <p:nvPr>
            <p:ph type="body" sz="quarter" idx="33" hasCustomPrompt="1"/>
          </p:nvPr>
        </p:nvSpPr>
        <p:spPr bwMode="gray">
          <a:xfrm>
            <a:off x="8135938" y="4790549"/>
            <a:ext cx="3676650" cy="242597"/>
          </a:xfrm>
        </p:spPr>
        <p:txBody>
          <a:bodyPr tIns="36000"/>
          <a:lstStyle>
            <a:lvl1pPr marL="719138" indent="0">
              <a:buNone/>
              <a:defRPr>
                <a:solidFill>
                  <a:schemeClr val="bg1"/>
                </a:solidFill>
              </a:defRPr>
            </a:lvl1pPr>
          </a:lstStyle>
          <a:p>
            <a:pPr lvl="0"/>
            <a:r>
              <a:rPr lang="en-US" noProof="0"/>
              <a:t>Lorem </a:t>
            </a:r>
            <a:r>
              <a:rPr lang="en-US"/>
              <a:t>ipsum dolor sit </a:t>
            </a:r>
            <a:r>
              <a:rPr lang="en-US" err="1"/>
              <a:t>amet</a:t>
            </a:r>
            <a:endParaRPr lang="en-US" noProof="0"/>
          </a:p>
        </p:txBody>
      </p:sp>
      <p:grpSp>
        <p:nvGrpSpPr>
          <p:cNvPr id="17" name="object 8">
            <a:extLst>
              <a:ext uri="{FF2B5EF4-FFF2-40B4-BE49-F238E27FC236}">
                <a16:creationId xmlns:a16="http://schemas.microsoft.com/office/drawing/2014/main" id="{2E908EBE-F967-9329-81E9-7B810613DF6B}"/>
              </a:ext>
            </a:extLst>
          </p:cNvPr>
          <p:cNvGrpSpPr/>
          <p:nvPr/>
        </p:nvGrpSpPr>
        <p:grpSpPr bwMode="gray">
          <a:xfrm>
            <a:off x="11523000" y="6201700"/>
            <a:ext cx="288000" cy="288000"/>
            <a:chOff x="18934851" y="10156759"/>
            <a:chExt cx="523875" cy="523875"/>
          </a:xfrm>
        </p:grpSpPr>
        <p:sp>
          <p:nvSpPr>
            <p:cNvPr id="18" name="object 9">
              <a:extLst>
                <a:ext uri="{FF2B5EF4-FFF2-40B4-BE49-F238E27FC236}">
                  <a16:creationId xmlns:a16="http://schemas.microsoft.com/office/drawing/2014/main" id="{E6569D25-8AEC-3A3B-9D43-C79D52E65E60}"/>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20" name="object 10">
              <a:extLst>
                <a:ext uri="{FF2B5EF4-FFF2-40B4-BE49-F238E27FC236}">
                  <a16:creationId xmlns:a16="http://schemas.microsoft.com/office/drawing/2014/main" id="{DC0F6B6E-DF3D-1D03-C385-8931E5EE74A7}"/>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21" name="object 11">
              <a:extLst>
                <a:ext uri="{FF2B5EF4-FFF2-40B4-BE49-F238E27FC236}">
                  <a16:creationId xmlns:a16="http://schemas.microsoft.com/office/drawing/2014/main" id="{0F50C465-C6CC-2CC9-89CE-2CE2665CF6F0}"/>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35" name="Slide Number Placeholder 34">
            <a:extLst>
              <a:ext uri="{FF2B5EF4-FFF2-40B4-BE49-F238E27FC236}">
                <a16:creationId xmlns:a16="http://schemas.microsoft.com/office/drawing/2014/main" id="{B7A8E120-4E47-7B44-3928-C0B3DD718E86}"/>
              </a:ext>
            </a:extLst>
          </p:cNvPr>
          <p:cNvSpPr>
            <a:spLocks noGrp="1"/>
          </p:cNvSpPr>
          <p:nvPr>
            <p:ph type="sldNum" sz="quarter" idx="37"/>
          </p:nvPr>
        </p:nvSpPr>
        <p:spPr bwMode="gray"/>
        <p:txBody>
          <a:bodyPr/>
          <a:lstStyle/>
          <a:p>
            <a:fld id="{A115CDC9-74CB-4F6C-8CD3-A6C89F254EE7}" type="slidenum">
              <a:rPr lang="en-US" noProof="0" smtClean="0"/>
              <a:pPr/>
              <a:t>‹#›</a:t>
            </a:fld>
            <a:endParaRPr lang="en-US" noProof="0"/>
          </a:p>
        </p:txBody>
      </p:sp>
      <p:sp>
        <p:nvSpPr>
          <p:cNvPr id="39" name="Date Placeholder 19">
            <a:extLst>
              <a:ext uri="{FF2B5EF4-FFF2-40B4-BE49-F238E27FC236}">
                <a16:creationId xmlns:a16="http://schemas.microsoft.com/office/drawing/2014/main" id="{22B0610B-304E-EABD-6B35-F97DEAF2DC28}"/>
              </a:ext>
            </a:extLst>
          </p:cNvPr>
          <p:cNvSpPr>
            <a:spLocks noGrp="1"/>
          </p:cNvSpPr>
          <p:nvPr>
            <p:ph type="dt" sz="half" idx="35"/>
          </p:nvPr>
        </p:nvSpPr>
        <p:spPr bwMode="gray">
          <a:xfrm>
            <a:off x="4263180" y="6387525"/>
            <a:ext cx="592173" cy="123111"/>
          </a:xfrm>
        </p:spPr>
        <p:txBody>
          <a:bodyPr/>
          <a:lstStyle>
            <a:lvl1pPr>
              <a:defRPr>
                <a:solidFill>
                  <a:schemeClr val="bg1"/>
                </a:solidFill>
              </a:defRPr>
            </a:lvl1pPr>
          </a:lstStyle>
          <a:p>
            <a:fld id="{52CB9F82-853E-4203-BFD6-C7B38675288B}" type="datetime1">
              <a:rPr lang="en-US" noProof="0" smtClean="0"/>
              <a:t>10/31/2024</a:t>
            </a:fld>
            <a:endParaRPr lang="en-US" noProof="0"/>
          </a:p>
        </p:txBody>
      </p:sp>
      <p:sp>
        <p:nvSpPr>
          <p:cNvPr id="40" name="Footer Placeholder 20">
            <a:extLst>
              <a:ext uri="{FF2B5EF4-FFF2-40B4-BE49-F238E27FC236}">
                <a16:creationId xmlns:a16="http://schemas.microsoft.com/office/drawing/2014/main" id="{C6B30D78-E972-8EAD-8A85-083C2DD6092B}"/>
              </a:ext>
            </a:extLst>
          </p:cNvPr>
          <p:cNvSpPr>
            <a:spLocks noGrp="1"/>
          </p:cNvSpPr>
          <p:nvPr>
            <p:ph type="ftr" sz="quarter" idx="36"/>
          </p:nvPr>
        </p:nvSpPr>
        <p:spPr bwMode="gray">
          <a:xfrm>
            <a:off x="5226683" y="6387525"/>
            <a:ext cx="5418160" cy="123111"/>
          </a:xfrm>
        </p:spPr>
        <p:txBody>
          <a:bodyPr/>
          <a:lstStyle>
            <a:lvl1pPr>
              <a:defRPr>
                <a:solidFill>
                  <a:schemeClr val="bg1"/>
                </a:solidFill>
              </a:defRPr>
            </a:lvl1pPr>
          </a:lstStyle>
          <a:p>
            <a:r>
              <a:rPr lang="en-US" noProof="0"/>
              <a:t>Group Presentation</a:t>
            </a:r>
          </a:p>
        </p:txBody>
      </p:sp>
      <p:sp>
        <p:nvSpPr>
          <p:cNvPr id="8" name="Bildplatzhalter 19">
            <a:extLst>
              <a:ext uri="{FF2B5EF4-FFF2-40B4-BE49-F238E27FC236}">
                <a16:creationId xmlns:a16="http://schemas.microsoft.com/office/drawing/2014/main" id="{996F1058-D187-C1F3-64A8-41B5EEC558F1}"/>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11043578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3" name="Plassholder for tekst 5">
            <a:extLst>
              <a:ext uri="{FF2B5EF4-FFF2-40B4-BE49-F238E27FC236}">
                <a16:creationId xmlns:a16="http://schemas.microsoft.com/office/drawing/2014/main" id="{347F94E1-265F-6BC1-DF23-B351F8D26640}"/>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1965526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hapt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1A78EA-4C46-8D4F-3BA9-C08C27C30F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581A78EA-4C46-8D4F-3BA9-C08C27C30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ildplatzhalter 8">
            <a:extLst>
              <a:ext uri="{FF2B5EF4-FFF2-40B4-BE49-F238E27FC236}">
                <a16:creationId xmlns:a16="http://schemas.microsoft.com/office/drawing/2014/main" id="{804906D1-5671-CF95-96D1-F6820AB621A2}"/>
              </a:ext>
            </a:extLst>
          </p:cNvPr>
          <p:cNvSpPr>
            <a:spLocks noGrp="1"/>
          </p:cNvSpPr>
          <p:nvPr>
            <p:ph type="pic" sz="quarter" idx="14" hasCustomPrompt="1"/>
          </p:nvPr>
        </p:nvSpPr>
        <p:spPr bwMode="gray">
          <a:xfrm>
            <a:off x="0" y="1"/>
            <a:ext cx="12192000" cy="6858000"/>
          </a:xfrm>
          <a:solidFill>
            <a:schemeClr val="bg1"/>
          </a:solidFill>
        </p:spPr>
        <p:txBody>
          <a:bodyPr/>
          <a:lstStyle/>
          <a:p>
            <a:r>
              <a:rPr lang="en-US" noProof="0"/>
              <a:t>Add image by clicking on icon and set image in background</a:t>
            </a:r>
            <a:endParaRPr lang="en-GB" noProof="0"/>
          </a:p>
        </p:txBody>
      </p:sp>
      <p:sp>
        <p:nvSpPr>
          <p:cNvPr id="12" name="Titel 11">
            <a:extLst>
              <a:ext uri="{FF2B5EF4-FFF2-40B4-BE49-F238E27FC236}">
                <a16:creationId xmlns:a16="http://schemas.microsoft.com/office/drawing/2014/main" id="{2D8A5C73-A2DD-BB0B-F430-B85D39EE2790}"/>
              </a:ext>
            </a:extLst>
          </p:cNvPr>
          <p:cNvSpPr>
            <a:spLocks noGrp="1"/>
          </p:cNvSpPr>
          <p:nvPr>
            <p:ph type="title" hasCustomPrompt="1"/>
          </p:nvPr>
        </p:nvSpPr>
        <p:spPr bwMode="gray">
          <a:xfrm>
            <a:off x="1151690" y="1175328"/>
            <a:ext cx="1582727" cy="1760691"/>
          </a:xfrm>
        </p:spPr>
        <p:txBody>
          <a:bodyPr vert="horz" lIns="72000">
            <a:noAutofit/>
          </a:bodyPr>
          <a:lstStyle>
            <a:lvl1pPr>
              <a:defRPr sz="14000" b="0">
                <a:solidFill>
                  <a:schemeClr val="tx2"/>
                </a:solidFill>
                <a:latin typeface="Lexend Exa HM Xlight" pitchFamily="2" charset="0"/>
              </a:defRPr>
            </a:lvl1pPr>
          </a:lstStyle>
          <a:p>
            <a:r>
              <a:rPr lang="en-US" noProof="0"/>
              <a:t>1</a:t>
            </a:r>
          </a:p>
        </p:txBody>
      </p:sp>
      <p:sp>
        <p:nvSpPr>
          <p:cNvPr id="14" name="Textplatzhalter 13">
            <a:extLst>
              <a:ext uri="{FF2B5EF4-FFF2-40B4-BE49-F238E27FC236}">
                <a16:creationId xmlns:a16="http://schemas.microsoft.com/office/drawing/2014/main" id="{CB3A63BB-B6EA-EE27-B2B3-B402C39B8E24}"/>
              </a:ext>
            </a:extLst>
          </p:cNvPr>
          <p:cNvSpPr>
            <a:spLocks noGrp="1"/>
          </p:cNvSpPr>
          <p:nvPr>
            <p:ph type="body" sz="quarter" idx="10" hasCustomPrompt="1"/>
          </p:nvPr>
        </p:nvSpPr>
        <p:spPr bwMode="gray">
          <a:xfrm>
            <a:off x="5224682" y="1148367"/>
            <a:ext cx="5606831" cy="1662947"/>
          </a:xfrm>
        </p:spPr>
        <p:txBody>
          <a:bodyPr anchor="b" anchorCtr="0">
            <a:noAutofit/>
          </a:bodyPr>
          <a:lstStyle>
            <a:lvl1pPr marL="0" indent="0">
              <a:lnSpc>
                <a:spcPct val="90000"/>
              </a:lnSpc>
              <a:buFontTx/>
              <a:buNone/>
              <a:defRPr sz="4000" b="1">
                <a:solidFill>
                  <a:schemeClr val="tx2"/>
                </a:solidFill>
                <a:latin typeface="+mj-lt"/>
              </a:defRPr>
            </a:lvl1pPr>
            <a:lvl6pPr>
              <a:defRPr sz="2000">
                <a:solidFill>
                  <a:schemeClr val="bg1"/>
                </a:solidFill>
                <a:latin typeface="+mj-lt"/>
              </a:defRPr>
            </a:lvl6pPr>
          </a:lstStyle>
          <a:p>
            <a:pPr lvl="0"/>
            <a:r>
              <a:rPr lang="en-US" noProof="0"/>
              <a:t>Chapter heading</a:t>
            </a:r>
          </a:p>
        </p:txBody>
      </p:sp>
      <p:sp>
        <p:nvSpPr>
          <p:cNvPr id="13" name="Textplatzhalter 12">
            <a:extLst>
              <a:ext uri="{FF2B5EF4-FFF2-40B4-BE49-F238E27FC236}">
                <a16:creationId xmlns:a16="http://schemas.microsoft.com/office/drawing/2014/main" id="{C9A78DCD-CA90-CB5B-DB87-B59699DA0508}"/>
              </a:ext>
            </a:extLst>
          </p:cNvPr>
          <p:cNvSpPr>
            <a:spLocks noGrp="1"/>
          </p:cNvSpPr>
          <p:nvPr>
            <p:ph type="body" sz="quarter" idx="13" hasCustomPrompt="1"/>
          </p:nvPr>
        </p:nvSpPr>
        <p:spPr bwMode="gray">
          <a:xfrm>
            <a:off x="5224463" y="2791512"/>
            <a:ext cx="5607097" cy="2897939"/>
          </a:xfrm>
        </p:spPr>
        <p:txBody>
          <a:bodyPr tIns="324000">
            <a:noAutofit/>
          </a:bodyPr>
          <a:lstStyle>
            <a:lvl1pPr marL="811213" indent="-811213">
              <a:buFont typeface="+mj-lt"/>
              <a:buAutoNum type="arabicPeriod"/>
              <a:tabLst>
                <a:tab pos="811213" algn="l"/>
              </a:tabLst>
              <a:defRPr sz="2000">
                <a:solidFill>
                  <a:schemeClr val="tx2"/>
                </a:solidFill>
              </a:defRPr>
            </a:lvl1pPr>
          </a:lstStyle>
          <a:p>
            <a:pPr lvl="0"/>
            <a:r>
              <a:rPr lang="en-US" noProof="0"/>
              <a:t>Lorem Ipsum</a:t>
            </a:r>
          </a:p>
          <a:p>
            <a:pPr lvl="0"/>
            <a:r>
              <a:rPr lang="en-US" noProof="0"/>
              <a:t>Lorem Ipsum</a:t>
            </a:r>
            <a:br>
              <a:rPr lang="en-US" noProof="0"/>
            </a:br>
            <a:endParaRPr lang="en-US" noProof="0"/>
          </a:p>
        </p:txBody>
      </p:sp>
      <p:sp>
        <p:nvSpPr>
          <p:cNvPr id="5" name="Text Placeholder 7">
            <a:extLst>
              <a:ext uri="{FF2B5EF4-FFF2-40B4-BE49-F238E27FC236}">
                <a16:creationId xmlns:a16="http://schemas.microsoft.com/office/drawing/2014/main" id="{1DAFBBA3-4019-5537-807D-D6B6C9FC3399}"/>
              </a:ext>
            </a:extLst>
          </p:cNvPr>
          <p:cNvSpPr>
            <a:spLocks noGrp="1"/>
          </p:cNvSpPr>
          <p:nvPr>
            <p:ph type="body" sz="quarter" idx="35" hasCustomPrompt="1"/>
          </p:nvPr>
        </p:nvSpPr>
        <p:spPr>
          <a:xfrm>
            <a:off x="11523000" y="6201700"/>
            <a:ext cx="288000" cy="288000"/>
          </a:xfrm>
          <a:blipFill>
            <a:blip r:embed="rId5"/>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339279797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Chapter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89BA70-C2AB-9B67-33C8-4A42E35130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5" name="Object 4" hidden="1">
                        <a:extLst>
                          <a:ext uri="{FF2B5EF4-FFF2-40B4-BE49-F238E27FC236}">
                            <a16:creationId xmlns:a16="http://schemas.microsoft.com/office/drawing/2014/main" id="{FE89BA70-C2AB-9B67-33C8-4A42E35130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EFBA8DA6-FAED-C98B-E05F-320D099996E8}"/>
              </a:ext>
            </a:extLst>
          </p:cNvPr>
          <p:cNvSpPr>
            <a:spLocks noGrp="1"/>
          </p:cNvSpPr>
          <p:nvPr>
            <p:ph type="pic" sz="quarter" idx="14" hasCustomPrompt="1"/>
          </p:nvPr>
        </p:nvSpPr>
        <p:spPr bwMode="gray">
          <a:xfrm>
            <a:off x="0" y="1"/>
            <a:ext cx="12192000" cy="6858000"/>
          </a:xfrm>
          <a:noFill/>
        </p:spPr>
        <p:txBody>
          <a:bodyPr/>
          <a:lstStyle/>
          <a:p>
            <a:r>
              <a:rPr lang="en-US" noProof="0"/>
              <a:t>Add image by clicking on icon and set image in background</a:t>
            </a:r>
            <a:endParaRPr lang="en-GB" noProof="0"/>
          </a:p>
          <a:p>
            <a:endParaRPr lang="en-GB" noProof="0"/>
          </a:p>
        </p:txBody>
      </p:sp>
      <p:sp>
        <p:nvSpPr>
          <p:cNvPr id="2" name="Textplatzhalter 13">
            <a:extLst>
              <a:ext uri="{FF2B5EF4-FFF2-40B4-BE49-F238E27FC236}">
                <a16:creationId xmlns:a16="http://schemas.microsoft.com/office/drawing/2014/main" id="{4DB97531-A006-85B1-9028-667488C84C6B}"/>
              </a:ext>
            </a:extLst>
          </p:cNvPr>
          <p:cNvSpPr>
            <a:spLocks noGrp="1"/>
          </p:cNvSpPr>
          <p:nvPr>
            <p:ph type="body" sz="quarter" idx="10" hasCustomPrompt="1"/>
          </p:nvPr>
        </p:nvSpPr>
        <p:spPr bwMode="gray">
          <a:xfrm>
            <a:off x="5224682" y="1137216"/>
            <a:ext cx="5606831" cy="1662947"/>
          </a:xfrm>
          <a:noFill/>
        </p:spPr>
        <p:txBody>
          <a:bodyPr anchor="b" anchorCtr="0">
            <a:noAutofit/>
          </a:bodyPr>
          <a:lstStyle>
            <a:lvl1pPr marL="0" indent="0">
              <a:lnSpc>
                <a:spcPct val="90000"/>
              </a:lnSpc>
              <a:buFontTx/>
              <a:buNone/>
              <a:defRPr sz="4000" b="1">
                <a:solidFill>
                  <a:schemeClr val="bg1"/>
                </a:solidFill>
                <a:latin typeface="+mj-lt"/>
              </a:defRPr>
            </a:lvl1pPr>
            <a:lvl6pPr>
              <a:defRPr sz="2000">
                <a:solidFill>
                  <a:schemeClr val="bg1"/>
                </a:solidFill>
                <a:latin typeface="+mj-lt"/>
              </a:defRPr>
            </a:lvl6pPr>
          </a:lstStyle>
          <a:p>
            <a:pPr lvl="0"/>
            <a:r>
              <a:rPr lang="en-US" noProof="0"/>
              <a:t>Chapter heading</a:t>
            </a:r>
          </a:p>
        </p:txBody>
      </p:sp>
      <p:sp>
        <p:nvSpPr>
          <p:cNvPr id="3" name="Textplatzhalter 12">
            <a:extLst>
              <a:ext uri="{FF2B5EF4-FFF2-40B4-BE49-F238E27FC236}">
                <a16:creationId xmlns:a16="http://schemas.microsoft.com/office/drawing/2014/main" id="{39993FEF-8F94-0E94-4556-4B8D8E28D1E2}"/>
              </a:ext>
            </a:extLst>
          </p:cNvPr>
          <p:cNvSpPr>
            <a:spLocks noGrp="1"/>
          </p:cNvSpPr>
          <p:nvPr>
            <p:ph type="body" sz="quarter" idx="13" hasCustomPrompt="1"/>
          </p:nvPr>
        </p:nvSpPr>
        <p:spPr bwMode="gray">
          <a:xfrm>
            <a:off x="5224463" y="2791512"/>
            <a:ext cx="5607097" cy="2897939"/>
          </a:xfrm>
        </p:spPr>
        <p:txBody>
          <a:bodyPr tIns="324000">
            <a:noAutofit/>
          </a:bodyPr>
          <a:lstStyle>
            <a:lvl1pPr marL="811213" indent="-811213">
              <a:buFont typeface="+mj-lt"/>
              <a:buAutoNum type="arabicPeriod"/>
              <a:tabLst>
                <a:tab pos="811213" algn="l"/>
              </a:tabLst>
              <a:defRPr sz="2000">
                <a:solidFill>
                  <a:schemeClr val="bg1"/>
                </a:solidFill>
              </a:defRPr>
            </a:lvl1pPr>
          </a:lstStyle>
          <a:p>
            <a:pPr lvl="0"/>
            <a:r>
              <a:rPr lang="en-US" noProof="0"/>
              <a:t>Lorem Ipsum</a:t>
            </a:r>
          </a:p>
          <a:p>
            <a:pPr lvl="0"/>
            <a:r>
              <a:rPr lang="en-US" noProof="0"/>
              <a:t>Lorem Ipsum</a:t>
            </a:r>
          </a:p>
        </p:txBody>
      </p:sp>
      <p:sp>
        <p:nvSpPr>
          <p:cNvPr id="4" name="Text Placeholder 9">
            <a:extLst>
              <a:ext uri="{FF2B5EF4-FFF2-40B4-BE49-F238E27FC236}">
                <a16:creationId xmlns:a16="http://schemas.microsoft.com/office/drawing/2014/main" id="{316E74F7-231F-FE02-2B8C-B320AAF8A139}"/>
              </a:ext>
            </a:extLst>
          </p:cNvPr>
          <p:cNvSpPr>
            <a:spLocks noGrp="1"/>
          </p:cNvSpPr>
          <p:nvPr>
            <p:ph type="body" sz="quarter" idx="19" hasCustomPrompt="1"/>
          </p:nvPr>
        </p:nvSpPr>
        <p:spPr>
          <a:xfrm>
            <a:off x="11523000" y="6201700"/>
            <a:ext cx="288000" cy="28800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de-DE"/>
              <a:t> </a:t>
            </a:r>
            <a:endParaRPr lang="en-US"/>
          </a:p>
        </p:txBody>
      </p:sp>
      <p:sp>
        <p:nvSpPr>
          <p:cNvPr id="22" name="Titel 11">
            <a:extLst>
              <a:ext uri="{FF2B5EF4-FFF2-40B4-BE49-F238E27FC236}">
                <a16:creationId xmlns:a16="http://schemas.microsoft.com/office/drawing/2014/main" id="{91832271-2CDD-6DF6-A19A-0B91A3EC737D}"/>
              </a:ext>
            </a:extLst>
          </p:cNvPr>
          <p:cNvSpPr>
            <a:spLocks noGrp="1"/>
          </p:cNvSpPr>
          <p:nvPr>
            <p:ph type="title" hasCustomPrompt="1"/>
          </p:nvPr>
        </p:nvSpPr>
        <p:spPr bwMode="gray">
          <a:xfrm>
            <a:off x="1157156" y="1175328"/>
            <a:ext cx="1582727" cy="1760691"/>
          </a:xfrm>
        </p:spPr>
        <p:txBody>
          <a:bodyPr vert="horz" lIns="72000">
            <a:noAutofit/>
          </a:bodyPr>
          <a:lstStyle>
            <a:lvl1pPr>
              <a:defRPr sz="14000" b="0">
                <a:solidFill>
                  <a:schemeClr val="bg1"/>
                </a:solidFill>
                <a:latin typeface="Lexend Exa HM Xlight" pitchFamily="2" charset="0"/>
              </a:defRPr>
            </a:lvl1pPr>
          </a:lstStyle>
          <a:p>
            <a:r>
              <a:rPr lang="en-US" noProof="0"/>
              <a:t>1</a:t>
            </a:r>
          </a:p>
        </p:txBody>
      </p:sp>
    </p:spTree>
    <p:extLst>
      <p:ext uri="{BB962C8B-B14F-4D97-AF65-F5344CB8AC3E}">
        <p14:creationId xmlns:p14="http://schemas.microsoft.com/office/powerpoint/2010/main" val="210175525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Chapter 3">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D7ECC0-B462-069E-B566-F053D7C7CE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10" name="Object 9" hidden="1">
                        <a:extLst>
                          <a:ext uri="{FF2B5EF4-FFF2-40B4-BE49-F238E27FC236}">
                            <a16:creationId xmlns:a16="http://schemas.microsoft.com/office/drawing/2014/main" id="{E5D7ECC0-B462-069E-B566-F053D7C7C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1BE47DBF-D117-B79A-DED7-47CA43B56B56}"/>
              </a:ext>
            </a:extLst>
          </p:cNvPr>
          <p:cNvSpPr/>
          <p:nvPr/>
        </p:nvSpPr>
        <p:spPr>
          <a:xfrm>
            <a:off x="-29256" y="0"/>
            <a:ext cx="1222125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Single Corner Rounded 13">
            <a:extLst>
              <a:ext uri="{FF2B5EF4-FFF2-40B4-BE49-F238E27FC236}">
                <a16:creationId xmlns:a16="http://schemas.microsoft.com/office/drawing/2014/main" id="{C918C3B2-6357-BB29-BAC0-97A30DE1DBE7}"/>
              </a:ext>
            </a:extLst>
          </p:cNvPr>
          <p:cNvSpPr/>
          <p:nvPr/>
        </p:nvSpPr>
        <p:spPr>
          <a:xfrm flipV="1">
            <a:off x="382588" y="371475"/>
            <a:ext cx="11428412" cy="5349876"/>
          </a:xfrm>
          <a:prstGeom prst="round1Rect">
            <a:avLst>
              <a:gd name="adj" fmla="val 24528"/>
            </a:avLst>
          </a:prstGeom>
          <a:solidFill>
            <a:srgbClr val="FF64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object 8">
            <a:extLst>
              <a:ext uri="{FF2B5EF4-FFF2-40B4-BE49-F238E27FC236}">
                <a16:creationId xmlns:a16="http://schemas.microsoft.com/office/drawing/2014/main" id="{52ECCF31-69AC-9CEA-C1E4-5708D54FB47E}"/>
              </a:ext>
            </a:extLst>
          </p:cNvPr>
          <p:cNvGrpSpPr/>
          <p:nvPr/>
        </p:nvGrpSpPr>
        <p:grpSpPr bwMode="gray">
          <a:xfrm>
            <a:off x="11523000" y="6201700"/>
            <a:ext cx="288000" cy="288000"/>
            <a:chOff x="18934851" y="10156759"/>
            <a:chExt cx="523875" cy="523875"/>
          </a:xfrm>
        </p:grpSpPr>
        <p:sp>
          <p:nvSpPr>
            <p:cNvPr id="5" name="object 9">
              <a:extLst>
                <a:ext uri="{FF2B5EF4-FFF2-40B4-BE49-F238E27FC236}">
                  <a16:creationId xmlns:a16="http://schemas.microsoft.com/office/drawing/2014/main" id="{AB3FF80B-3217-461E-9EED-D73254788616}"/>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6" name="object 10">
              <a:extLst>
                <a:ext uri="{FF2B5EF4-FFF2-40B4-BE49-F238E27FC236}">
                  <a16:creationId xmlns:a16="http://schemas.microsoft.com/office/drawing/2014/main" id="{35DAF4AE-B974-4682-762E-50DC88D418C1}"/>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7" name="object 11">
              <a:extLst>
                <a:ext uri="{FF2B5EF4-FFF2-40B4-BE49-F238E27FC236}">
                  <a16:creationId xmlns:a16="http://schemas.microsoft.com/office/drawing/2014/main" id="{4901FE11-EBAA-3FAC-777D-B01915CC9BF0}"/>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3" name="Textplatzhalter 13">
            <a:extLst>
              <a:ext uri="{FF2B5EF4-FFF2-40B4-BE49-F238E27FC236}">
                <a16:creationId xmlns:a16="http://schemas.microsoft.com/office/drawing/2014/main" id="{56A57B19-DF55-3B48-4FC0-747DE23EA985}"/>
              </a:ext>
            </a:extLst>
          </p:cNvPr>
          <p:cNvSpPr>
            <a:spLocks noGrp="1"/>
          </p:cNvSpPr>
          <p:nvPr>
            <p:ph type="body" sz="quarter" idx="10" hasCustomPrompt="1"/>
          </p:nvPr>
        </p:nvSpPr>
        <p:spPr bwMode="gray">
          <a:xfrm>
            <a:off x="5024437" y="1148770"/>
            <a:ext cx="5807076" cy="1624939"/>
          </a:xfrm>
        </p:spPr>
        <p:txBody>
          <a:bodyPr anchor="b" anchorCtr="0">
            <a:noAutofit/>
          </a:bodyPr>
          <a:lstStyle>
            <a:lvl1pPr marL="0" indent="0">
              <a:lnSpc>
                <a:spcPct val="90000"/>
              </a:lnSpc>
              <a:buFontTx/>
              <a:buNone/>
              <a:defRPr sz="3000" b="1">
                <a:solidFill>
                  <a:schemeClr val="bg1"/>
                </a:solidFill>
                <a:latin typeface="+mj-lt"/>
              </a:defRPr>
            </a:lvl1pPr>
            <a:lvl6pPr>
              <a:defRPr sz="2000">
                <a:solidFill>
                  <a:schemeClr val="bg1"/>
                </a:solidFill>
                <a:latin typeface="+mj-lt"/>
              </a:defRPr>
            </a:lvl6pPr>
          </a:lstStyle>
          <a:p>
            <a:pPr lvl="0"/>
            <a:r>
              <a:rPr lang="en-US" noProof="0"/>
              <a:t>Chapter heading</a:t>
            </a:r>
          </a:p>
        </p:txBody>
      </p:sp>
      <p:sp>
        <p:nvSpPr>
          <p:cNvPr id="8" name="Textplatzhalter 12">
            <a:extLst>
              <a:ext uri="{FF2B5EF4-FFF2-40B4-BE49-F238E27FC236}">
                <a16:creationId xmlns:a16="http://schemas.microsoft.com/office/drawing/2014/main" id="{841F7DF6-F856-464C-6B24-0E5D6E8AB70A}"/>
              </a:ext>
            </a:extLst>
          </p:cNvPr>
          <p:cNvSpPr>
            <a:spLocks noGrp="1"/>
          </p:cNvSpPr>
          <p:nvPr>
            <p:ph type="body" sz="quarter" idx="13" hasCustomPrompt="1"/>
          </p:nvPr>
        </p:nvSpPr>
        <p:spPr bwMode="gray">
          <a:xfrm>
            <a:off x="5024437" y="2819805"/>
            <a:ext cx="5807075" cy="2435661"/>
          </a:xfrm>
        </p:spPr>
        <p:txBody>
          <a:bodyPr tIns="360000">
            <a:noAutofit/>
          </a:bodyPr>
          <a:lstStyle>
            <a:lvl1pPr marL="0" indent="0">
              <a:buFontTx/>
              <a:buNone/>
              <a:tabLst>
                <a:tab pos="811213" algn="l"/>
              </a:tabLst>
              <a:defRPr sz="2000">
                <a:solidFill>
                  <a:schemeClr val="bg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tab pos="811213" algn="l"/>
              </a:tabLst>
              <a:defRPr/>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a:t>
            </a:r>
          </a:p>
          <a:p>
            <a:pPr lvl="0"/>
            <a:br>
              <a:rPr lang="en-US" noProof="0"/>
            </a:br>
            <a:br>
              <a:rPr lang="en-US" noProof="0"/>
            </a:br>
            <a:endParaRPr lang="en-US" noProof="0"/>
          </a:p>
        </p:txBody>
      </p:sp>
      <p:sp>
        <p:nvSpPr>
          <p:cNvPr id="9" name="Titel 11">
            <a:extLst>
              <a:ext uri="{FF2B5EF4-FFF2-40B4-BE49-F238E27FC236}">
                <a16:creationId xmlns:a16="http://schemas.microsoft.com/office/drawing/2014/main" id="{1843CEE1-6AB3-E361-6310-85AD9D2D1761}"/>
              </a:ext>
            </a:extLst>
          </p:cNvPr>
          <p:cNvSpPr>
            <a:spLocks noGrp="1"/>
          </p:cNvSpPr>
          <p:nvPr>
            <p:ph type="title" hasCustomPrompt="1"/>
          </p:nvPr>
        </p:nvSpPr>
        <p:spPr bwMode="gray">
          <a:xfrm>
            <a:off x="1146175" y="1160463"/>
            <a:ext cx="1411200" cy="1760691"/>
          </a:xfrm>
        </p:spPr>
        <p:txBody>
          <a:bodyPr vert="horz" lIns="72000">
            <a:noAutofit/>
          </a:bodyPr>
          <a:lstStyle>
            <a:lvl1pPr algn="l">
              <a:defRPr sz="14000" b="0">
                <a:solidFill>
                  <a:schemeClr val="bg1"/>
                </a:solidFill>
                <a:latin typeface="Lexend Exa HM Xlight" pitchFamily="2" charset="0"/>
              </a:defRPr>
            </a:lvl1pPr>
          </a:lstStyle>
          <a:p>
            <a:r>
              <a:rPr lang="en-US" noProof="0"/>
              <a:t>1</a:t>
            </a:r>
          </a:p>
        </p:txBody>
      </p:sp>
    </p:spTree>
    <p:extLst>
      <p:ext uri="{BB962C8B-B14F-4D97-AF65-F5344CB8AC3E}">
        <p14:creationId xmlns:p14="http://schemas.microsoft.com/office/powerpoint/2010/main" val="393225807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Chapter 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915C72-C121-422E-AB81-634BD98E7B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4" name="Object 3" hidden="1">
                        <a:extLst>
                          <a:ext uri="{FF2B5EF4-FFF2-40B4-BE49-F238E27FC236}">
                            <a16:creationId xmlns:a16="http://schemas.microsoft.com/office/drawing/2014/main" id="{5B915C72-C121-422E-AB81-634BD98E7B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5F1F249F-1E91-A697-ADB1-18396B61E5F9}"/>
              </a:ext>
            </a:extLst>
          </p:cNvPr>
          <p:cNvSpPr/>
          <p:nvPr/>
        </p:nvSpPr>
        <p:spPr>
          <a:xfrm>
            <a:off x="-29256" y="0"/>
            <a:ext cx="1222125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Single Corner Rounded 13">
            <a:extLst>
              <a:ext uri="{FF2B5EF4-FFF2-40B4-BE49-F238E27FC236}">
                <a16:creationId xmlns:a16="http://schemas.microsoft.com/office/drawing/2014/main" id="{BFF8BD01-2E10-6B8D-175E-25D52887A9E7}"/>
              </a:ext>
            </a:extLst>
          </p:cNvPr>
          <p:cNvSpPr/>
          <p:nvPr/>
        </p:nvSpPr>
        <p:spPr>
          <a:xfrm flipV="1">
            <a:off x="382589" y="371474"/>
            <a:ext cx="11428412" cy="5349876"/>
          </a:xfrm>
          <a:prstGeom prst="round1Rect">
            <a:avLst>
              <a:gd name="adj" fmla="val 24528"/>
            </a:avLst>
          </a:prstGeom>
          <a:solidFill>
            <a:srgbClr val="FAFA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platzhalter 13">
            <a:extLst>
              <a:ext uri="{FF2B5EF4-FFF2-40B4-BE49-F238E27FC236}">
                <a16:creationId xmlns:a16="http://schemas.microsoft.com/office/drawing/2014/main" id="{FB87A77B-7253-80CF-FAB0-40E1094C941C}"/>
              </a:ext>
            </a:extLst>
          </p:cNvPr>
          <p:cNvSpPr>
            <a:spLocks noGrp="1"/>
          </p:cNvSpPr>
          <p:nvPr>
            <p:ph type="body" sz="quarter" idx="10" hasCustomPrompt="1"/>
          </p:nvPr>
        </p:nvSpPr>
        <p:spPr bwMode="gray">
          <a:xfrm>
            <a:off x="5024347" y="1137619"/>
            <a:ext cx="5806394" cy="1624939"/>
          </a:xfrm>
        </p:spPr>
        <p:txBody>
          <a:bodyPr anchor="b" anchorCtr="0">
            <a:noAutofit/>
          </a:bodyPr>
          <a:lstStyle>
            <a:lvl1pPr marL="0" indent="0">
              <a:lnSpc>
                <a:spcPct val="90000"/>
              </a:lnSpc>
              <a:buFontTx/>
              <a:buNone/>
              <a:defRPr sz="3000" b="1">
                <a:solidFill>
                  <a:schemeClr val="accent1"/>
                </a:solidFill>
                <a:latin typeface="+mj-lt"/>
              </a:defRPr>
            </a:lvl1pPr>
            <a:lvl6pPr>
              <a:defRPr sz="2000">
                <a:solidFill>
                  <a:schemeClr val="bg1"/>
                </a:solidFill>
                <a:latin typeface="+mj-lt"/>
              </a:defRPr>
            </a:lvl6pPr>
          </a:lstStyle>
          <a:p>
            <a:pPr lvl="0"/>
            <a:r>
              <a:rPr lang="en-US" noProof="0"/>
              <a:t>Chapter heading</a:t>
            </a:r>
          </a:p>
        </p:txBody>
      </p:sp>
      <p:sp>
        <p:nvSpPr>
          <p:cNvPr id="15" name="Textplatzhalter 12">
            <a:extLst>
              <a:ext uri="{FF2B5EF4-FFF2-40B4-BE49-F238E27FC236}">
                <a16:creationId xmlns:a16="http://schemas.microsoft.com/office/drawing/2014/main" id="{EDA90ACF-CCC2-9F69-6411-8F7AA60BECEA}"/>
              </a:ext>
            </a:extLst>
          </p:cNvPr>
          <p:cNvSpPr>
            <a:spLocks noGrp="1"/>
          </p:cNvSpPr>
          <p:nvPr>
            <p:ph type="body" sz="quarter" idx="13" hasCustomPrompt="1"/>
          </p:nvPr>
        </p:nvSpPr>
        <p:spPr bwMode="gray">
          <a:xfrm>
            <a:off x="5024437" y="2819805"/>
            <a:ext cx="5807075" cy="2435661"/>
          </a:xfrm>
        </p:spPr>
        <p:txBody>
          <a:bodyPr tIns="360000">
            <a:noAutofit/>
          </a:bodyPr>
          <a:lstStyle>
            <a:lvl1pPr marL="0" indent="0">
              <a:buFontTx/>
              <a:buNone/>
              <a:tabLst>
                <a:tab pos="811213" algn="l"/>
              </a:tabLst>
              <a:defRPr sz="2000">
                <a:solidFill>
                  <a:schemeClr val="accent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tab pos="811213" algn="l"/>
              </a:tabLst>
              <a:defRPr/>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a:t>
            </a:r>
          </a:p>
          <a:p>
            <a:pPr lvl="0"/>
            <a:br>
              <a:rPr lang="en-US" noProof="0"/>
            </a:br>
            <a:br>
              <a:rPr lang="en-US" noProof="0"/>
            </a:br>
            <a:endParaRPr lang="en-US" noProof="0"/>
          </a:p>
        </p:txBody>
      </p:sp>
      <p:sp>
        <p:nvSpPr>
          <p:cNvPr id="16" name="Titel 11">
            <a:extLst>
              <a:ext uri="{FF2B5EF4-FFF2-40B4-BE49-F238E27FC236}">
                <a16:creationId xmlns:a16="http://schemas.microsoft.com/office/drawing/2014/main" id="{DA5D6635-B9AE-5071-1563-6CA9EFADAB78}"/>
              </a:ext>
            </a:extLst>
          </p:cNvPr>
          <p:cNvSpPr>
            <a:spLocks noGrp="1"/>
          </p:cNvSpPr>
          <p:nvPr>
            <p:ph type="title" hasCustomPrompt="1"/>
          </p:nvPr>
        </p:nvSpPr>
        <p:spPr bwMode="gray">
          <a:xfrm>
            <a:off x="1156261" y="1160463"/>
            <a:ext cx="1411573" cy="1786393"/>
          </a:xfrm>
        </p:spPr>
        <p:txBody>
          <a:bodyPr vert="horz" lIns="72000">
            <a:noAutofit/>
          </a:bodyPr>
          <a:lstStyle>
            <a:lvl1pPr algn="l">
              <a:defRPr sz="14000" b="0">
                <a:solidFill>
                  <a:schemeClr val="accent1"/>
                </a:solidFill>
                <a:latin typeface="Lexend Exa HM Xlight" pitchFamily="2" charset="0"/>
              </a:defRPr>
            </a:lvl1pPr>
          </a:lstStyle>
          <a:p>
            <a:r>
              <a:rPr lang="en-US" noProof="0"/>
              <a:t>2</a:t>
            </a:r>
          </a:p>
        </p:txBody>
      </p:sp>
      <p:grpSp>
        <p:nvGrpSpPr>
          <p:cNvPr id="21" name="object 8">
            <a:extLst>
              <a:ext uri="{FF2B5EF4-FFF2-40B4-BE49-F238E27FC236}">
                <a16:creationId xmlns:a16="http://schemas.microsoft.com/office/drawing/2014/main" id="{D8E68360-62C8-855C-2A94-DE976E84A397}"/>
              </a:ext>
            </a:extLst>
          </p:cNvPr>
          <p:cNvGrpSpPr/>
          <p:nvPr/>
        </p:nvGrpSpPr>
        <p:grpSpPr bwMode="gray">
          <a:xfrm>
            <a:off x="11523000" y="6201700"/>
            <a:ext cx="288000" cy="288000"/>
            <a:chOff x="18934851" y="10156759"/>
            <a:chExt cx="523875" cy="523875"/>
          </a:xfrm>
        </p:grpSpPr>
        <p:sp>
          <p:nvSpPr>
            <p:cNvPr id="22" name="object 9">
              <a:extLst>
                <a:ext uri="{FF2B5EF4-FFF2-40B4-BE49-F238E27FC236}">
                  <a16:creationId xmlns:a16="http://schemas.microsoft.com/office/drawing/2014/main" id="{DCCFFEFA-8322-1DBA-4D35-E3B4061CBAEF}"/>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23" name="object 10">
              <a:extLst>
                <a:ext uri="{FF2B5EF4-FFF2-40B4-BE49-F238E27FC236}">
                  <a16:creationId xmlns:a16="http://schemas.microsoft.com/office/drawing/2014/main" id="{26E11FD1-E39E-364C-40C2-3E8B8A25330C}"/>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24" name="object 11">
              <a:extLst>
                <a:ext uri="{FF2B5EF4-FFF2-40B4-BE49-F238E27FC236}">
                  <a16:creationId xmlns:a16="http://schemas.microsoft.com/office/drawing/2014/main" id="{300AD9A4-6A99-8838-EC28-0369D946715E}"/>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Tree>
    <p:extLst>
      <p:ext uri="{BB962C8B-B14F-4D97-AF65-F5344CB8AC3E}">
        <p14:creationId xmlns:p14="http://schemas.microsoft.com/office/powerpoint/2010/main" val="258185208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Chapter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A25D504-A3C0-2BBB-6C47-2D69B4F8EB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5A25D504-A3C0-2BBB-6C47-2D69B4F8EB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EB7F665-83C8-9245-DA87-235726885C90}"/>
              </a:ext>
            </a:extLst>
          </p:cNvPr>
          <p:cNvSpPr/>
          <p:nvPr/>
        </p:nvSpPr>
        <p:spPr>
          <a:xfrm>
            <a:off x="-29256" y="0"/>
            <a:ext cx="1222125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Single Corner Rounded 13">
            <a:extLst>
              <a:ext uri="{FF2B5EF4-FFF2-40B4-BE49-F238E27FC236}">
                <a16:creationId xmlns:a16="http://schemas.microsoft.com/office/drawing/2014/main" id="{F68022E9-F686-8054-5E08-96FC2E030741}"/>
              </a:ext>
            </a:extLst>
          </p:cNvPr>
          <p:cNvSpPr/>
          <p:nvPr/>
        </p:nvSpPr>
        <p:spPr bwMode="gray">
          <a:xfrm flipV="1">
            <a:off x="382589" y="371474"/>
            <a:ext cx="11428412" cy="5349876"/>
          </a:xfrm>
          <a:prstGeom prst="round1Rect">
            <a:avLst>
              <a:gd name="adj" fmla="val 24528"/>
            </a:avLst>
          </a:prstGeom>
          <a:solidFill>
            <a:srgbClr val="873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platzhalter 13">
            <a:extLst>
              <a:ext uri="{FF2B5EF4-FFF2-40B4-BE49-F238E27FC236}">
                <a16:creationId xmlns:a16="http://schemas.microsoft.com/office/drawing/2014/main" id="{65F6E5E4-D892-5620-0A20-317AF2BB7334}"/>
              </a:ext>
            </a:extLst>
          </p:cNvPr>
          <p:cNvSpPr>
            <a:spLocks noGrp="1"/>
          </p:cNvSpPr>
          <p:nvPr>
            <p:ph type="body" sz="quarter" idx="10" hasCustomPrompt="1"/>
          </p:nvPr>
        </p:nvSpPr>
        <p:spPr bwMode="gray">
          <a:xfrm>
            <a:off x="5024437" y="1137619"/>
            <a:ext cx="5807076" cy="1624939"/>
          </a:xfrm>
        </p:spPr>
        <p:txBody>
          <a:bodyPr anchor="b" anchorCtr="0">
            <a:noAutofit/>
          </a:bodyPr>
          <a:lstStyle>
            <a:lvl1pPr marL="0" indent="0">
              <a:lnSpc>
                <a:spcPct val="90000"/>
              </a:lnSpc>
              <a:buFontTx/>
              <a:buNone/>
              <a:defRPr sz="3000" b="1">
                <a:solidFill>
                  <a:schemeClr val="bg1"/>
                </a:solidFill>
                <a:latin typeface="+mj-lt"/>
              </a:defRPr>
            </a:lvl1pPr>
            <a:lvl6pPr>
              <a:defRPr sz="2000">
                <a:solidFill>
                  <a:schemeClr val="bg1"/>
                </a:solidFill>
                <a:latin typeface="+mj-lt"/>
              </a:defRPr>
            </a:lvl6pPr>
          </a:lstStyle>
          <a:p>
            <a:pPr lvl="0"/>
            <a:r>
              <a:rPr lang="en-US" noProof="0"/>
              <a:t>Chapter heading</a:t>
            </a:r>
          </a:p>
        </p:txBody>
      </p:sp>
      <p:sp>
        <p:nvSpPr>
          <p:cNvPr id="18" name="Textplatzhalter 12">
            <a:extLst>
              <a:ext uri="{FF2B5EF4-FFF2-40B4-BE49-F238E27FC236}">
                <a16:creationId xmlns:a16="http://schemas.microsoft.com/office/drawing/2014/main" id="{3DA35646-5A17-918C-A9AA-C4786CD5B3EA}"/>
              </a:ext>
            </a:extLst>
          </p:cNvPr>
          <p:cNvSpPr>
            <a:spLocks noGrp="1"/>
          </p:cNvSpPr>
          <p:nvPr>
            <p:ph type="body" sz="quarter" idx="13" hasCustomPrompt="1"/>
          </p:nvPr>
        </p:nvSpPr>
        <p:spPr bwMode="gray">
          <a:xfrm>
            <a:off x="5024437" y="2819805"/>
            <a:ext cx="5807075" cy="2435661"/>
          </a:xfrm>
        </p:spPr>
        <p:txBody>
          <a:bodyPr tIns="360000">
            <a:noAutofit/>
          </a:bodyPr>
          <a:lstStyle>
            <a:lvl1pPr marL="0" indent="0">
              <a:buFontTx/>
              <a:buNone/>
              <a:tabLst>
                <a:tab pos="811213" algn="l"/>
              </a:tabLst>
              <a:defRPr sz="2000">
                <a:solidFill>
                  <a:schemeClr val="bg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tab pos="811213" algn="l"/>
              </a:tabLst>
              <a:defRPr/>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a:t>
            </a:r>
            <a:br>
              <a:rPr lang="en-US" noProof="0"/>
            </a:br>
            <a:br>
              <a:rPr lang="en-US" noProof="0"/>
            </a:br>
            <a:endParaRPr lang="en-US" noProof="0"/>
          </a:p>
        </p:txBody>
      </p:sp>
      <p:sp>
        <p:nvSpPr>
          <p:cNvPr id="19" name="Titel 11">
            <a:extLst>
              <a:ext uri="{FF2B5EF4-FFF2-40B4-BE49-F238E27FC236}">
                <a16:creationId xmlns:a16="http://schemas.microsoft.com/office/drawing/2014/main" id="{B00EC901-646E-EADF-3FDD-88E6F22F480C}"/>
              </a:ext>
            </a:extLst>
          </p:cNvPr>
          <p:cNvSpPr>
            <a:spLocks noGrp="1"/>
          </p:cNvSpPr>
          <p:nvPr>
            <p:ph type="title" hasCustomPrompt="1"/>
          </p:nvPr>
        </p:nvSpPr>
        <p:spPr bwMode="gray">
          <a:xfrm>
            <a:off x="1146175" y="1160463"/>
            <a:ext cx="1412640" cy="1727238"/>
          </a:xfrm>
        </p:spPr>
        <p:txBody>
          <a:bodyPr vert="horz" lIns="72000">
            <a:noAutofit/>
          </a:bodyPr>
          <a:lstStyle>
            <a:lvl1pPr algn="l">
              <a:defRPr sz="14000" b="0">
                <a:solidFill>
                  <a:schemeClr val="bg1"/>
                </a:solidFill>
                <a:latin typeface="Lexend Exa HM Xlight" pitchFamily="2" charset="0"/>
              </a:defRPr>
            </a:lvl1pPr>
          </a:lstStyle>
          <a:p>
            <a:r>
              <a:rPr lang="en-US" noProof="0"/>
              <a:t>3</a:t>
            </a:r>
          </a:p>
        </p:txBody>
      </p:sp>
      <p:grpSp>
        <p:nvGrpSpPr>
          <p:cNvPr id="24" name="object 8">
            <a:extLst>
              <a:ext uri="{FF2B5EF4-FFF2-40B4-BE49-F238E27FC236}">
                <a16:creationId xmlns:a16="http://schemas.microsoft.com/office/drawing/2014/main" id="{DDC8DA74-888F-66DB-78B8-520226CA675D}"/>
              </a:ext>
            </a:extLst>
          </p:cNvPr>
          <p:cNvGrpSpPr/>
          <p:nvPr/>
        </p:nvGrpSpPr>
        <p:grpSpPr bwMode="gray">
          <a:xfrm>
            <a:off x="11523000" y="6201700"/>
            <a:ext cx="288000" cy="288000"/>
            <a:chOff x="18934851" y="10156759"/>
            <a:chExt cx="523875" cy="523875"/>
          </a:xfrm>
        </p:grpSpPr>
        <p:sp>
          <p:nvSpPr>
            <p:cNvPr id="25" name="object 9">
              <a:extLst>
                <a:ext uri="{FF2B5EF4-FFF2-40B4-BE49-F238E27FC236}">
                  <a16:creationId xmlns:a16="http://schemas.microsoft.com/office/drawing/2014/main" id="{2BA99526-81F7-A649-8AD6-5083F3E82424}"/>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26" name="object 10">
              <a:extLst>
                <a:ext uri="{FF2B5EF4-FFF2-40B4-BE49-F238E27FC236}">
                  <a16:creationId xmlns:a16="http://schemas.microsoft.com/office/drawing/2014/main" id="{DE98E96C-2ACD-D7F9-733F-B26D40794C48}"/>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27" name="object 11">
              <a:extLst>
                <a:ext uri="{FF2B5EF4-FFF2-40B4-BE49-F238E27FC236}">
                  <a16:creationId xmlns:a16="http://schemas.microsoft.com/office/drawing/2014/main" id="{2E9D84A4-E4C6-1F87-310D-DF00CD3D2372}"/>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Tree>
    <p:extLst>
      <p:ext uri="{BB962C8B-B14F-4D97-AF65-F5344CB8AC3E}">
        <p14:creationId xmlns:p14="http://schemas.microsoft.com/office/powerpoint/2010/main" val="46327726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Chapter 6">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577D30B-54C3-8B31-B090-913E717374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9" name="Object 8" hidden="1">
                        <a:extLst>
                          <a:ext uri="{FF2B5EF4-FFF2-40B4-BE49-F238E27FC236}">
                            <a16:creationId xmlns:a16="http://schemas.microsoft.com/office/drawing/2014/main" id="{8577D30B-54C3-8B31-B090-913E717374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61A366BD-7110-0250-45C0-88021C56C0F3}"/>
              </a:ext>
            </a:extLst>
          </p:cNvPr>
          <p:cNvSpPr/>
          <p:nvPr/>
        </p:nvSpPr>
        <p:spPr>
          <a:xfrm>
            <a:off x="-29256" y="0"/>
            <a:ext cx="1222125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Single Corner Rounded 13">
            <a:extLst>
              <a:ext uri="{FF2B5EF4-FFF2-40B4-BE49-F238E27FC236}">
                <a16:creationId xmlns:a16="http://schemas.microsoft.com/office/drawing/2014/main" id="{D2507DC2-6336-EEDD-8704-2CB7316AB4C4}"/>
              </a:ext>
            </a:extLst>
          </p:cNvPr>
          <p:cNvSpPr/>
          <p:nvPr/>
        </p:nvSpPr>
        <p:spPr bwMode="gray">
          <a:xfrm flipV="1">
            <a:off x="382589" y="371474"/>
            <a:ext cx="11428412" cy="5349876"/>
          </a:xfrm>
          <a:prstGeom prst="round1Rect">
            <a:avLst>
              <a:gd name="adj" fmla="val 24528"/>
            </a:avLst>
          </a:prstGeom>
          <a:solidFill>
            <a:srgbClr val="FF0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platzhalter 13">
            <a:extLst>
              <a:ext uri="{FF2B5EF4-FFF2-40B4-BE49-F238E27FC236}">
                <a16:creationId xmlns:a16="http://schemas.microsoft.com/office/drawing/2014/main" id="{FE86372C-68B9-0D92-40E5-25F5F8D770EF}"/>
              </a:ext>
            </a:extLst>
          </p:cNvPr>
          <p:cNvSpPr>
            <a:spLocks noGrp="1"/>
          </p:cNvSpPr>
          <p:nvPr>
            <p:ph type="body" sz="quarter" idx="10" hasCustomPrompt="1"/>
          </p:nvPr>
        </p:nvSpPr>
        <p:spPr bwMode="gray">
          <a:xfrm>
            <a:off x="5024437" y="1137619"/>
            <a:ext cx="5807075" cy="1624939"/>
          </a:xfrm>
        </p:spPr>
        <p:txBody>
          <a:bodyPr anchor="b" anchorCtr="0">
            <a:noAutofit/>
          </a:bodyPr>
          <a:lstStyle>
            <a:lvl1pPr marL="0" indent="0">
              <a:lnSpc>
                <a:spcPct val="90000"/>
              </a:lnSpc>
              <a:buFontTx/>
              <a:buNone/>
              <a:defRPr sz="3000" b="1">
                <a:solidFill>
                  <a:schemeClr val="bg1"/>
                </a:solidFill>
                <a:latin typeface="+mj-lt"/>
              </a:defRPr>
            </a:lvl1pPr>
            <a:lvl6pPr>
              <a:defRPr sz="2000">
                <a:solidFill>
                  <a:schemeClr val="bg1"/>
                </a:solidFill>
                <a:latin typeface="+mj-lt"/>
              </a:defRPr>
            </a:lvl6pPr>
          </a:lstStyle>
          <a:p>
            <a:pPr lvl="0"/>
            <a:r>
              <a:rPr lang="en-US" noProof="0"/>
              <a:t>Chapter heading</a:t>
            </a:r>
          </a:p>
        </p:txBody>
      </p:sp>
      <p:sp>
        <p:nvSpPr>
          <p:cNvPr id="19" name="Titel 11">
            <a:extLst>
              <a:ext uri="{FF2B5EF4-FFF2-40B4-BE49-F238E27FC236}">
                <a16:creationId xmlns:a16="http://schemas.microsoft.com/office/drawing/2014/main" id="{5D93261F-8572-3704-5A09-C33EC06C5D2F}"/>
              </a:ext>
            </a:extLst>
          </p:cNvPr>
          <p:cNvSpPr>
            <a:spLocks noGrp="1"/>
          </p:cNvSpPr>
          <p:nvPr>
            <p:ph type="title" hasCustomPrompt="1"/>
          </p:nvPr>
        </p:nvSpPr>
        <p:spPr bwMode="gray">
          <a:xfrm>
            <a:off x="1152899" y="1160463"/>
            <a:ext cx="1411200" cy="1725288"/>
          </a:xfrm>
        </p:spPr>
        <p:txBody>
          <a:bodyPr vert="horz" lIns="72000">
            <a:noAutofit/>
          </a:bodyPr>
          <a:lstStyle>
            <a:lvl1pPr algn="l">
              <a:defRPr sz="14000" b="0">
                <a:solidFill>
                  <a:schemeClr val="bg1"/>
                </a:solidFill>
                <a:latin typeface="Lexend Exa HM Xlight" pitchFamily="2" charset="0"/>
              </a:defRPr>
            </a:lvl1pPr>
          </a:lstStyle>
          <a:p>
            <a:r>
              <a:rPr lang="en-US" noProof="0"/>
              <a:t>4</a:t>
            </a:r>
          </a:p>
        </p:txBody>
      </p:sp>
      <p:grpSp>
        <p:nvGrpSpPr>
          <p:cNvPr id="20" name="object 8">
            <a:extLst>
              <a:ext uri="{FF2B5EF4-FFF2-40B4-BE49-F238E27FC236}">
                <a16:creationId xmlns:a16="http://schemas.microsoft.com/office/drawing/2014/main" id="{36231B1D-A549-EF4E-F43C-B10418994CA0}"/>
              </a:ext>
            </a:extLst>
          </p:cNvPr>
          <p:cNvGrpSpPr/>
          <p:nvPr/>
        </p:nvGrpSpPr>
        <p:grpSpPr bwMode="gray">
          <a:xfrm>
            <a:off x="11523000" y="6201700"/>
            <a:ext cx="288000" cy="288000"/>
            <a:chOff x="18934851" y="10156759"/>
            <a:chExt cx="523875" cy="523875"/>
          </a:xfrm>
        </p:grpSpPr>
        <p:sp>
          <p:nvSpPr>
            <p:cNvPr id="21" name="object 9">
              <a:extLst>
                <a:ext uri="{FF2B5EF4-FFF2-40B4-BE49-F238E27FC236}">
                  <a16:creationId xmlns:a16="http://schemas.microsoft.com/office/drawing/2014/main" id="{9718E20F-E51A-DF70-49F7-32C9E1B92FB2}"/>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22" name="object 10">
              <a:extLst>
                <a:ext uri="{FF2B5EF4-FFF2-40B4-BE49-F238E27FC236}">
                  <a16:creationId xmlns:a16="http://schemas.microsoft.com/office/drawing/2014/main" id="{3519D0D1-1767-6672-77C6-65E2D843042C}"/>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23" name="object 11">
              <a:extLst>
                <a:ext uri="{FF2B5EF4-FFF2-40B4-BE49-F238E27FC236}">
                  <a16:creationId xmlns:a16="http://schemas.microsoft.com/office/drawing/2014/main" id="{5FC3DA40-4E0B-AB34-2FE3-D16E77DA7412}"/>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5" name="Textplatzhalter 12">
            <a:extLst>
              <a:ext uri="{FF2B5EF4-FFF2-40B4-BE49-F238E27FC236}">
                <a16:creationId xmlns:a16="http://schemas.microsoft.com/office/drawing/2014/main" id="{BD6D6E8C-3CB6-128D-B8B2-D85CB4A38044}"/>
              </a:ext>
            </a:extLst>
          </p:cNvPr>
          <p:cNvSpPr>
            <a:spLocks noGrp="1"/>
          </p:cNvSpPr>
          <p:nvPr>
            <p:ph type="body" sz="quarter" idx="13" hasCustomPrompt="1"/>
          </p:nvPr>
        </p:nvSpPr>
        <p:spPr bwMode="gray">
          <a:xfrm>
            <a:off x="5024438" y="2819805"/>
            <a:ext cx="5807074" cy="2435661"/>
          </a:xfrm>
        </p:spPr>
        <p:txBody>
          <a:bodyPr tIns="360000">
            <a:noAutofit/>
          </a:bodyPr>
          <a:lstStyle>
            <a:lvl1pPr marL="0" indent="0">
              <a:buFontTx/>
              <a:buNone/>
              <a:tabLst>
                <a:tab pos="811213" algn="l"/>
              </a:tabLst>
              <a:defRPr sz="2000">
                <a:solidFill>
                  <a:schemeClr val="bg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tab pos="811213" algn="l"/>
              </a:tabLst>
              <a:defRPr/>
            </a:pPr>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a:t>
            </a:r>
            <a:br>
              <a:rPr lang="en-US" noProof="0"/>
            </a:br>
            <a:br>
              <a:rPr lang="en-US" noProof="0"/>
            </a:br>
            <a:endParaRPr lang="en-US" noProof="0"/>
          </a:p>
        </p:txBody>
      </p:sp>
    </p:spTree>
    <p:extLst>
      <p:ext uri="{BB962C8B-B14F-4D97-AF65-F5344CB8AC3E}">
        <p14:creationId xmlns:p14="http://schemas.microsoft.com/office/powerpoint/2010/main" val="145816191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Subchapter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D2233D9-AD43-3006-AB11-7F66E0A011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ct 1" hidden="1">
                        <a:extLst>
                          <a:ext uri="{FF2B5EF4-FFF2-40B4-BE49-F238E27FC236}">
                            <a16:creationId xmlns:a16="http://schemas.microsoft.com/office/drawing/2014/main" id="{4D2233D9-AD43-3006-AB11-7F66E0A011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7">
            <a:extLst>
              <a:ext uri="{FF2B5EF4-FFF2-40B4-BE49-F238E27FC236}">
                <a16:creationId xmlns:a16="http://schemas.microsoft.com/office/drawing/2014/main" id="{EBC529DE-BD85-7126-DB1D-B1D170E694D0}"/>
              </a:ext>
            </a:extLst>
          </p:cNvPr>
          <p:cNvSpPr>
            <a:spLocks noGrp="1"/>
          </p:cNvSpPr>
          <p:nvPr>
            <p:ph type="pic" sz="quarter" idx="36" hasCustomPrompt="1"/>
          </p:nvPr>
        </p:nvSpPr>
        <p:spPr>
          <a:xfrm>
            <a:off x="0" y="0"/>
            <a:ext cx="12192000" cy="6858000"/>
          </a:xfrm>
        </p:spPr>
        <p:txBody>
          <a:bodyPr/>
          <a:lstStyle>
            <a:lvl1pPr algn="r">
              <a:defRPr>
                <a:solidFill>
                  <a:schemeClr val="tx1"/>
                </a:solidFill>
              </a:defRPr>
            </a:lvl1pPr>
          </a:lstStyle>
          <a:p>
            <a:pPr marL="0" marR="0" lvl="0" indent="0" algn="r"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3" name="Textplatzhalter 12">
            <a:extLst>
              <a:ext uri="{FF2B5EF4-FFF2-40B4-BE49-F238E27FC236}">
                <a16:creationId xmlns:a16="http://schemas.microsoft.com/office/drawing/2014/main" id="{943E6C74-D355-1868-9414-38273831E967}"/>
              </a:ext>
            </a:extLst>
          </p:cNvPr>
          <p:cNvSpPr>
            <a:spLocks noGrp="1"/>
          </p:cNvSpPr>
          <p:nvPr>
            <p:ph type="body" sz="quarter" idx="37" hasCustomPrompt="1"/>
          </p:nvPr>
        </p:nvSpPr>
        <p:spPr>
          <a:xfrm>
            <a:off x="0" y="0"/>
            <a:ext cx="5024438" cy="648970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12" name="Titel 11">
            <a:extLst>
              <a:ext uri="{FF2B5EF4-FFF2-40B4-BE49-F238E27FC236}">
                <a16:creationId xmlns:a16="http://schemas.microsoft.com/office/drawing/2014/main" id="{2D8A5C73-A2DD-BB0B-F430-B85D39EE2790}"/>
              </a:ext>
            </a:extLst>
          </p:cNvPr>
          <p:cNvSpPr>
            <a:spLocks noGrp="1"/>
          </p:cNvSpPr>
          <p:nvPr>
            <p:ph type="title" hasCustomPrompt="1"/>
          </p:nvPr>
        </p:nvSpPr>
        <p:spPr bwMode="gray">
          <a:xfrm>
            <a:off x="386459" y="371475"/>
            <a:ext cx="2184213" cy="1547823"/>
          </a:xfrm>
        </p:spPr>
        <p:txBody>
          <a:bodyPr vert="horz" tIns="72000">
            <a:noAutofit/>
          </a:bodyPr>
          <a:lstStyle>
            <a:lvl1pPr>
              <a:defRPr sz="10000" b="0">
                <a:solidFill>
                  <a:schemeClr val="bg1"/>
                </a:solidFill>
                <a:latin typeface="Lexend Exa HM Xlight" pitchFamily="2" charset="0"/>
              </a:defRPr>
            </a:lvl1pPr>
          </a:lstStyle>
          <a:p>
            <a:r>
              <a:rPr lang="en-US" noProof="0"/>
              <a:t>0.0</a:t>
            </a:r>
          </a:p>
        </p:txBody>
      </p:sp>
      <p:sp>
        <p:nvSpPr>
          <p:cNvPr id="14" name="Textplatzhalter 13">
            <a:extLst>
              <a:ext uri="{FF2B5EF4-FFF2-40B4-BE49-F238E27FC236}">
                <a16:creationId xmlns:a16="http://schemas.microsoft.com/office/drawing/2014/main" id="{CB3A63BB-B6EA-EE27-B2B3-B402C39B8E24}"/>
              </a:ext>
            </a:extLst>
          </p:cNvPr>
          <p:cNvSpPr>
            <a:spLocks noGrp="1"/>
          </p:cNvSpPr>
          <p:nvPr>
            <p:ph type="body" sz="quarter" idx="10" hasCustomPrompt="1"/>
          </p:nvPr>
        </p:nvSpPr>
        <p:spPr bwMode="gray">
          <a:xfrm>
            <a:off x="382588" y="3397094"/>
            <a:ext cx="3878262" cy="894502"/>
          </a:xfrm>
        </p:spPr>
        <p:txBody>
          <a:bodyPr anchor="b" anchorCtr="0">
            <a:noAutofit/>
          </a:bodyPr>
          <a:lstStyle>
            <a:lvl1pPr marL="0" indent="0">
              <a:lnSpc>
                <a:spcPct val="90000"/>
              </a:lnSpc>
              <a:buFontTx/>
              <a:buNone/>
              <a:defRPr sz="2500" b="1">
                <a:solidFill>
                  <a:schemeClr val="bg1"/>
                </a:solidFill>
                <a:latin typeface="+mj-lt"/>
              </a:defRPr>
            </a:lvl1pPr>
            <a:lvl6pPr>
              <a:defRPr sz="2000">
                <a:solidFill>
                  <a:schemeClr val="bg1"/>
                </a:solidFill>
                <a:latin typeface="+mj-lt"/>
              </a:defRPr>
            </a:lvl6pPr>
          </a:lstStyle>
          <a:p>
            <a:pPr lvl="0"/>
            <a:r>
              <a:rPr lang="en-US" noProof="0"/>
              <a:t>Subchapter heading</a:t>
            </a:r>
          </a:p>
        </p:txBody>
      </p:sp>
      <p:sp>
        <p:nvSpPr>
          <p:cNvPr id="9" name="Text Placeholder 8">
            <a:extLst>
              <a:ext uri="{FF2B5EF4-FFF2-40B4-BE49-F238E27FC236}">
                <a16:creationId xmlns:a16="http://schemas.microsoft.com/office/drawing/2014/main" id="{622E67F6-E679-E68D-4550-9744659DC089}"/>
              </a:ext>
            </a:extLst>
          </p:cNvPr>
          <p:cNvSpPr>
            <a:spLocks noGrp="1"/>
          </p:cNvSpPr>
          <p:nvPr>
            <p:ph type="body" sz="quarter" idx="17" hasCustomPrompt="1"/>
          </p:nvPr>
        </p:nvSpPr>
        <p:spPr bwMode="gray">
          <a:xfrm>
            <a:off x="382588" y="4291596"/>
            <a:ext cx="3878262" cy="1404530"/>
          </a:xfrm>
        </p:spPr>
        <p:txBody>
          <a:bodyPr tIns="144000"/>
          <a:lstStyle>
            <a:lvl1pPr marL="0" indent="0">
              <a:buFontTx/>
              <a:buNone/>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noProof="0"/>
              <a:t>Lorem Ipsum dolor esse</a:t>
            </a:r>
          </a:p>
        </p:txBody>
      </p:sp>
      <p:sp>
        <p:nvSpPr>
          <p:cNvPr id="3" name="Text Placeholder 7">
            <a:extLst>
              <a:ext uri="{FF2B5EF4-FFF2-40B4-BE49-F238E27FC236}">
                <a16:creationId xmlns:a16="http://schemas.microsoft.com/office/drawing/2014/main" id="{0AC6D1E4-744E-1AFF-FC94-03D559437849}"/>
              </a:ext>
            </a:extLst>
          </p:cNvPr>
          <p:cNvSpPr>
            <a:spLocks noGrp="1" noChangeAspect="1"/>
          </p:cNvSpPr>
          <p:nvPr>
            <p:ph type="body" sz="quarter" idx="35" hasCustomPrompt="1"/>
          </p:nvPr>
        </p:nvSpPr>
        <p:spPr>
          <a:xfrm>
            <a:off x="11523000" y="6201700"/>
            <a:ext cx="288000" cy="288000"/>
          </a:xfrm>
          <a:blipFill>
            <a:blip r:embed="rId7"/>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48338116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Subchapter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FF7FA7-E13D-6F76-2937-9ADA15D377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Object 1" hidden="1">
                        <a:extLst>
                          <a:ext uri="{FF2B5EF4-FFF2-40B4-BE49-F238E27FC236}">
                            <a16:creationId xmlns:a16="http://schemas.microsoft.com/office/drawing/2014/main" id="{B8FF7FA7-E13D-6F76-2937-9ADA15D377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7">
            <a:extLst>
              <a:ext uri="{FF2B5EF4-FFF2-40B4-BE49-F238E27FC236}">
                <a16:creationId xmlns:a16="http://schemas.microsoft.com/office/drawing/2014/main" id="{58F8E833-2B33-6B72-1121-95A5B42894B7}"/>
              </a:ext>
            </a:extLst>
          </p:cNvPr>
          <p:cNvSpPr>
            <a:spLocks noGrp="1"/>
          </p:cNvSpPr>
          <p:nvPr>
            <p:ph type="pic" sz="quarter" idx="36" hasCustomPrompt="1"/>
          </p:nvPr>
        </p:nvSpPr>
        <p:spPr>
          <a:xfrm>
            <a:off x="0" y="0"/>
            <a:ext cx="12192000" cy="6858000"/>
          </a:xfrm>
          <a:noFill/>
        </p:spPr>
        <p:txBody>
          <a:bodyPr/>
          <a:lstStyle>
            <a:lvl1pPr algn="r">
              <a:defRPr>
                <a:solidFill>
                  <a:schemeClr val="tx1"/>
                </a:solidFill>
              </a:defRPr>
            </a:lvl1pPr>
          </a:lstStyle>
          <a:p>
            <a:pPr marL="0" marR="0" lvl="0" indent="0" algn="r"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9" name="Textplatzhalter 12">
            <a:extLst>
              <a:ext uri="{FF2B5EF4-FFF2-40B4-BE49-F238E27FC236}">
                <a16:creationId xmlns:a16="http://schemas.microsoft.com/office/drawing/2014/main" id="{C06A5956-1E7A-44AA-C503-06D1607B703E}"/>
              </a:ext>
            </a:extLst>
          </p:cNvPr>
          <p:cNvSpPr>
            <a:spLocks noGrp="1"/>
          </p:cNvSpPr>
          <p:nvPr>
            <p:ph type="body" sz="quarter" idx="37" hasCustomPrompt="1"/>
          </p:nvPr>
        </p:nvSpPr>
        <p:spPr>
          <a:xfrm>
            <a:off x="0" y="0"/>
            <a:ext cx="5024438" cy="648970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7" name="Titel 11">
            <a:extLst>
              <a:ext uri="{FF2B5EF4-FFF2-40B4-BE49-F238E27FC236}">
                <a16:creationId xmlns:a16="http://schemas.microsoft.com/office/drawing/2014/main" id="{08129F2E-A42C-92D4-6841-A94998C5CD19}"/>
              </a:ext>
            </a:extLst>
          </p:cNvPr>
          <p:cNvSpPr>
            <a:spLocks noGrp="1"/>
          </p:cNvSpPr>
          <p:nvPr>
            <p:ph type="title" hasCustomPrompt="1"/>
          </p:nvPr>
        </p:nvSpPr>
        <p:spPr bwMode="gray">
          <a:xfrm>
            <a:off x="386459" y="371475"/>
            <a:ext cx="2185200" cy="1544638"/>
          </a:xfrm>
        </p:spPr>
        <p:txBody>
          <a:bodyPr vert="horz" tIns="72000">
            <a:noAutofit/>
          </a:bodyPr>
          <a:lstStyle>
            <a:lvl1pPr>
              <a:defRPr sz="10000" b="0">
                <a:solidFill>
                  <a:schemeClr val="bg1"/>
                </a:solidFill>
                <a:latin typeface="Lexend Exa HM Xlight" pitchFamily="2" charset="0"/>
              </a:defRPr>
            </a:lvl1pPr>
          </a:lstStyle>
          <a:p>
            <a:r>
              <a:rPr lang="en-US" noProof="0"/>
              <a:t>0.0</a:t>
            </a:r>
          </a:p>
        </p:txBody>
      </p:sp>
      <p:sp>
        <p:nvSpPr>
          <p:cNvPr id="3" name="Textplatzhalter 13">
            <a:extLst>
              <a:ext uri="{FF2B5EF4-FFF2-40B4-BE49-F238E27FC236}">
                <a16:creationId xmlns:a16="http://schemas.microsoft.com/office/drawing/2014/main" id="{ED8E0A6B-168B-F7DB-349C-A43726864C73}"/>
              </a:ext>
            </a:extLst>
          </p:cNvPr>
          <p:cNvSpPr>
            <a:spLocks noGrp="1"/>
          </p:cNvSpPr>
          <p:nvPr>
            <p:ph type="body" sz="quarter" idx="10" hasCustomPrompt="1"/>
          </p:nvPr>
        </p:nvSpPr>
        <p:spPr bwMode="gray">
          <a:xfrm>
            <a:off x="382588" y="3403400"/>
            <a:ext cx="3878262" cy="894502"/>
          </a:xfrm>
        </p:spPr>
        <p:txBody>
          <a:bodyPr anchor="b" anchorCtr="0">
            <a:noAutofit/>
          </a:bodyPr>
          <a:lstStyle>
            <a:lvl1pPr marL="0" indent="0">
              <a:lnSpc>
                <a:spcPct val="90000"/>
              </a:lnSpc>
              <a:buFontTx/>
              <a:buNone/>
              <a:defRPr sz="2500" b="1">
                <a:solidFill>
                  <a:schemeClr val="bg1"/>
                </a:solidFill>
                <a:latin typeface="+mj-lt"/>
              </a:defRPr>
            </a:lvl1pPr>
            <a:lvl6pPr>
              <a:defRPr sz="2000">
                <a:solidFill>
                  <a:schemeClr val="bg1"/>
                </a:solidFill>
                <a:latin typeface="+mj-lt"/>
              </a:defRPr>
            </a:lvl6pPr>
          </a:lstStyle>
          <a:p>
            <a:pPr lvl="0"/>
            <a:r>
              <a:rPr lang="en-US" noProof="0"/>
              <a:t>Subchapter heading</a:t>
            </a:r>
          </a:p>
        </p:txBody>
      </p:sp>
      <p:sp>
        <p:nvSpPr>
          <p:cNvPr id="4" name="Text Placeholder 8">
            <a:extLst>
              <a:ext uri="{FF2B5EF4-FFF2-40B4-BE49-F238E27FC236}">
                <a16:creationId xmlns:a16="http://schemas.microsoft.com/office/drawing/2014/main" id="{D84E3E57-C65E-36ED-3ABB-CAF076010396}"/>
              </a:ext>
            </a:extLst>
          </p:cNvPr>
          <p:cNvSpPr>
            <a:spLocks noGrp="1"/>
          </p:cNvSpPr>
          <p:nvPr>
            <p:ph type="body" sz="quarter" idx="17" hasCustomPrompt="1"/>
          </p:nvPr>
        </p:nvSpPr>
        <p:spPr bwMode="gray">
          <a:xfrm>
            <a:off x="382588" y="4297902"/>
            <a:ext cx="3878262" cy="1404530"/>
          </a:xfrm>
        </p:spPr>
        <p:txBody>
          <a:bodyPr tIns="144000"/>
          <a:lstStyle>
            <a:lvl1pPr marL="0" indent="0">
              <a:buFontTx/>
              <a:buNone/>
              <a:defRPr sz="2000">
                <a:solidFill>
                  <a:schemeClr val="bg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noProof="0"/>
              <a:t>Lorem Ipsum dolor esse</a:t>
            </a:r>
          </a:p>
        </p:txBody>
      </p:sp>
      <p:sp>
        <p:nvSpPr>
          <p:cNvPr id="5" name="Text Placeholder 9">
            <a:extLst>
              <a:ext uri="{FF2B5EF4-FFF2-40B4-BE49-F238E27FC236}">
                <a16:creationId xmlns:a16="http://schemas.microsoft.com/office/drawing/2014/main" id="{39549E45-09AA-257F-7C5E-1FD256192A2A}"/>
              </a:ext>
            </a:extLst>
          </p:cNvPr>
          <p:cNvSpPr>
            <a:spLocks noGrp="1" noChangeAspect="1"/>
          </p:cNvSpPr>
          <p:nvPr>
            <p:ph type="body" sz="quarter" idx="19" hasCustomPrompt="1"/>
          </p:nvPr>
        </p:nvSpPr>
        <p:spPr>
          <a:xfrm>
            <a:off x="11523000" y="6201700"/>
            <a:ext cx="288000" cy="288000"/>
          </a:xfrm>
          <a:blipFill>
            <a:blip r:embed="rId7">
              <a:extLst>
                <a:ext uri="{96DAC541-7B7A-43D3-8B79-37D633B846F1}">
                  <asvg:svgBlip xmlns:asvg="http://schemas.microsoft.com/office/drawing/2016/SVG/main" r:embed="rId8"/>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15166374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D31562-7BC5-D715-D365-FFA8E640BE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ACD31562-7BC5-D715-D365-FFA8E640BE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7">
            <a:extLst>
              <a:ext uri="{FF2B5EF4-FFF2-40B4-BE49-F238E27FC236}">
                <a16:creationId xmlns:a16="http://schemas.microsoft.com/office/drawing/2014/main" id="{F5C1F063-5B50-B99C-A1B1-78A65971AE14}"/>
              </a:ext>
            </a:extLst>
          </p:cNvPr>
          <p:cNvSpPr>
            <a:spLocks noGrp="1"/>
          </p:cNvSpPr>
          <p:nvPr>
            <p:ph type="pic" sz="quarter" idx="36" hasCustomPrompt="1"/>
          </p:nvPr>
        </p:nvSpPr>
        <p:spPr>
          <a:xfrm>
            <a:off x="0" y="0"/>
            <a:ext cx="12192000" cy="6858000"/>
          </a:xfrm>
        </p:spPr>
        <p:txBody>
          <a:bodyPr/>
          <a:lstStyle>
            <a:lvl1pPr algn="l">
              <a:defRPr>
                <a:solidFill>
                  <a:schemeClr val="tx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7" name="Textplatzhalter 16">
            <a:extLst>
              <a:ext uri="{FF2B5EF4-FFF2-40B4-BE49-F238E27FC236}">
                <a16:creationId xmlns:a16="http://schemas.microsoft.com/office/drawing/2014/main" id="{F9EBE1B4-D926-D291-BEFB-2CE053CF4012}"/>
              </a:ext>
            </a:extLst>
          </p:cNvPr>
          <p:cNvSpPr>
            <a:spLocks noGrp="1"/>
          </p:cNvSpPr>
          <p:nvPr>
            <p:ph type="body" sz="quarter" idx="37" hasCustomPrompt="1"/>
          </p:nvPr>
        </p:nvSpPr>
        <p:spPr>
          <a:xfrm>
            <a:off x="382588" y="2673350"/>
            <a:ext cx="5622383" cy="381635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9" name="Titel 11">
            <a:extLst>
              <a:ext uri="{FF2B5EF4-FFF2-40B4-BE49-F238E27FC236}">
                <a16:creationId xmlns:a16="http://schemas.microsoft.com/office/drawing/2014/main" id="{2D768B8D-9784-A00A-28D7-76651ACE8EF4}"/>
              </a:ext>
            </a:extLst>
          </p:cNvPr>
          <p:cNvSpPr>
            <a:spLocks noGrp="1"/>
          </p:cNvSpPr>
          <p:nvPr>
            <p:ph type="title" hasCustomPrompt="1"/>
          </p:nvPr>
        </p:nvSpPr>
        <p:spPr bwMode="gray">
          <a:xfrm>
            <a:off x="1146175" y="3429000"/>
            <a:ext cx="4078287" cy="460093"/>
          </a:xfrm>
        </p:spPr>
        <p:txBody>
          <a:bodyPr vert="horz" anchor="t" anchorCtr="0">
            <a:noAutofit/>
          </a:bodyPr>
          <a:lstStyle>
            <a:lvl1pPr>
              <a:defRPr sz="2500">
                <a:solidFill>
                  <a:schemeClr val="bg1"/>
                </a:solidFill>
                <a:latin typeface="+mj-lt"/>
              </a:defRPr>
            </a:lvl1pPr>
          </a:lstStyle>
          <a:p>
            <a:pPr lvl="0"/>
            <a:r>
              <a:rPr lang="en-US" noProof="0"/>
              <a:t>Divider heading</a:t>
            </a:r>
          </a:p>
        </p:txBody>
      </p:sp>
      <p:sp>
        <p:nvSpPr>
          <p:cNvPr id="16" name="Text Placeholder 15">
            <a:extLst>
              <a:ext uri="{FF2B5EF4-FFF2-40B4-BE49-F238E27FC236}">
                <a16:creationId xmlns:a16="http://schemas.microsoft.com/office/drawing/2014/main" id="{C3F63DD7-5F60-54AE-C989-345BE1D55F25}"/>
              </a:ext>
            </a:extLst>
          </p:cNvPr>
          <p:cNvSpPr>
            <a:spLocks noGrp="1"/>
          </p:cNvSpPr>
          <p:nvPr>
            <p:ph type="body" sz="quarter" idx="17" hasCustomPrompt="1"/>
          </p:nvPr>
        </p:nvSpPr>
        <p:spPr bwMode="gray">
          <a:xfrm>
            <a:off x="1146175" y="3889094"/>
            <a:ext cx="4078287" cy="1832255"/>
          </a:xfrm>
        </p:spPr>
        <p:txBody>
          <a:bodyPr tIns="36000" bIns="0"/>
          <a:lstStyle>
            <a:lvl1pPr marL="0" indent="0">
              <a:buFontTx/>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t>Lorem ipsum dolor sit </a:t>
            </a:r>
            <a:r>
              <a:rPr lang="en-US" err="1"/>
              <a:t>amet</a:t>
            </a:r>
            <a:r>
              <a:rPr lang="en-US"/>
              <a:t>, </a:t>
            </a:r>
            <a:r>
              <a:rPr lang="en-US" err="1"/>
              <a:t>consetetur</a:t>
            </a:r>
            <a:r>
              <a:rPr lang="en-US"/>
              <a:t> </a:t>
            </a:r>
            <a:r>
              <a:rPr lang="en-US" err="1"/>
              <a:t>sadipscing</a:t>
            </a:r>
            <a:r>
              <a:rPr lang="en-US"/>
              <a:t> </a:t>
            </a:r>
            <a:r>
              <a:rPr lang="en-US" err="1"/>
              <a:t>elitr</a:t>
            </a:r>
            <a:endParaRPr lang="en-US"/>
          </a:p>
        </p:txBody>
      </p:sp>
      <p:sp>
        <p:nvSpPr>
          <p:cNvPr id="2" name="Text Placeholder 7">
            <a:extLst>
              <a:ext uri="{FF2B5EF4-FFF2-40B4-BE49-F238E27FC236}">
                <a16:creationId xmlns:a16="http://schemas.microsoft.com/office/drawing/2014/main" id="{50B44CA8-076B-20F0-BB6C-528A016307D2}"/>
              </a:ext>
            </a:extLst>
          </p:cNvPr>
          <p:cNvSpPr>
            <a:spLocks noGrp="1" noChangeAspect="1"/>
          </p:cNvSpPr>
          <p:nvPr>
            <p:ph type="body" sz="quarter" idx="35" hasCustomPrompt="1"/>
          </p:nvPr>
        </p:nvSpPr>
        <p:spPr>
          <a:xfrm>
            <a:off x="11523000" y="6201700"/>
            <a:ext cx="288000" cy="288000"/>
          </a:xfrm>
          <a:blipFill>
            <a:blip r:embed="rId7"/>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114658182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D31562-7BC5-D715-D365-FFA8E640BE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ACD31562-7BC5-D715-D365-FFA8E640BE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7">
            <a:extLst>
              <a:ext uri="{FF2B5EF4-FFF2-40B4-BE49-F238E27FC236}">
                <a16:creationId xmlns:a16="http://schemas.microsoft.com/office/drawing/2014/main" id="{D8EA46A1-7552-2A96-70B7-218693D14D97}"/>
              </a:ext>
            </a:extLst>
          </p:cNvPr>
          <p:cNvSpPr>
            <a:spLocks noGrp="1"/>
          </p:cNvSpPr>
          <p:nvPr>
            <p:ph type="pic" sz="quarter" idx="36" hasCustomPrompt="1"/>
          </p:nvPr>
        </p:nvSpPr>
        <p:spPr>
          <a:xfrm>
            <a:off x="0" y="0"/>
            <a:ext cx="12192000" cy="6858000"/>
          </a:xfrm>
          <a:noFill/>
        </p:spPr>
        <p:txBody>
          <a:bodyPr/>
          <a:lstStyle>
            <a:lvl1pPr algn="l">
              <a:defRPr>
                <a:solidFill>
                  <a:schemeClr val="tx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5" name="Textplatzhalter 16">
            <a:extLst>
              <a:ext uri="{FF2B5EF4-FFF2-40B4-BE49-F238E27FC236}">
                <a16:creationId xmlns:a16="http://schemas.microsoft.com/office/drawing/2014/main" id="{A0867601-BAED-E063-E97E-02E226D65A97}"/>
              </a:ext>
            </a:extLst>
          </p:cNvPr>
          <p:cNvSpPr>
            <a:spLocks noGrp="1"/>
          </p:cNvSpPr>
          <p:nvPr>
            <p:ph type="body" sz="quarter" idx="37" hasCustomPrompt="1"/>
          </p:nvPr>
        </p:nvSpPr>
        <p:spPr>
          <a:xfrm>
            <a:off x="382588" y="2673350"/>
            <a:ext cx="5622383" cy="381635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4" name="Titel 11">
            <a:extLst>
              <a:ext uri="{FF2B5EF4-FFF2-40B4-BE49-F238E27FC236}">
                <a16:creationId xmlns:a16="http://schemas.microsoft.com/office/drawing/2014/main" id="{325E53B7-FC92-6F0C-2963-98101615DBEA}"/>
              </a:ext>
            </a:extLst>
          </p:cNvPr>
          <p:cNvSpPr>
            <a:spLocks noGrp="1"/>
          </p:cNvSpPr>
          <p:nvPr>
            <p:ph type="title" hasCustomPrompt="1"/>
          </p:nvPr>
        </p:nvSpPr>
        <p:spPr bwMode="gray">
          <a:xfrm>
            <a:off x="1146175" y="3429000"/>
            <a:ext cx="4078287" cy="460093"/>
          </a:xfrm>
        </p:spPr>
        <p:txBody>
          <a:bodyPr vert="horz" anchor="t" anchorCtr="0">
            <a:noAutofit/>
          </a:bodyPr>
          <a:lstStyle>
            <a:lvl1pPr>
              <a:defRPr sz="2500">
                <a:solidFill>
                  <a:schemeClr val="bg1"/>
                </a:solidFill>
                <a:latin typeface="+mj-lt"/>
              </a:defRPr>
            </a:lvl1pPr>
          </a:lstStyle>
          <a:p>
            <a:pPr lvl="0"/>
            <a:r>
              <a:rPr lang="en-US" noProof="0"/>
              <a:t>Divider heading</a:t>
            </a:r>
          </a:p>
        </p:txBody>
      </p:sp>
      <p:sp>
        <p:nvSpPr>
          <p:cNvPr id="7" name="Text Placeholder 15">
            <a:extLst>
              <a:ext uri="{FF2B5EF4-FFF2-40B4-BE49-F238E27FC236}">
                <a16:creationId xmlns:a16="http://schemas.microsoft.com/office/drawing/2014/main" id="{9ABE049B-5BF6-8664-4649-0CA9C16559F1}"/>
              </a:ext>
            </a:extLst>
          </p:cNvPr>
          <p:cNvSpPr>
            <a:spLocks noGrp="1"/>
          </p:cNvSpPr>
          <p:nvPr>
            <p:ph type="body" sz="quarter" idx="17" hasCustomPrompt="1"/>
          </p:nvPr>
        </p:nvSpPr>
        <p:spPr bwMode="gray">
          <a:xfrm>
            <a:off x="1146175" y="3889094"/>
            <a:ext cx="4078287" cy="1832255"/>
          </a:xfrm>
        </p:spPr>
        <p:txBody>
          <a:bodyPr tIns="36000"/>
          <a:lstStyle>
            <a:lvl1pPr marL="0" indent="0">
              <a:buFontTx/>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t>Lorem ipsum dolor sit </a:t>
            </a:r>
            <a:r>
              <a:rPr lang="en-US" err="1"/>
              <a:t>amet</a:t>
            </a:r>
            <a:r>
              <a:rPr lang="en-US"/>
              <a:t>, </a:t>
            </a:r>
            <a:r>
              <a:rPr lang="en-US" err="1"/>
              <a:t>consetetur</a:t>
            </a:r>
            <a:r>
              <a:rPr lang="en-US"/>
              <a:t> </a:t>
            </a:r>
            <a:r>
              <a:rPr lang="en-US" err="1"/>
              <a:t>sadipscing</a:t>
            </a:r>
            <a:r>
              <a:rPr lang="en-US"/>
              <a:t> </a:t>
            </a:r>
            <a:r>
              <a:rPr lang="en-US" err="1"/>
              <a:t>elitr</a:t>
            </a:r>
            <a:endParaRPr lang="en-US"/>
          </a:p>
        </p:txBody>
      </p:sp>
      <p:sp>
        <p:nvSpPr>
          <p:cNvPr id="9" name="Text Placeholder 9">
            <a:extLst>
              <a:ext uri="{FF2B5EF4-FFF2-40B4-BE49-F238E27FC236}">
                <a16:creationId xmlns:a16="http://schemas.microsoft.com/office/drawing/2014/main" id="{C022F5F3-633C-1C8C-54E0-243677838EA6}"/>
              </a:ext>
            </a:extLst>
          </p:cNvPr>
          <p:cNvSpPr>
            <a:spLocks noGrp="1"/>
          </p:cNvSpPr>
          <p:nvPr>
            <p:ph type="body" sz="quarter" idx="19" hasCustomPrompt="1"/>
          </p:nvPr>
        </p:nvSpPr>
        <p:spPr>
          <a:xfrm>
            <a:off x="11523000" y="6201700"/>
            <a:ext cx="288000" cy="288000"/>
          </a:xfrm>
          <a:blipFill>
            <a:blip r:embed="rId7">
              <a:extLst>
                <a:ext uri="{96DAC541-7B7A-43D3-8B79-37D633B846F1}">
                  <asvg:svgBlip xmlns:asvg="http://schemas.microsoft.com/office/drawing/2016/SVG/main" r:embed="rId8"/>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38810600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 bullets + 3 bubble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8" name="Picture 4" descr="Icon&#10;&#10;Description automatically generated">
            <a:extLst>
              <a:ext uri="{FF2B5EF4-FFF2-40B4-BE49-F238E27FC236}">
                <a16:creationId xmlns:a16="http://schemas.microsoft.com/office/drawing/2014/main" id="{2C58B7FF-12FE-EE6F-C164-E02B733A8955}"/>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9" name="Plassholder for tekst 5">
            <a:extLst>
              <a:ext uri="{FF2B5EF4-FFF2-40B4-BE49-F238E27FC236}">
                <a16:creationId xmlns:a16="http://schemas.microsoft.com/office/drawing/2014/main" id="{B36C8267-DF18-0FEA-67D1-39B13C2350DC}"/>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35410433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62CB8F-6A1B-9C5C-8211-8F5DC82C37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ct 1" hidden="1">
                        <a:extLst>
                          <a:ext uri="{FF2B5EF4-FFF2-40B4-BE49-F238E27FC236}">
                            <a16:creationId xmlns:a16="http://schemas.microsoft.com/office/drawing/2014/main" id="{5662CB8F-6A1B-9C5C-8211-8F5DC82C3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04924"/>
            <a:ext cx="7551041" cy="4608513"/>
          </a:xfrm>
        </p:spPr>
        <p:txBody>
          <a:bodyPr>
            <a:noAutofit/>
          </a:bodyPr>
          <a:lstStyle>
            <a:lvl1pPr>
              <a:defRPr sz="1600"/>
            </a:lvl1pPr>
            <a:lvl2pPr>
              <a:defRPr sz="1600"/>
            </a:lvl2pPr>
            <a:lvl3pPr>
              <a:defRPr sz="1600"/>
            </a:lvl3pPr>
            <a:lvl4pPr>
              <a:defRPr sz="1600"/>
            </a:lvl4pPr>
            <a:lvl5pPr>
              <a:defRPr sz="1600"/>
            </a:lvl5pPr>
            <a:lvl6pPr marL="0" indent="0">
              <a:buFontTx/>
              <a:buNone/>
              <a:defRPr sz="1600"/>
            </a:lvl6pPr>
          </a:lstStyle>
          <a:p>
            <a:pPr lvl="0"/>
            <a:r>
              <a:rPr lang="en-GB" noProof="0"/>
              <a:t>16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a:p>
            <a:pPr lvl="0"/>
            <a:r>
              <a:rPr lang="en-GB" sz="1400" noProof="0"/>
              <a:t>Sixth level</a:t>
            </a:r>
            <a:endParaRPr lang="en-GB" noProof="0"/>
          </a:p>
          <a:p>
            <a:pPr lvl="0"/>
            <a:endParaRPr lang="en-US"/>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4" name="Textplatzhalter 3">
            <a:extLst>
              <a:ext uri="{FF2B5EF4-FFF2-40B4-BE49-F238E27FC236}">
                <a16:creationId xmlns:a16="http://schemas.microsoft.com/office/drawing/2014/main" id="{537592A9-6BED-AF0C-E702-4EC8B336A27C}"/>
              </a:ext>
            </a:extLst>
          </p:cNvPr>
          <p:cNvSpPr>
            <a:spLocks noGrp="1"/>
          </p:cNvSpPr>
          <p:nvPr>
            <p:ph type="body" sz="quarter" idx="13"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22" name="Date Placeholder 21">
            <a:extLst>
              <a:ext uri="{FF2B5EF4-FFF2-40B4-BE49-F238E27FC236}">
                <a16:creationId xmlns:a16="http://schemas.microsoft.com/office/drawing/2014/main" id="{411E37CD-AF36-95F6-6ED3-816F4E44326D}"/>
              </a:ext>
            </a:extLst>
          </p:cNvPr>
          <p:cNvSpPr>
            <a:spLocks noGrp="1"/>
          </p:cNvSpPr>
          <p:nvPr>
            <p:ph type="dt" sz="half" idx="14"/>
          </p:nvPr>
        </p:nvSpPr>
        <p:spPr/>
        <p:txBody>
          <a:bodyPr/>
          <a:lstStyle/>
          <a:p>
            <a:fld id="{0A17D72B-C982-4649-A3E8-8D8E7B130E8C}" type="datetime1">
              <a:rPr lang="en-US" noProof="0" smtClean="0"/>
              <a:t>10/31/2024</a:t>
            </a:fld>
            <a:endParaRPr lang="en-US" noProof="0"/>
          </a:p>
        </p:txBody>
      </p:sp>
      <p:sp>
        <p:nvSpPr>
          <p:cNvPr id="23" name="Footer Placeholder 22">
            <a:extLst>
              <a:ext uri="{FF2B5EF4-FFF2-40B4-BE49-F238E27FC236}">
                <a16:creationId xmlns:a16="http://schemas.microsoft.com/office/drawing/2014/main" id="{5FE61737-8B11-B32D-F957-796C8D9B7745}"/>
              </a:ext>
            </a:extLst>
          </p:cNvPr>
          <p:cNvSpPr>
            <a:spLocks noGrp="1"/>
          </p:cNvSpPr>
          <p:nvPr>
            <p:ph type="ftr" sz="quarter" idx="15"/>
          </p:nvPr>
        </p:nvSpPr>
        <p:spPr/>
        <p:txBody>
          <a:bodyPr/>
          <a:lstStyle/>
          <a:p>
            <a:r>
              <a:rPr lang="en-US"/>
              <a:t>Group Presentation</a:t>
            </a:r>
          </a:p>
        </p:txBody>
      </p:sp>
      <p:sp>
        <p:nvSpPr>
          <p:cNvPr id="24" name="Slide Number Placeholder 23">
            <a:extLst>
              <a:ext uri="{FF2B5EF4-FFF2-40B4-BE49-F238E27FC236}">
                <a16:creationId xmlns:a16="http://schemas.microsoft.com/office/drawing/2014/main" id="{394DD5CA-BBEB-7A90-8816-D7000113CAFD}"/>
              </a:ext>
            </a:extLst>
          </p:cNvPr>
          <p:cNvSpPr>
            <a:spLocks noGrp="1"/>
          </p:cNvSpPr>
          <p:nvPr>
            <p:ph type="sldNum" sz="quarter" idx="16"/>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372427535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9016ED-28CA-C732-AD0E-BA08925040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189016ED-28CA-C732-AD0E-BA08925040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41438"/>
            <a:ext cx="5609529" cy="4571999"/>
          </a:xfrm>
        </p:spPr>
        <p:txBody>
          <a:bodyPr>
            <a:noAutofit/>
          </a:bodyPr>
          <a:lstStyle>
            <a:lvl5pPr>
              <a:defRPr/>
            </a:lvl5pPr>
            <a:lvl6pPr marL="0" indent="0">
              <a:buFontTx/>
              <a:buNone/>
              <a:defRPr sz="1400"/>
            </a:lvl6p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a:p>
            <a:pPr lvl="0"/>
            <a:r>
              <a:rPr lang="en-GB" sz="1400" noProof="0"/>
              <a:t>Sixth level</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6201471" y="1341438"/>
            <a:ext cx="5609529" cy="4574474"/>
          </a:xfrm>
        </p:spPr>
        <p:txBody>
          <a:bodyPr>
            <a:noAutofit/>
          </a:bodyPr>
          <a:lstStyle>
            <a:lvl5pPr>
              <a:defRPr/>
            </a:lvl5pPr>
            <a:lvl6pPr marL="0" indent="0">
              <a:buFontTx/>
              <a:buNone/>
              <a:defRPr sz="1400"/>
            </a:lvl6p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a:p>
            <a:pPr lvl="0"/>
            <a:r>
              <a:rPr lang="en-GB" sz="1400" noProof="0"/>
              <a:t>Sixth level</a:t>
            </a:r>
            <a:endParaRPr lang="en-GB" noProof="0"/>
          </a:p>
        </p:txBody>
      </p:sp>
      <p:sp>
        <p:nvSpPr>
          <p:cNvPr id="8" name="Textplatzhalter 3">
            <a:extLst>
              <a:ext uri="{FF2B5EF4-FFF2-40B4-BE49-F238E27FC236}">
                <a16:creationId xmlns:a16="http://schemas.microsoft.com/office/drawing/2014/main" id="{EEAF1444-D87B-9A2C-4132-42B1FF6E8046}"/>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21" name="Date Placeholder 20">
            <a:extLst>
              <a:ext uri="{FF2B5EF4-FFF2-40B4-BE49-F238E27FC236}">
                <a16:creationId xmlns:a16="http://schemas.microsoft.com/office/drawing/2014/main" id="{F1E4091A-C06D-7292-52B3-512D09B7A391}"/>
              </a:ext>
            </a:extLst>
          </p:cNvPr>
          <p:cNvSpPr>
            <a:spLocks noGrp="1"/>
          </p:cNvSpPr>
          <p:nvPr>
            <p:ph type="dt" sz="half" idx="15"/>
          </p:nvPr>
        </p:nvSpPr>
        <p:spPr/>
        <p:txBody>
          <a:bodyPr/>
          <a:lstStyle/>
          <a:p>
            <a:fld id="{161895A0-2148-42B8-A959-9F82B7B407BD}" type="datetime1">
              <a:rPr lang="en-US" noProof="0" smtClean="0"/>
              <a:t>10/31/2024</a:t>
            </a:fld>
            <a:endParaRPr lang="en-US" noProof="0"/>
          </a:p>
        </p:txBody>
      </p:sp>
      <p:sp>
        <p:nvSpPr>
          <p:cNvPr id="22" name="Footer Placeholder 21">
            <a:extLst>
              <a:ext uri="{FF2B5EF4-FFF2-40B4-BE49-F238E27FC236}">
                <a16:creationId xmlns:a16="http://schemas.microsoft.com/office/drawing/2014/main" id="{A16DD943-987E-34EB-F2AB-12339C3E09AE}"/>
              </a:ext>
            </a:extLst>
          </p:cNvPr>
          <p:cNvSpPr>
            <a:spLocks noGrp="1"/>
          </p:cNvSpPr>
          <p:nvPr>
            <p:ph type="ftr" sz="quarter" idx="16"/>
          </p:nvPr>
        </p:nvSpPr>
        <p:spPr/>
        <p:txBody>
          <a:bodyPr/>
          <a:lstStyle/>
          <a:p>
            <a:r>
              <a:rPr lang="en-US"/>
              <a:t>Group Presentation</a:t>
            </a:r>
          </a:p>
        </p:txBody>
      </p:sp>
      <p:sp>
        <p:nvSpPr>
          <p:cNvPr id="23" name="Slide Number Placeholder 22">
            <a:extLst>
              <a:ext uri="{FF2B5EF4-FFF2-40B4-BE49-F238E27FC236}">
                <a16:creationId xmlns:a16="http://schemas.microsoft.com/office/drawing/2014/main" id="{DA54DAF6-6A97-80EA-6021-9696B2C19ABF}"/>
              </a:ext>
            </a:extLst>
          </p:cNvPr>
          <p:cNvSpPr>
            <a:spLocks noGrp="1"/>
          </p:cNvSpPr>
          <p:nvPr>
            <p:ph type="sldNum" sz="quarter" idx="17"/>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100473962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3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477500A-4B5A-E5FE-BBA5-0C70E6AF5F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6477500A-4B5A-E5FE-BBA5-0C70E6AF5F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0" y="1338962"/>
            <a:ext cx="3675953" cy="4574475"/>
          </a:xfrm>
        </p:spPr>
        <p:txBody>
          <a:bodyPr>
            <a:noAutofit/>
          </a:body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4260851" y="1341437"/>
            <a:ext cx="3675953" cy="4572001"/>
          </a:xfrm>
        </p:spPr>
        <p:txBody>
          <a:bodyPr>
            <a:noAutofit/>
          </a:body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Inhaltsplatzhalter 2">
            <a:extLst>
              <a:ext uri="{FF2B5EF4-FFF2-40B4-BE49-F238E27FC236}">
                <a16:creationId xmlns:a16="http://schemas.microsoft.com/office/drawing/2014/main" id="{8F530E16-8DA4-62B7-4109-A39DAD31439C}"/>
              </a:ext>
            </a:extLst>
          </p:cNvPr>
          <p:cNvSpPr>
            <a:spLocks noGrp="1"/>
          </p:cNvSpPr>
          <p:nvPr>
            <p:ph idx="14" hasCustomPrompt="1"/>
          </p:nvPr>
        </p:nvSpPr>
        <p:spPr>
          <a:xfrm>
            <a:off x="8135939" y="1341437"/>
            <a:ext cx="3675954" cy="4574475"/>
          </a:xfrm>
        </p:spPr>
        <p:txBody>
          <a:bodyPr>
            <a:noAutofit/>
          </a:body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platzhalter 3">
            <a:extLst>
              <a:ext uri="{FF2B5EF4-FFF2-40B4-BE49-F238E27FC236}">
                <a16:creationId xmlns:a16="http://schemas.microsoft.com/office/drawing/2014/main" id="{493A8D7E-252D-BFA7-B151-6478C5238C06}"/>
              </a:ext>
            </a:extLst>
          </p:cNvPr>
          <p:cNvSpPr>
            <a:spLocks noGrp="1"/>
          </p:cNvSpPr>
          <p:nvPr>
            <p:ph type="body" sz="quarter" idx="15"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4" name="Date Placeholder 13">
            <a:extLst>
              <a:ext uri="{FF2B5EF4-FFF2-40B4-BE49-F238E27FC236}">
                <a16:creationId xmlns:a16="http://schemas.microsoft.com/office/drawing/2014/main" id="{8B6A5E83-D0E0-5937-5914-F611A55308F8}"/>
              </a:ext>
            </a:extLst>
          </p:cNvPr>
          <p:cNvSpPr>
            <a:spLocks noGrp="1"/>
          </p:cNvSpPr>
          <p:nvPr>
            <p:ph type="dt" sz="half" idx="16"/>
          </p:nvPr>
        </p:nvSpPr>
        <p:spPr/>
        <p:txBody>
          <a:bodyPr/>
          <a:lstStyle/>
          <a:p>
            <a:fld id="{D01202E9-2D4B-460D-A73B-9113397D4E8C}" type="datetime1">
              <a:rPr lang="en-US" noProof="0" smtClean="0"/>
              <a:t>10/31/2024</a:t>
            </a:fld>
            <a:endParaRPr lang="en-US" noProof="0"/>
          </a:p>
        </p:txBody>
      </p:sp>
      <p:sp>
        <p:nvSpPr>
          <p:cNvPr id="18" name="Footer Placeholder 17">
            <a:extLst>
              <a:ext uri="{FF2B5EF4-FFF2-40B4-BE49-F238E27FC236}">
                <a16:creationId xmlns:a16="http://schemas.microsoft.com/office/drawing/2014/main" id="{F044BE73-25A2-465E-6B26-7A5CADCE6691}"/>
              </a:ext>
            </a:extLst>
          </p:cNvPr>
          <p:cNvSpPr>
            <a:spLocks noGrp="1"/>
          </p:cNvSpPr>
          <p:nvPr>
            <p:ph type="ftr" sz="quarter" idx="17"/>
          </p:nvPr>
        </p:nvSpPr>
        <p:spPr/>
        <p:txBody>
          <a:bodyPr/>
          <a:lstStyle/>
          <a:p>
            <a:r>
              <a:rPr lang="en-US"/>
              <a:t>Group Presentation</a:t>
            </a:r>
          </a:p>
        </p:txBody>
      </p:sp>
      <p:sp>
        <p:nvSpPr>
          <p:cNvPr id="19" name="Slide Number Placeholder 18">
            <a:extLst>
              <a:ext uri="{FF2B5EF4-FFF2-40B4-BE49-F238E27FC236}">
                <a16:creationId xmlns:a16="http://schemas.microsoft.com/office/drawing/2014/main" id="{934528B9-90E2-8813-08E6-172BF1BCC396}"/>
              </a:ext>
            </a:extLst>
          </p:cNvPr>
          <p:cNvSpPr>
            <a:spLocks noGrp="1"/>
          </p:cNvSpPr>
          <p:nvPr>
            <p:ph type="sldNum" sz="quarter" idx="18"/>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33109180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FE16BE-9339-7BA6-7AE7-3CEFBD907A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46FE16BE-9339-7BA6-7AE7-3CEFBD907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2" y="1341438"/>
            <a:ext cx="2698052"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3310679" y="1341438"/>
            <a:ext cx="2685309"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6192837" y="1341438"/>
            <a:ext cx="2700338"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104312" y="1341438"/>
            <a:ext cx="2706687"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platzhalter 3">
            <a:extLst>
              <a:ext uri="{FF2B5EF4-FFF2-40B4-BE49-F238E27FC236}">
                <a16:creationId xmlns:a16="http://schemas.microsoft.com/office/drawing/2014/main" id="{8C743180-9A9A-7A61-7443-2B641F2E7A7D}"/>
              </a:ext>
            </a:extLst>
          </p:cNvPr>
          <p:cNvSpPr>
            <a:spLocks noGrp="1"/>
          </p:cNvSpPr>
          <p:nvPr>
            <p:ph type="body" sz="quarter" idx="16"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CA9AF2A0-4622-D25A-F06F-3649DF801159}"/>
              </a:ext>
            </a:extLst>
          </p:cNvPr>
          <p:cNvSpPr>
            <a:spLocks noGrp="1"/>
          </p:cNvSpPr>
          <p:nvPr>
            <p:ph type="dt" sz="half" idx="17"/>
          </p:nvPr>
        </p:nvSpPr>
        <p:spPr/>
        <p:txBody>
          <a:bodyPr/>
          <a:lstStyle/>
          <a:p>
            <a:fld id="{2D7D00DB-C53F-41CA-B06A-A078734CBFDC}" type="datetime1">
              <a:rPr lang="en-US" noProof="0" smtClean="0"/>
              <a:t>10/31/2024</a:t>
            </a:fld>
            <a:endParaRPr lang="en-US" noProof="0"/>
          </a:p>
        </p:txBody>
      </p:sp>
      <p:sp>
        <p:nvSpPr>
          <p:cNvPr id="16" name="Footer Placeholder 15">
            <a:extLst>
              <a:ext uri="{FF2B5EF4-FFF2-40B4-BE49-F238E27FC236}">
                <a16:creationId xmlns:a16="http://schemas.microsoft.com/office/drawing/2014/main" id="{828330B8-4C9F-C5CD-F8D4-41A6F99429FB}"/>
              </a:ext>
            </a:extLst>
          </p:cNvPr>
          <p:cNvSpPr>
            <a:spLocks noGrp="1"/>
          </p:cNvSpPr>
          <p:nvPr>
            <p:ph type="ftr" sz="quarter" idx="18"/>
          </p:nvPr>
        </p:nvSpPr>
        <p:spPr/>
        <p:txBody>
          <a:bodyPr/>
          <a:lstStyle/>
          <a:p>
            <a:r>
              <a:rPr lang="en-US"/>
              <a:t>Group Presentation</a:t>
            </a:r>
          </a:p>
        </p:txBody>
      </p:sp>
      <p:sp>
        <p:nvSpPr>
          <p:cNvPr id="17" name="Slide Number Placeholder 16">
            <a:extLst>
              <a:ext uri="{FF2B5EF4-FFF2-40B4-BE49-F238E27FC236}">
                <a16:creationId xmlns:a16="http://schemas.microsoft.com/office/drawing/2014/main" id="{F03C78B1-C370-46E4-E528-1EDD2E048B4D}"/>
              </a:ext>
            </a:extLst>
          </p:cNvPr>
          <p:cNvSpPr>
            <a:spLocks noGrp="1"/>
          </p:cNvSpPr>
          <p:nvPr>
            <p:ph type="sldNum" sz="quarter" idx="19"/>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63316888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5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71766A-B2F3-3EEB-135C-F02E563845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1871766A-B2F3-3EEB-135C-F02E563845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1" y="1341438"/>
            <a:ext cx="2140908"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5028277" y="1341438"/>
            <a:ext cx="2136111"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7349186" y="1341438"/>
            <a:ext cx="2140908"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670094" y="1341438"/>
            <a:ext cx="2140908"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Inhaltsplatzhalter 2">
            <a:extLst>
              <a:ext uri="{FF2B5EF4-FFF2-40B4-BE49-F238E27FC236}">
                <a16:creationId xmlns:a16="http://schemas.microsoft.com/office/drawing/2014/main" id="{B59E7BBC-4720-3876-8ED5-67EBB8C485A8}"/>
              </a:ext>
            </a:extLst>
          </p:cNvPr>
          <p:cNvSpPr>
            <a:spLocks noGrp="1"/>
          </p:cNvSpPr>
          <p:nvPr>
            <p:ph idx="16" hasCustomPrompt="1"/>
          </p:nvPr>
        </p:nvSpPr>
        <p:spPr>
          <a:xfrm>
            <a:off x="2707369" y="1341438"/>
            <a:ext cx="2140908" cy="4571999"/>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Textplatzhalter 3">
            <a:extLst>
              <a:ext uri="{FF2B5EF4-FFF2-40B4-BE49-F238E27FC236}">
                <a16:creationId xmlns:a16="http://schemas.microsoft.com/office/drawing/2014/main" id="{18FA52C9-910E-F0F4-0390-17C09D5CDC16}"/>
              </a:ext>
            </a:extLst>
          </p:cNvPr>
          <p:cNvSpPr>
            <a:spLocks noGrp="1"/>
          </p:cNvSpPr>
          <p:nvPr>
            <p:ph type="body" sz="quarter" idx="17"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D6747863-E3F2-8F4A-F40A-EED6F908AF8A}"/>
              </a:ext>
            </a:extLst>
          </p:cNvPr>
          <p:cNvSpPr>
            <a:spLocks noGrp="1"/>
          </p:cNvSpPr>
          <p:nvPr>
            <p:ph type="dt" sz="half" idx="18"/>
          </p:nvPr>
        </p:nvSpPr>
        <p:spPr/>
        <p:txBody>
          <a:bodyPr/>
          <a:lstStyle/>
          <a:p>
            <a:fld id="{E44EA565-847D-4E4B-AAF7-D7B6FC29F9DE}" type="datetime1">
              <a:rPr lang="en-US" noProof="0" smtClean="0"/>
              <a:t>10/31/2024</a:t>
            </a:fld>
            <a:endParaRPr lang="en-US" noProof="0"/>
          </a:p>
        </p:txBody>
      </p:sp>
      <p:sp>
        <p:nvSpPr>
          <p:cNvPr id="17" name="Footer Placeholder 16">
            <a:extLst>
              <a:ext uri="{FF2B5EF4-FFF2-40B4-BE49-F238E27FC236}">
                <a16:creationId xmlns:a16="http://schemas.microsoft.com/office/drawing/2014/main" id="{3CD7394D-BFB8-1D40-38BF-6DEE8CC4F7F8}"/>
              </a:ext>
            </a:extLst>
          </p:cNvPr>
          <p:cNvSpPr>
            <a:spLocks noGrp="1"/>
          </p:cNvSpPr>
          <p:nvPr>
            <p:ph type="ftr" sz="quarter" idx="19"/>
          </p:nvPr>
        </p:nvSpPr>
        <p:spPr/>
        <p:txBody>
          <a:bodyPr/>
          <a:lstStyle/>
          <a:p>
            <a:r>
              <a:rPr lang="en-US"/>
              <a:t>Group Presentation</a:t>
            </a:r>
          </a:p>
        </p:txBody>
      </p:sp>
      <p:sp>
        <p:nvSpPr>
          <p:cNvPr id="18" name="Slide Number Placeholder 17">
            <a:extLst>
              <a:ext uri="{FF2B5EF4-FFF2-40B4-BE49-F238E27FC236}">
                <a16:creationId xmlns:a16="http://schemas.microsoft.com/office/drawing/2014/main" id="{0DF2D411-1E85-0CA3-F601-7EE2C5BA4334}"/>
              </a:ext>
            </a:extLst>
          </p:cNvPr>
          <p:cNvSpPr>
            <a:spLocks noGrp="1"/>
          </p:cNvSpPr>
          <p:nvPr>
            <p:ph type="sldNum" sz="quarter" idx="20"/>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242947802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6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B75234-748A-D9F6-B2B1-259C53147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8FB75234-748A-D9F6-B2B1-259C531474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8127" y="1341438"/>
            <a:ext cx="1732774"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5" name="Inhaltsplatzhalter 2">
            <a:extLst>
              <a:ext uri="{FF2B5EF4-FFF2-40B4-BE49-F238E27FC236}">
                <a16:creationId xmlns:a16="http://schemas.microsoft.com/office/drawing/2014/main" id="{70BE7BEC-B8D6-86C0-5A5F-9A8CAABC2BDE}"/>
              </a:ext>
            </a:extLst>
          </p:cNvPr>
          <p:cNvSpPr>
            <a:spLocks noGrp="1"/>
          </p:cNvSpPr>
          <p:nvPr>
            <p:ph idx="13" hasCustomPrompt="1"/>
          </p:nvPr>
        </p:nvSpPr>
        <p:spPr>
          <a:xfrm>
            <a:off x="2324087" y="1341438"/>
            <a:ext cx="1738326"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Inhaltsplatzhalter 2">
            <a:extLst>
              <a:ext uri="{FF2B5EF4-FFF2-40B4-BE49-F238E27FC236}">
                <a16:creationId xmlns:a16="http://schemas.microsoft.com/office/drawing/2014/main" id="{172C675A-87FD-6815-15D8-60B110A5DF46}"/>
              </a:ext>
            </a:extLst>
          </p:cNvPr>
          <p:cNvSpPr>
            <a:spLocks noGrp="1"/>
          </p:cNvSpPr>
          <p:nvPr>
            <p:ph idx="14" hasCustomPrompt="1"/>
          </p:nvPr>
        </p:nvSpPr>
        <p:spPr>
          <a:xfrm>
            <a:off x="4260047" y="1341438"/>
            <a:ext cx="1732774"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Inhaltsplatzhalter 2">
            <a:extLst>
              <a:ext uri="{FF2B5EF4-FFF2-40B4-BE49-F238E27FC236}">
                <a16:creationId xmlns:a16="http://schemas.microsoft.com/office/drawing/2014/main" id="{6B96BCB2-00D1-234F-3E2B-E073EA01C7BB}"/>
              </a:ext>
            </a:extLst>
          </p:cNvPr>
          <p:cNvSpPr>
            <a:spLocks noGrp="1"/>
          </p:cNvSpPr>
          <p:nvPr>
            <p:ph idx="15" hasCustomPrompt="1"/>
          </p:nvPr>
        </p:nvSpPr>
        <p:spPr>
          <a:xfrm>
            <a:off x="6196006" y="1341438"/>
            <a:ext cx="1741493"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Inhaltsplatzhalter 2">
            <a:extLst>
              <a:ext uri="{FF2B5EF4-FFF2-40B4-BE49-F238E27FC236}">
                <a16:creationId xmlns:a16="http://schemas.microsoft.com/office/drawing/2014/main" id="{5D72F866-5BF4-AF41-FA3F-77D90B5F3E23}"/>
              </a:ext>
            </a:extLst>
          </p:cNvPr>
          <p:cNvSpPr>
            <a:spLocks noGrp="1"/>
          </p:cNvSpPr>
          <p:nvPr>
            <p:ph idx="16" hasCustomPrompt="1"/>
          </p:nvPr>
        </p:nvSpPr>
        <p:spPr>
          <a:xfrm>
            <a:off x="8135938" y="1341438"/>
            <a:ext cx="1733549"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Inhaltsplatzhalter 2">
            <a:extLst>
              <a:ext uri="{FF2B5EF4-FFF2-40B4-BE49-F238E27FC236}">
                <a16:creationId xmlns:a16="http://schemas.microsoft.com/office/drawing/2014/main" id="{0A18367D-43AA-66AE-0288-5A3E861FE085}"/>
              </a:ext>
            </a:extLst>
          </p:cNvPr>
          <p:cNvSpPr>
            <a:spLocks noGrp="1"/>
          </p:cNvSpPr>
          <p:nvPr>
            <p:ph idx="17" hasCustomPrompt="1"/>
          </p:nvPr>
        </p:nvSpPr>
        <p:spPr>
          <a:xfrm>
            <a:off x="10067924" y="1341438"/>
            <a:ext cx="1743075" cy="4571999"/>
          </a:xfrm>
        </p:spPr>
        <p:txBody>
          <a:bodyPr>
            <a:noAutofit/>
          </a:bodyPr>
          <a:lstStyle>
            <a:lvl1pPr>
              <a:defRPr sz="1000"/>
            </a:lvl1pPr>
            <a:lvl2pPr marL="360363" indent="-93663">
              <a:defRPr sz="1000"/>
            </a:lvl2pPr>
            <a:lvl3pPr marL="534988" indent="92075">
              <a:defRPr sz="1000"/>
            </a:lvl3pPr>
            <a:lvl4pPr marL="719138" indent="82550">
              <a:tabLst>
                <a:tab pos="719138" algn="l"/>
              </a:tabLst>
              <a:defRPr sz="1000"/>
            </a:lvl4pPr>
            <a:lvl5pPr marL="893763" indent="92075">
              <a:tabLst>
                <a:tab pos="893763" algn="l"/>
              </a:tabLst>
              <a:defRPr sz="1000"/>
            </a:lvl5pPr>
          </a:lstStyle>
          <a:p>
            <a:pPr lvl="0"/>
            <a:r>
              <a:rPr lang="en-GB" noProof="0"/>
              <a:t>10 </a:t>
            </a:r>
            <a:r>
              <a:rPr lang="en-GB" noProof="0" err="1"/>
              <a:t>pt</a:t>
            </a:r>
            <a:r>
              <a:rPr lang="en-GB" noProof="0"/>
              <a:t>, 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platzhalter 3">
            <a:extLst>
              <a:ext uri="{FF2B5EF4-FFF2-40B4-BE49-F238E27FC236}">
                <a16:creationId xmlns:a16="http://schemas.microsoft.com/office/drawing/2014/main" id="{40863AFC-CB12-B931-7439-FF1F54041D22}"/>
              </a:ext>
            </a:extLst>
          </p:cNvPr>
          <p:cNvSpPr>
            <a:spLocks noGrp="1"/>
          </p:cNvSpPr>
          <p:nvPr>
            <p:ph type="body" sz="quarter" idx="18"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2DC3E203-69A2-160D-EEBE-589B89A39A8E}"/>
              </a:ext>
            </a:extLst>
          </p:cNvPr>
          <p:cNvSpPr>
            <a:spLocks noGrp="1"/>
          </p:cNvSpPr>
          <p:nvPr>
            <p:ph type="dt" sz="half" idx="19"/>
          </p:nvPr>
        </p:nvSpPr>
        <p:spPr/>
        <p:txBody>
          <a:bodyPr/>
          <a:lstStyle/>
          <a:p>
            <a:fld id="{B4665EED-5931-4F4B-9D30-093112ED30A5}" type="datetime1">
              <a:rPr lang="en-US" noProof="0" smtClean="0"/>
              <a:t>10/31/2024</a:t>
            </a:fld>
            <a:endParaRPr lang="en-US" noProof="0"/>
          </a:p>
        </p:txBody>
      </p:sp>
      <p:sp>
        <p:nvSpPr>
          <p:cNvPr id="18" name="Footer Placeholder 17">
            <a:extLst>
              <a:ext uri="{FF2B5EF4-FFF2-40B4-BE49-F238E27FC236}">
                <a16:creationId xmlns:a16="http://schemas.microsoft.com/office/drawing/2014/main" id="{A458B0B2-2432-07C8-E70C-828C34FE304D}"/>
              </a:ext>
            </a:extLst>
          </p:cNvPr>
          <p:cNvSpPr>
            <a:spLocks noGrp="1"/>
          </p:cNvSpPr>
          <p:nvPr>
            <p:ph type="ftr" sz="quarter" idx="20"/>
          </p:nvPr>
        </p:nvSpPr>
        <p:spPr/>
        <p:txBody>
          <a:bodyPr/>
          <a:lstStyle/>
          <a:p>
            <a:r>
              <a:rPr lang="en-US"/>
              <a:t>Group Presentation</a:t>
            </a:r>
          </a:p>
        </p:txBody>
      </p:sp>
      <p:sp>
        <p:nvSpPr>
          <p:cNvPr id="19" name="Slide Number Placeholder 18">
            <a:extLst>
              <a:ext uri="{FF2B5EF4-FFF2-40B4-BE49-F238E27FC236}">
                <a16:creationId xmlns:a16="http://schemas.microsoft.com/office/drawing/2014/main" id="{EF1C347A-5BE1-76D4-EDD7-E57DC121F6AF}"/>
              </a:ext>
            </a:extLst>
          </p:cNvPr>
          <p:cNvSpPr>
            <a:spLocks noGrp="1"/>
          </p:cNvSpPr>
          <p:nvPr>
            <p:ph type="sldNum" sz="quarter" idx="21"/>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190916577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op Picture and Text">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B0424574-F2EF-6F0F-6985-FE797AF04F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6" name="Object 15" hidden="1">
                        <a:extLst>
                          <a:ext uri="{FF2B5EF4-FFF2-40B4-BE49-F238E27FC236}">
                            <a16:creationId xmlns:a16="http://schemas.microsoft.com/office/drawing/2014/main" id="{B0424574-F2EF-6F0F-6985-FE797AF04F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5D1B4D5C-2621-759C-671D-04FC1FE6F76F}"/>
              </a:ext>
            </a:extLst>
          </p:cNvPr>
          <p:cNvSpPr>
            <a:spLocks noGrp="1"/>
          </p:cNvSpPr>
          <p:nvPr>
            <p:ph type="pic" sz="quarter" idx="15"/>
          </p:nvPr>
        </p:nvSpPr>
        <p:spPr>
          <a:xfrm>
            <a:off x="-1" y="0"/>
            <a:ext cx="12192000" cy="3429000"/>
          </a:xfrm>
        </p:spPr>
        <p:txBody>
          <a:bodyPr/>
          <a:lstStyle/>
          <a:p>
            <a:r>
              <a:rPr lang="de-DE"/>
              <a:t>Bild durch Klicken auf Symbol hinzufügen</a:t>
            </a:r>
            <a:endParaRPr lang="en-US"/>
          </a:p>
        </p:txBody>
      </p:sp>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4555894"/>
            <a:ext cx="5609529" cy="1357544"/>
          </a:xfrm>
        </p:spPr>
        <p:txBody>
          <a:bodyPr>
            <a:noAutofit/>
          </a:bodyPr>
          <a:lstStyle>
            <a:lvl1pPr>
              <a:defRPr/>
            </a:lvl1pPr>
            <a:lvl5pPr>
              <a:defRPr/>
            </a:lvl5pPr>
            <a:lvl6pPr marL="0" indent="0">
              <a:buFontTx/>
              <a:buNone/>
              <a:defRPr sz="1400"/>
            </a:lvl6pPr>
          </a:lstStyle>
          <a:p>
            <a:pPr lvl="0"/>
            <a:r>
              <a:rPr lang="en-GB" noProof="0"/>
              <a:t>Edit text format</a:t>
            </a:r>
          </a:p>
          <a:p>
            <a:pPr lvl="1"/>
            <a:r>
              <a:rPr lang="en-GB" noProof="0"/>
              <a:t>Second level</a:t>
            </a:r>
          </a:p>
          <a:p>
            <a:pPr lvl="2"/>
            <a:r>
              <a:rPr lang="en-GB" noProof="0"/>
              <a:t>Third level</a:t>
            </a:r>
          </a:p>
          <a:p>
            <a:pPr lvl="3"/>
            <a:r>
              <a:rPr lang="en-GB" noProof="0"/>
              <a:t>Fourth level</a:t>
            </a:r>
          </a:p>
          <a:p>
            <a:pPr lvl="4"/>
            <a:r>
              <a:rPr lang="en-GB" noProof="0"/>
              <a:t>Fifth level</a:t>
            </a:r>
          </a:p>
          <a:p>
            <a:pPr lvl="4"/>
            <a:endParaRPr lang="en-US"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a:xfrm>
            <a:off x="386459" y="3733924"/>
            <a:ext cx="11419082" cy="283219"/>
          </a:xfrm>
        </p:spPr>
        <p:txBody>
          <a:bodyPr vert="horz"/>
          <a:lstStyle>
            <a:lvl1pPr>
              <a:defRPr/>
            </a:lvl1pPr>
          </a:lstStyle>
          <a:p>
            <a:r>
              <a:rPr lang="en-US" noProof="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6192839" y="4555894"/>
            <a:ext cx="5618162" cy="1357544"/>
          </a:xfrm>
        </p:spPr>
        <p:txBody>
          <a:bodyPr>
            <a:noAutofit/>
          </a:bodyPr>
          <a:lstStyle>
            <a:lvl5pPr>
              <a:defRPr/>
            </a:lvl5pPr>
            <a:lvl6pPr marL="0" indent="0">
              <a:buFontTx/>
              <a:buNone/>
              <a:defRPr sz="1400"/>
            </a:lvl6pPr>
          </a:lstStyle>
          <a:p>
            <a:pPr lvl="0"/>
            <a:r>
              <a:rPr lang="en-GB" noProof="0"/>
              <a:t>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extplatzhalter 3">
            <a:extLst>
              <a:ext uri="{FF2B5EF4-FFF2-40B4-BE49-F238E27FC236}">
                <a16:creationId xmlns:a16="http://schemas.microsoft.com/office/drawing/2014/main" id="{CE19DDA9-5DBE-37E8-5124-73FF70661113}"/>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0150C1B8-1002-6599-05CD-19916CFF204A}"/>
              </a:ext>
            </a:extLst>
          </p:cNvPr>
          <p:cNvSpPr>
            <a:spLocks noGrp="1"/>
          </p:cNvSpPr>
          <p:nvPr>
            <p:ph type="dt" sz="half" idx="16"/>
          </p:nvPr>
        </p:nvSpPr>
        <p:spPr/>
        <p:txBody>
          <a:bodyPr/>
          <a:lstStyle/>
          <a:p>
            <a:fld id="{05F1CFB3-C7A6-4AD1-9F95-9359338FEA97}" type="datetime1">
              <a:rPr lang="en-US" noProof="0" smtClean="0"/>
              <a:t>10/31/2024</a:t>
            </a:fld>
            <a:endParaRPr lang="en-US" noProof="0"/>
          </a:p>
        </p:txBody>
      </p:sp>
      <p:sp>
        <p:nvSpPr>
          <p:cNvPr id="13" name="Footer Placeholder 12">
            <a:extLst>
              <a:ext uri="{FF2B5EF4-FFF2-40B4-BE49-F238E27FC236}">
                <a16:creationId xmlns:a16="http://schemas.microsoft.com/office/drawing/2014/main" id="{6077152C-7416-C256-0067-33E0606C381D}"/>
              </a:ext>
            </a:extLst>
          </p:cNvPr>
          <p:cNvSpPr>
            <a:spLocks noGrp="1"/>
          </p:cNvSpPr>
          <p:nvPr>
            <p:ph type="ftr" sz="quarter" idx="17"/>
          </p:nvPr>
        </p:nvSpPr>
        <p:spPr/>
        <p:txBody>
          <a:bodyPr/>
          <a:lstStyle/>
          <a:p>
            <a:r>
              <a:rPr lang="en-US"/>
              <a:t>Group Presentation</a:t>
            </a:r>
          </a:p>
        </p:txBody>
      </p:sp>
      <p:sp>
        <p:nvSpPr>
          <p:cNvPr id="15" name="Slide Number Placeholder 14">
            <a:extLst>
              <a:ext uri="{FF2B5EF4-FFF2-40B4-BE49-F238E27FC236}">
                <a16:creationId xmlns:a16="http://schemas.microsoft.com/office/drawing/2014/main" id="{59760782-AB04-847E-EAB8-C3D1449B81FD}"/>
              </a:ext>
            </a:extLst>
          </p:cNvPr>
          <p:cNvSpPr>
            <a:spLocks noGrp="1"/>
          </p:cNvSpPr>
          <p:nvPr>
            <p:ph type="sldNum" sz="quarter" idx="18"/>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237479513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ottom Picture and Text">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F39FA74-0166-8C94-DB61-09725ECB42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4" name="Object 13" hidden="1">
                        <a:extLst>
                          <a:ext uri="{FF2B5EF4-FFF2-40B4-BE49-F238E27FC236}">
                            <a16:creationId xmlns:a16="http://schemas.microsoft.com/office/drawing/2014/main" id="{1F39FA74-0166-8C94-DB61-09725ECB42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3">
            <a:extLst>
              <a:ext uri="{FF2B5EF4-FFF2-40B4-BE49-F238E27FC236}">
                <a16:creationId xmlns:a16="http://schemas.microsoft.com/office/drawing/2014/main" id="{860B7CEC-0563-34E6-837C-B1F3CC84237B}"/>
              </a:ext>
            </a:extLst>
          </p:cNvPr>
          <p:cNvSpPr>
            <a:spLocks noGrp="1"/>
          </p:cNvSpPr>
          <p:nvPr>
            <p:ph type="pic" sz="quarter" idx="15" hasCustomPrompt="1"/>
          </p:nvPr>
        </p:nvSpPr>
        <p:spPr>
          <a:xfrm>
            <a:off x="-1" y="3429000"/>
            <a:ext cx="12192000" cy="3429000"/>
          </a:xfrm>
          <a:solidFill>
            <a:schemeClr val="bg1"/>
          </a:solidFill>
        </p:spPr>
        <p:txBody>
          <a:bodyPr/>
          <a:lstStyle/>
          <a:p>
            <a:r>
              <a:rPr lang="en-US" noProof="0"/>
              <a:t>Add image by clicking on icon and set image in background</a:t>
            </a:r>
            <a:endParaRPr lang="en-GB" noProof="0"/>
          </a:p>
        </p:txBody>
      </p:sp>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45995"/>
            <a:ext cx="5609529" cy="1470208"/>
          </a:xfrm>
        </p:spPr>
        <p:txBody>
          <a:bodyPr>
            <a:noAutofit/>
          </a:bodyPr>
          <a:lstStyle>
            <a:lvl5pPr>
              <a:defRPr/>
            </a:lvl5pPr>
            <a:lvl6pPr marL="0" indent="0">
              <a:buFontTx/>
              <a:buNone/>
              <a:defRPr sz="1400"/>
            </a:lvl6pPr>
          </a:lstStyle>
          <a:p>
            <a:pPr lvl="0"/>
            <a:r>
              <a:rPr lang="en-GB" noProof="0"/>
              <a:t>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6192839" y="1348470"/>
            <a:ext cx="5618162" cy="1470208"/>
          </a:xfrm>
        </p:spPr>
        <p:txBody>
          <a:bodyPr>
            <a:noAutofit/>
          </a:bodyPr>
          <a:lstStyle>
            <a:lvl5pPr>
              <a:defRPr/>
            </a:lvl5pPr>
            <a:lvl6pPr marL="0" indent="0">
              <a:buFontTx/>
              <a:buNone/>
              <a:defRPr sz="1400"/>
            </a:lvl6pPr>
          </a:lstStyle>
          <a:p>
            <a:pPr lvl="0"/>
            <a:r>
              <a:rPr lang="en-GB" noProof="0"/>
              <a:t>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extplatzhalter 3">
            <a:extLst>
              <a:ext uri="{FF2B5EF4-FFF2-40B4-BE49-F238E27FC236}">
                <a16:creationId xmlns:a16="http://schemas.microsoft.com/office/drawing/2014/main" id="{56CB2845-29EF-A433-7282-343B47161539}"/>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6101AC69-FD34-6DA3-4C0E-349B03EA7A3A}"/>
              </a:ext>
            </a:extLst>
          </p:cNvPr>
          <p:cNvSpPr>
            <a:spLocks noGrp="1"/>
          </p:cNvSpPr>
          <p:nvPr>
            <p:ph type="dt" sz="half" idx="17"/>
          </p:nvPr>
        </p:nvSpPr>
        <p:spPr/>
        <p:txBody>
          <a:bodyPr/>
          <a:lstStyle>
            <a:lvl1pPr>
              <a:defRPr>
                <a:solidFill>
                  <a:schemeClr val="bg1"/>
                </a:solidFill>
              </a:defRPr>
            </a:lvl1pPr>
          </a:lstStyle>
          <a:p>
            <a:fld id="{7BF05C7C-DDD4-4E4D-801C-4C6297EE8476}" type="datetime1">
              <a:rPr lang="en-US" smtClean="0"/>
              <a:t>10/31/2024</a:t>
            </a:fld>
            <a:endParaRPr lang="en-US"/>
          </a:p>
        </p:txBody>
      </p:sp>
      <p:sp>
        <p:nvSpPr>
          <p:cNvPr id="16" name="Footer Placeholder 15">
            <a:extLst>
              <a:ext uri="{FF2B5EF4-FFF2-40B4-BE49-F238E27FC236}">
                <a16:creationId xmlns:a16="http://schemas.microsoft.com/office/drawing/2014/main" id="{6CF7E9E1-45F2-A093-242B-ABA0EFA4EA9F}"/>
              </a:ext>
            </a:extLst>
          </p:cNvPr>
          <p:cNvSpPr>
            <a:spLocks noGrp="1"/>
          </p:cNvSpPr>
          <p:nvPr>
            <p:ph type="ftr" sz="quarter" idx="18"/>
          </p:nvPr>
        </p:nvSpPr>
        <p:spPr/>
        <p:txBody>
          <a:bodyPr/>
          <a:lstStyle>
            <a:lvl1pPr>
              <a:defRPr>
                <a:solidFill>
                  <a:schemeClr val="bg1"/>
                </a:solidFill>
              </a:defRPr>
            </a:lvl1pPr>
          </a:lstStyle>
          <a:p>
            <a:r>
              <a:rPr lang="en-US"/>
              <a:t>Group Presentation</a:t>
            </a:r>
          </a:p>
        </p:txBody>
      </p:sp>
      <p:sp>
        <p:nvSpPr>
          <p:cNvPr id="17" name="Slide Number Placeholder 16">
            <a:extLst>
              <a:ext uri="{FF2B5EF4-FFF2-40B4-BE49-F238E27FC236}">
                <a16:creationId xmlns:a16="http://schemas.microsoft.com/office/drawing/2014/main" id="{39260DF3-311C-5B40-05A3-43AEDD7D6941}"/>
              </a:ext>
            </a:extLst>
          </p:cNvPr>
          <p:cNvSpPr>
            <a:spLocks noGrp="1"/>
          </p:cNvSpPr>
          <p:nvPr>
            <p:ph type="sldNum" sz="quarter" idx="19"/>
          </p:nvPr>
        </p:nvSpPr>
        <p:spPr/>
        <p:txBody>
          <a:bodyPr/>
          <a:lstStyle>
            <a:lvl1pPr>
              <a:defRPr>
                <a:solidFill>
                  <a:schemeClr val="bg1"/>
                </a:solidFill>
              </a:defRPr>
            </a:lvl1pPr>
          </a:lstStyle>
          <a:p>
            <a:fld id="{A115CDC9-74CB-4F6C-8CD3-A6C89F254EE7}" type="slidenum">
              <a:rPr lang="en-US" smtClean="0"/>
              <a:pPr/>
              <a:t>‹#›</a:t>
            </a:fld>
            <a:endParaRPr lang="en-US"/>
          </a:p>
        </p:txBody>
      </p:sp>
      <p:sp>
        <p:nvSpPr>
          <p:cNvPr id="4" name="Bildplatzhalter 19">
            <a:extLst>
              <a:ext uri="{FF2B5EF4-FFF2-40B4-BE49-F238E27FC236}">
                <a16:creationId xmlns:a16="http://schemas.microsoft.com/office/drawing/2014/main" id="{685DA2B1-FCB3-6D34-693B-2498A687E29D}"/>
              </a:ext>
            </a:extLst>
          </p:cNvPr>
          <p:cNvSpPr>
            <a:spLocks noGrp="1"/>
          </p:cNvSpPr>
          <p:nvPr>
            <p:ph type="pic" sz="quarter" idx="36"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6" name="Text Placeholder 7">
            <a:extLst>
              <a:ext uri="{FF2B5EF4-FFF2-40B4-BE49-F238E27FC236}">
                <a16:creationId xmlns:a16="http://schemas.microsoft.com/office/drawing/2014/main" id="{4FEBA41B-ECC8-664F-FC66-E7D0361A9833}"/>
              </a:ext>
            </a:extLst>
          </p:cNvPr>
          <p:cNvSpPr>
            <a:spLocks noGrp="1" noChangeAspect="1"/>
          </p:cNvSpPr>
          <p:nvPr>
            <p:ph type="body" sz="quarter" idx="35" hasCustomPrompt="1"/>
          </p:nvPr>
        </p:nvSpPr>
        <p:spPr>
          <a:xfrm>
            <a:off x="11523000" y="6201700"/>
            <a:ext cx="288000" cy="288000"/>
          </a:xfrm>
          <a:blipFill>
            <a:blip r:embed="rId6"/>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401003616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4 Pictures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6FE16BE-9339-7BA6-7AE7-3CEFBD907A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46FE16BE-9339-7BA6-7AE7-3CEFBD907A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2F6DA52E-E922-7AD0-7D98-1428F1C35503}"/>
              </a:ext>
            </a:extLst>
          </p:cNvPr>
          <p:cNvSpPr>
            <a:spLocks noGrp="1"/>
          </p:cNvSpPr>
          <p:nvPr>
            <p:ph type="pic" sz="quarter" idx="17"/>
          </p:nvPr>
        </p:nvSpPr>
        <p:spPr>
          <a:xfrm>
            <a:off x="382588" y="1348508"/>
            <a:ext cx="2701925" cy="1703515"/>
          </a:xfrm>
        </p:spPr>
        <p:txBody>
          <a:bodyPr/>
          <a:lstStyle/>
          <a:p>
            <a:r>
              <a:rPr lang="de-DE"/>
              <a:t>Bild durch Klicken auf Symbol hinzufügen</a:t>
            </a:r>
            <a:endParaRPr lang="en-US"/>
          </a:p>
        </p:txBody>
      </p:sp>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2588" y="3834614"/>
            <a:ext cx="2701925" cy="2078823"/>
          </a:xfrm>
        </p:spPr>
        <p:txBody>
          <a:bodyPr tIns="0">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3295650" y="3834614"/>
            <a:ext cx="2700111" cy="207882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6192838" y="3834614"/>
            <a:ext cx="2700338" cy="207882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104312" y="3834614"/>
            <a:ext cx="2706687" cy="2078823"/>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Picture Placeholder 18">
            <a:extLst>
              <a:ext uri="{FF2B5EF4-FFF2-40B4-BE49-F238E27FC236}">
                <a16:creationId xmlns:a16="http://schemas.microsoft.com/office/drawing/2014/main" id="{F154C221-9C00-ECDE-F668-E674D81FB98B}"/>
              </a:ext>
            </a:extLst>
          </p:cNvPr>
          <p:cNvSpPr>
            <a:spLocks noGrp="1"/>
          </p:cNvSpPr>
          <p:nvPr>
            <p:ph type="pic" sz="quarter" idx="18"/>
          </p:nvPr>
        </p:nvSpPr>
        <p:spPr>
          <a:xfrm>
            <a:off x="3295650" y="1340768"/>
            <a:ext cx="2700338" cy="1703515"/>
          </a:xfrm>
        </p:spPr>
        <p:txBody>
          <a:bodyPr/>
          <a:lstStyle/>
          <a:p>
            <a:r>
              <a:rPr lang="de-DE"/>
              <a:t>Bild durch Klicken auf Symbol hinzufügen</a:t>
            </a:r>
            <a:endParaRPr lang="en-US"/>
          </a:p>
        </p:txBody>
      </p:sp>
      <p:sp>
        <p:nvSpPr>
          <p:cNvPr id="21" name="Picture Placeholder 18">
            <a:extLst>
              <a:ext uri="{FF2B5EF4-FFF2-40B4-BE49-F238E27FC236}">
                <a16:creationId xmlns:a16="http://schemas.microsoft.com/office/drawing/2014/main" id="{5C60685B-D5AC-71CD-B49B-D9AECE0F7438}"/>
              </a:ext>
            </a:extLst>
          </p:cNvPr>
          <p:cNvSpPr>
            <a:spLocks noGrp="1"/>
          </p:cNvSpPr>
          <p:nvPr>
            <p:ph type="pic" sz="quarter" idx="19"/>
          </p:nvPr>
        </p:nvSpPr>
        <p:spPr>
          <a:xfrm>
            <a:off x="6192838" y="1340768"/>
            <a:ext cx="2700338" cy="1703515"/>
          </a:xfrm>
        </p:spPr>
        <p:txBody>
          <a:bodyPr/>
          <a:lstStyle/>
          <a:p>
            <a:r>
              <a:rPr lang="de-DE"/>
              <a:t>Bild durch Klicken auf Symbol hinzufügen</a:t>
            </a:r>
            <a:endParaRPr lang="en-US"/>
          </a:p>
        </p:txBody>
      </p:sp>
      <p:sp>
        <p:nvSpPr>
          <p:cNvPr id="22" name="Picture Placeholder 18">
            <a:extLst>
              <a:ext uri="{FF2B5EF4-FFF2-40B4-BE49-F238E27FC236}">
                <a16:creationId xmlns:a16="http://schemas.microsoft.com/office/drawing/2014/main" id="{8CDD6BF0-123C-5B2D-F772-3B6E8C0B8090}"/>
              </a:ext>
            </a:extLst>
          </p:cNvPr>
          <p:cNvSpPr>
            <a:spLocks noGrp="1"/>
          </p:cNvSpPr>
          <p:nvPr>
            <p:ph type="pic" sz="quarter" idx="20"/>
          </p:nvPr>
        </p:nvSpPr>
        <p:spPr>
          <a:xfrm>
            <a:off x="9104312" y="1340768"/>
            <a:ext cx="2706687" cy="1703515"/>
          </a:xfrm>
        </p:spPr>
        <p:txBody>
          <a:bodyPr/>
          <a:lstStyle/>
          <a:p>
            <a:r>
              <a:rPr lang="de-DE"/>
              <a:t>Bild durch Klicken auf Symbol hinzufügen</a:t>
            </a:r>
            <a:endParaRPr lang="en-US"/>
          </a:p>
        </p:txBody>
      </p:sp>
      <p:sp>
        <p:nvSpPr>
          <p:cNvPr id="24" name="Text Placeholder 23">
            <a:extLst>
              <a:ext uri="{FF2B5EF4-FFF2-40B4-BE49-F238E27FC236}">
                <a16:creationId xmlns:a16="http://schemas.microsoft.com/office/drawing/2014/main" id="{1B3A694E-5CDB-D14C-28EC-3F759D36336E}"/>
              </a:ext>
            </a:extLst>
          </p:cNvPr>
          <p:cNvSpPr>
            <a:spLocks noGrp="1"/>
          </p:cNvSpPr>
          <p:nvPr>
            <p:ph type="body" sz="quarter" idx="21" hasCustomPrompt="1"/>
          </p:nvPr>
        </p:nvSpPr>
        <p:spPr>
          <a:xfrm>
            <a:off x="382588" y="3524249"/>
            <a:ext cx="2701925" cy="310365"/>
          </a:xfrm>
        </p:spPr>
        <p:txBody>
          <a:bodyPr vert="horz"/>
          <a:lstStyle>
            <a:lvl1pPr marL="0" indent="0">
              <a:buFontTx/>
              <a:buNone/>
              <a:defRPr sz="2000">
                <a:solidFill>
                  <a:schemeClr val="tx2"/>
                </a:solidFill>
                <a:latin typeface="+mj-lt"/>
              </a:defRPr>
            </a:lvl1pPr>
          </a:lstStyle>
          <a:p>
            <a:pPr lvl="0"/>
            <a:r>
              <a:rPr lang="en-US"/>
              <a:t>1.</a:t>
            </a:r>
          </a:p>
        </p:txBody>
      </p:sp>
      <p:sp>
        <p:nvSpPr>
          <p:cNvPr id="25" name="Text Placeholder 23">
            <a:extLst>
              <a:ext uri="{FF2B5EF4-FFF2-40B4-BE49-F238E27FC236}">
                <a16:creationId xmlns:a16="http://schemas.microsoft.com/office/drawing/2014/main" id="{873F4DC0-10C2-7B88-9543-7D95ECD7B0D2}"/>
              </a:ext>
            </a:extLst>
          </p:cNvPr>
          <p:cNvSpPr>
            <a:spLocks noGrp="1"/>
          </p:cNvSpPr>
          <p:nvPr>
            <p:ph type="body" sz="quarter" idx="22" hasCustomPrompt="1"/>
          </p:nvPr>
        </p:nvSpPr>
        <p:spPr>
          <a:xfrm>
            <a:off x="3295650" y="3524249"/>
            <a:ext cx="2700111" cy="310365"/>
          </a:xfrm>
        </p:spPr>
        <p:txBody>
          <a:bodyPr vert="horz"/>
          <a:lstStyle>
            <a:lvl1pPr marL="0" indent="0">
              <a:buFontTx/>
              <a:buNone/>
              <a:defRPr sz="2000">
                <a:solidFill>
                  <a:schemeClr val="tx2"/>
                </a:solidFill>
                <a:latin typeface="+mj-lt"/>
              </a:defRPr>
            </a:lvl1pPr>
          </a:lstStyle>
          <a:p>
            <a:pPr lvl="0"/>
            <a:r>
              <a:rPr lang="en-US"/>
              <a:t>1.</a:t>
            </a:r>
          </a:p>
        </p:txBody>
      </p:sp>
      <p:sp>
        <p:nvSpPr>
          <p:cNvPr id="26" name="Text Placeholder 23">
            <a:extLst>
              <a:ext uri="{FF2B5EF4-FFF2-40B4-BE49-F238E27FC236}">
                <a16:creationId xmlns:a16="http://schemas.microsoft.com/office/drawing/2014/main" id="{C554B584-0BBC-032E-DAF5-922382F6C62A}"/>
              </a:ext>
            </a:extLst>
          </p:cNvPr>
          <p:cNvSpPr>
            <a:spLocks noGrp="1"/>
          </p:cNvSpPr>
          <p:nvPr>
            <p:ph type="body" sz="quarter" idx="23" hasCustomPrompt="1"/>
          </p:nvPr>
        </p:nvSpPr>
        <p:spPr>
          <a:xfrm>
            <a:off x="6192838" y="3524249"/>
            <a:ext cx="2700338" cy="310365"/>
          </a:xfrm>
        </p:spPr>
        <p:txBody>
          <a:bodyPr vert="horz"/>
          <a:lstStyle>
            <a:lvl1pPr marL="0" indent="0">
              <a:buFontTx/>
              <a:buNone/>
              <a:defRPr sz="2000">
                <a:solidFill>
                  <a:schemeClr val="tx2"/>
                </a:solidFill>
                <a:latin typeface="+mj-lt"/>
              </a:defRPr>
            </a:lvl1pPr>
          </a:lstStyle>
          <a:p>
            <a:pPr lvl="0"/>
            <a:r>
              <a:rPr lang="en-US"/>
              <a:t>1.</a:t>
            </a:r>
          </a:p>
        </p:txBody>
      </p:sp>
      <p:sp>
        <p:nvSpPr>
          <p:cNvPr id="27" name="Text Placeholder 23">
            <a:extLst>
              <a:ext uri="{FF2B5EF4-FFF2-40B4-BE49-F238E27FC236}">
                <a16:creationId xmlns:a16="http://schemas.microsoft.com/office/drawing/2014/main" id="{05B6CA0D-4194-3D94-49CE-56F6E0548F62}"/>
              </a:ext>
            </a:extLst>
          </p:cNvPr>
          <p:cNvSpPr>
            <a:spLocks noGrp="1"/>
          </p:cNvSpPr>
          <p:nvPr>
            <p:ph type="body" sz="quarter" idx="24" hasCustomPrompt="1"/>
          </p:nvPr>
        </p:nvSpPr>
        <p:spPr>
          <a:xfrm>
            <a:off x="9104312" y="3524249"/>
            <a:ext cx="2706687" cy="310365"/>
          </a:xfrm>
        </p:spPr>
        <p:txBody>
          <a:bodyPr vert="horz"/>
          <a:lstStyle>
            <a:lvl1pPr marL="0" indent="0">
              <a:buFontTx/>
              <a:buNone/>
              <a:defRPr sz="2000">
                <a:solidFill>
                  <a:schemeClr val="tx2"/>
                </a:solidFill>
                <a:latin typeface="+mj-lt"/>
              </a:defRPr>
            </a:lvl1pPr>
          </a:lstStyle>
          <a:p>
            <a:pPr lvl="0"/>
            <a:r>
              <a:rPr lang="en-US"/>
              <a:t>1.</a:t>
            </a:r>
          </a:p>
        </p:txBody>
      </p:sp>
      <p:sp>
        <p:nvSpPr>
          <p:cNvPr id="5" name="Textplatzhalter 3">
            <a:extLst>
              <a:ext uri="{FF2B5EF4-FFF2-40B4-BE49-F238E27FC236}">
                <a16:creationId xmlns:a16="http://schemas.microsoft.com/office/drawing/2014/main" id="{A0589B6B-456C-4B95-EBBD-4B9E3A69E175}"/>
              </a:ext>
            </a:extLst>
          </p:cNvPr>
          <p:cNvSpPr>
            <a:spLocks noGrp="1"/>
          </p:cNvSpPr>
          <p:nvPr>
            <p:ph type="body" sz="quarter" idx="25"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F898CCA6-7EFF-91DC-3D9F-A4A71C9AE2C3}"/>
              </a:ext>
            </a:extLst>
          </p:cNvPr>
          <p:cNvSpPr>
            <a:spLocks noGrp="1"/>
          </p:cNvSpPr>
          <p:nvPr>
            <p:ph type="dt" sz="half" idx="26"/>
          </p:nvPr>
        </p:nvSpPr>
        <p:spPr/>
        <p:txBody>
          <a:bodyPr/>
          <a:lstStyle/>
          <a:p>
            <a:fld id="{F4AC0E7E-784B-4922-BBD9-8AC30AB197C4}" type="datetime1">
              <a:rPr lang="en-US" noProof="0" smtClean="0"/>
              <a:t>10/31/2024</a:t>
            </a:fld>
            <a:endParaRPr lang="en-US" noProof="0"/>
          </a:p>
        </p:txBody>
      </p:sp>
      <p:sp>
        <p:nvSpPr>
          <p:cNvPr id="16" name="Footer Placeholder 15">
            <a:extLst>
              <a:ext uri="{FF2B5EF4-FFF2-40B4-BE49-F238E27FC236}">
                <a16:creationId xmlns:a16="http://schemas.microsoft.com/office/drawing/2014/main" id="{8C130255-E526-9528-9FA2-89F1B0C71365}"/>
              </a:ext>
            </a:extLst>
          </p:cNvPr>
          <p:cNvSpPr>
            <a:spLocks noGrp="1"/>
          </p:cNvSpPr>
          <p:nvPr>
            <p:ph type="ftr" sz="quarter" idx="27"/>
          </p:nvPr>
        </p:nvSpPr>
        <p:spPr/>
        <p:txBody>
          <a:bodyPr/>
          <a:lstStyle/>
          <a:p>
            <a:r>
              <a:rPr lang="en-US"/>
              <a:t>Group Presentation</a:t>
            </a:r>
          </a:p>
        </p:txBody>
      </p:sp>
      <p:sp>
        <p:nvSpPr>
          <p:cNvPr id="17" name="Slide Number Placeholder 16">
            <a:extLst>
              <a:ext uri="{FF2B5EF4-FFF2-40B4-BE49-F238E27FC236}">
                <a16:creationId xmlns:a16="http://schemas.microsoft.com/office/drawing/2014/main" id="{41416E14-843D-C14D-E754-7B98FADC2A78}"/>
              </a:ext>
            </a:extLst>
          </p:cNvPr>
          <p:cNvSpPr>
            <a:spLocks noGrp="1"/>
          </p:cNvSpPr>
          <p:nvPr>
            <p:ph type="sldNum" sz="quarter" idx="28"/>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311527034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5 Icons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71766A-B2F3-3EEB-135C-F02E563845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1871766A-B2F3-3EEB-135C-F02E563845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61"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6" name="Inhaltsplatzhalter 2">
            <a:extLst>
              <a:ext uri="{FF2B5EF4-FFF2-40B4-BE49-F238E27FC236}">
                <a16:creationId xmlns:a16="http://schemas.microsoft.com/office/drawing/2014/main" id="{4883DB1B-9F6E-A591-C91E-5A1835686166}"/>
              </a:ext>
            </a:extLst>
          </p:cNvPr>
          <p:cNvSpPr>
            <a:spLocks noGrp="1"/>
          </p:cNvSpPr>
          <p:nvPr>
            <p:ph idx="13" hasCustomPrompt="1"/>
          </p:nvPr>
        </p:nvSpPr>
        <p:spPr>
          <a:xfrm>
            <a:off x="5028277"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Inhaltsplatzhalter 2">
            <a:extLst>
              <a:ext uri="{FF2B5EF4-FFF2-40B4-BE49-F238E27FC236}">
                <a16:creationId xmlns:a16="http://schemas.microsoft.com/office/drawing/2014/main" id="{8F70BC0F-E87F-20F3-D449-D8D3219F4AF2}"/>
              </a:ext>
            </a:extLst>
          </p:cNvPr>
          <p:cNvSpPr>
            <a:spLocks noGrp="1"/>
          </p:cNvSpPr>
          <p:nvPr>
            <p:ph idx="14" hasCustomPrompt="1"/>
          </p:nvPr>
        </p:nvSpPr>
        <p:spPr>
          <a:xfrm>
            <a:off x="7349186"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Inhaltsplatzhalter 2">
            <a:extLst>
              <a:ext uri="{FF2B5EF4-FFF2-40B4-BE49-F238E27FC236}">
                <a16:creationId xmlns:a16="http://schemas.microsoft.com/office/drawing/2014/main" id="{311150E2-671C-E46A-B928-1E7E77E32E01}"/>
              </a:ext>
            </a:extLst>
          </p:cNvPr>
          <p:cNvSpPr>
            <a:spLocks noGrp="1"/>
          </p:cNvSpPr>
          <p:nvPr>
            <p:ph idx="15" hasCustomPrompt="1"/>
          </p:nvPr>
        </p:nvSpPr>
        <p:spPr>
          <a:xfrm>
            <a:off x="9670094"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Inhaltsplatzhalter 2">
            <a:extLst>
              <a:ext uri="{FF2B5EF4-FFF2-40B4-BE49-F238E27FC236}">
                <a16:creationId xmlns:a16="http://schemas.microsoft.com/office/drawing/2014/main" id="{B59E7BBC-4720-3876-8ED5-67EBB8C485A8}"/>
              </a:ext>
            </a:extLst>
          </p:cNvPr>
          <p:cNvSpPr>
            <a:spLocks noGrp="1"/>
          </p:cNvSpPr>
          <p:nvPr>
            <p:ph idx="16" hasCustomPrompt="1"/>
          </p:nvPr>
        </p:nvSpPr>
        <p:spPr>
          <a:xfrm>
            <a:off x="2707369" y="4438220"/>
            <a:ext cx="2140908" cy="1475218"/>
          </a:xfrm>
        </p:spPr>
        <p:txBody>
          <a:bodyPr>
            <a:noAutofit/>
          </a:bodyPr>
          <a:lstStyle>
            <a:lvl1pPr>
              <a:defRPr sz="1200"/>
            </a:lvl1pPr>
            <a:lvl2pPr marL="452438" indent="-185738">
              <a:defRPr sz="1200"/>
            </a:lvl2pPr>
            <a:lvl3pPr marL="627063" indent="174625">
              <a:defRPr sz="1200"/>
            </a:lvl3pPr>
            <a:lvl4pPr marL="893763" indent="185738">
              <a:tabLst>
                <a:tab pos="893763" algn="l"/>
              </a:tabLst>
              <a:defRPr sz="1200"/>
            </a:lvl4pPr>
            <a:lvl5pPr marL="1160463" indent="180975">
              <a:tabLst>
                <a:tab pos="1160463" algn="l"/>
              </a:tabLst>
              <a:defRPr sz="1200"/>
            </a:lvl5pPr>
          </a:lstStyle>
          <a:p>
            <a:pPr lvl="0"/>
            <a:r>
              <a:rPr lang="en-GB" noProof="0"/>
              <a:t>12 </a:t>
            </a:r>
            <a:r>
              <a:rPr lang="en-GB" noProof="0" err="1"/>
              <a:t>pt</a:t>
            </a:r>
            <a:r>
              <a:rPr lang="en-GB" noProof="0"/>
              <a:t>, Firs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4" name="Inhaltsplatzhalter 2">
            <a:extLst>
              <a:ext uri="{FF2B5EF4-FFF2-40B4-BE49-F238E27FC236}">
                <a16:creationId xmlns:a16="http://schemas.microsoft.com/office/drawing/2014/main" id="{4DDC6663-B6D5-34CB-85D0-587C01476871}"/>
              </a:ext>
            </a:extLst>
          </p:cNvPr>
          <p:cNvSpPr>
            <a:spLocks noGrp="1"/>
          </p:cNvSpPr>
          <p:nvPr>
            <p:ph idx="23" hasCustomPrompt="1"/>
          </p:nvPr>
        </p:nvSpPr>
        <p:spPr>
          <a:xfrm>
            <a:off x="386459" y="1344952"/>
            <a:ext cx="7551041" cy="1456519"/>
          </a:xfrm>
        </p:spPr>
        <p:txBody>
          <a:bodyPr>
            <a:noAutofit/>
          </a:bodyPr>
          <a:lstStyle>
            <a:lvl1pPr>
              <a:defRPr sz="1600"/>
            </a:lvl1pPr>
            <a:lvl2pPr>
              <a:defRPr sz="1600"/>
            </a:lvl2pPr>
            <a:lvl3pPr>
              <a:defRPr sz="1600"/>
            </a:lvl3pPr>
            <a:lvl4pPr>
              <a:defRPr sz="1600"/>
            </a:lvl4pPr>
            <a:lvl5pPr>
              <a:defRPr sz="1600"/>
            </a:lvl5pPr>
            <a:lvl6pPr marL="0" indent="0">
              <a:buFontTx/>
              <a:buNone/>
              <a:defRPr sz="1600"/>
            </a:lvl6pPr>
          </a:lstStyle>
          <a:p>
            <a:pPr lvl="0"/>
            <a:r>
              <a:rPr lang="en-GB" noProof="0"/>
              <a:t>Edit master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Textplatzhalter 3">
            <a:extLst>
              <a:ext uri="{FF2B5EF4-FFF2-40B4-BE49-F238E27FC236}">
                <a16:creationId xmlns:a16="http://schemas.microsoft.com/office/drawing/2014/main" id="{C5B66EB2-614F-6E84-AD42-6CCDDAD2F0C2}"/>
              </a:ext>
            </a:extLst>
          </p:cNvPr>
          <p:cNvSpPr>
            <a:spLocks noGrp="1"/>
          </p:cNvSpPr>
          <p:nvPr>
            <p:ph type="body" sz="quarter" idx="2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03E06B57-4EC5-67A9-87EE-91288794DEB6}"/>
              </a:ext>
            </a:extLst>
          </p:cNvPr>
          <p:cNvSpPr>
            <a:spLocks noGrp="1"/>
          </p:cNvSpPr>
          <p:nvPr>
            <p:ph type="dt" sz="half" idx="25"/>
          </p:nvPr>
        </p:nvSpPr>
        <p:spPr/>
        <p:txBody>
          <a:bodyPr/>
          <a:lstStyle/>
          <a:p>
            <a:fld id="{6F9AA851-DFC7-4BFA-B4EE-FEAC42909DAA}" type="datetime1">
              <a:rPr lang="en-US" noProof="0" smtClean="0"/>
              <a:t>10/31/2024</a:t>
            </a:fld>
            <a:endParaRPr lang="en-US" noProof="0"/>
          </a:p>
        </p:txBody>
      </p:sp>
      <p:sp>
        <p:nvSpPr>
          <p:cNvPr id="17" name="Footer Placeholder 16">
            <a:extLst>
              <a:ext uri="{FF2B5EF4-FFF2-40B4-BE49-F238E27FC236}">
                <a16:creationId xmlns:a16="http://schemas.microsoft.com/office/drawing/2014/main" id="{83537040-975F-14C5-03B0-E4768F43D43C}"/>
              </a:ext>
            </a:extLst>
          </p:cNvPr>
          <p:cNvSpPr>
            <a:spLocks noGrp="1"/>
          </p:cNvSpPr>
          <p:nvPr>
            <p:ph type="ftr" sz="quarter" idx="26"/>
          </p:nvPr>
        </p:nvSpPr>
        <p:spPr/>
        <p:txBody>
          <a:bodyPr/>
          <a:lstStyle/>
          <a:p>
            <a:r>
              <a:rPr lang="en-US"/>
              <a:t>Group Presentation</a:t>
            </a:r>
          </a:p>
        </p:txBody>
      </p:sp>
      <p:sp>
        <p:nvSpPr>
          <p:cNvPr id="18" name="Slide Number Placeholder 17">
            <a:extLst>
              <a:ext uri="{FF2B5EF4-FFF2-40B4-BE49-F238E27FC236}">
                <a16:creationId xmlns:a16="http://schemas.microsoft.com/office/drawing/2014/main" id="{F576B3DF-FC09-D249-5FC8-97ADDA1782D8}"/>
              </a:ext>
            </a:extLst>
          </p:cNvPr>
          <p:cNvSpPr>
            <a:spLocks noGrp="1"/>
          </p:cNvSpPr>
          <p:nvPr>
            <p:ph type="sldNum" sz="quarter" idx="27"/>
          </p:nvPr>
        </p:nvSpPr>
        <p:spPr/>
        <p:txBody>
          <a:bodyPr/>
          <a:lstStyle/>
          <a:p>
            <a:fld id="{A115CDC9-74CB-4F6C-8CD3-A6C89F254EE7}" type="slidenum">
              <a:rPr lang="en-US" smtClean="0"/>
              <a:pPr/>
              <a:t>‹#›</a:t>
            </a:fld>
            <a:endParaRPr lang="en-US"/>
          </a:p>
        </p:txBody>
      </p:sp>
      <p:sp>
        <p:nvSpPr>
          <p:cNvPr id="8" name="Inhaltsplatzhalter 7">
            <a:extLst>
              <a:ext uri="{FF2B5EF4-FFF2-40B4-BE49-F238E27FC236}">
                <a16:creationId xmlns:a16="http://schemas.microsoft.com/office/drawing/2014/main" id="{D090F96E-FC7C-6FA8-99D8-941C4867F024}"/>
              </a:ext>
            </a:extLst>
          </p:cNvPr>
          <p:cNvSpPr>
            <a:spLocks noGrp="1"/>
          </p:cNvSpPr>
          <p:nvPr>
            <p:ph sz="quarter" idx="28" hasCustomPrompt="1"/>
          </p:nvPr>
        </p:nvSpPr>
        <p:spPr>
          <a:xfrm>
            <a:off x="386461" y="3109996"/>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a:t>Click picture icon to add picture</a:t>
            </a:r>
          </a:p>
          <a:p>
            <a:pPr lvl="0"/>
            <a:endParaRPr lang="en-US"/>
          </a:p>
        </p:txBody>
      </p:sp>
      <p:sp>
        <p:nvSpPr>
          <p:cNvPr id="9" name="Inhaltsplatzhalter 7">
            <a:extLst>
              <a:ext uri="{FF2B5EF4-FFF2-40B4-BE49-F238E27FC236}">
                <a16:creationId xmlns:a16="http://schemas.microsoft.com/office/drawing/2014/main" id="{86244F86-9035-D0F2-5320-024C51DBC451}"/>
              </a:ext>
            </a:extLst>
          </p:cNvPr>
          <p:cNvSpPr>
            <a:spLocks noGrp="1"/>
          </p:cNvSpPr>
          <p:nvPr>
            <p:ph sz="quarter" idx="29" hasCustomPrompt="1"/>
          </p:nvPr>
        </p:nvSpPr>
        <p:spPr>
          <a:xfrm>
            <a:off x="2707369" y="3109996"/>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a:t>Click picture icon to add picture</a:t>
            </a:r>
          </a:p>
          <a:p>
            <a:pPr lvl="0"/>
            <a:endParaRPr lang="en-US"/>
          </a:p>
        </p:txBody>
      </p:sp>
      <p:sp>
        <p:nvSpPr>
          <p:cNvPr id="14" name="Inhaltsplatzhalter 7">
            <a:extLst>
              <a:ext uri="{FF2B5EF4-FFF2-40B4-BE49-F238E27FC236}">
                <a16:creationId xmlns:a16="http://schemas.microsoft.com/office/drawing/2014/main" id="{8807641E-F74B-AAAB-DD8A-5C257E55CDE9}"/>
              </a:ext>
            </a:extLst>
          </p:cNvPr>
          <p:cNvSpPr>
            <a:spLocks noGrp="1"/>
          </p:cNvSpPr>
          <p:nvPr>
            <p:ph sz="quarter" idx="30" hasCustomPrompt="1"/>
          </p:nvPr>
        </p:nvSpPr>
        <p:spPr>
          <a:xfrm>
            <a:off x="5028277" y="3109996"/>
            <a:ext cx="2136111"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a:t>Click picture icon to add picture</a:t>
            </a:r>
          </a:p>
          <a:p>
            <a:pPr lvl="0"/>
            <a:endParaRPr lang="en-US"/>
          </a:p>
        </p:txBody>
      </p:sp>
      <p:sp>
        <p:nvSpPr>
          <p:cNvPr id="15" name="Inhaltsplatzhalter 7">
            <a:extLst>
              <a:ext uri="{FF2B5EF4-FFF2-40B4-BE49-F238E27FC236}">
                <a16:creationId xmlns:a16="http://schemas.microsoft.com/office/drawing/2014/main" id="{8282D2F6-CF2C-5260-ED14-63697734FF88}"/>
              </a:ext>
            </a:extLst>
          </p:cNvPr>
          <p:cNvSpPr>
            <a:spLocks noGrp="1"/>
          </p:cNvSpPr>
          <p:nvPr>
            <p:ph sz="quarter" idx="31" hasCustomPrompt="1"/>
          </p:nvPr>
        </p:nvSpPr>
        <p:spPr>
          <a:xfrm>
            <a:off x="7349186" y="3109996"/>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a:t>Click picture icon to add picture</a:t>
            </a:r>
          </a:p>
          <a:p>
            <a:pPr lvl="0"/>
            <a:endParaRPr lang="en-US"/>
          </a:p>
        </p:txBody>
      </p:sp>
      <p:sp>
        <p:nvSpPr>
          <p:cNvPr id="16" name="Inhaltsplatzhalter 7">
            <a:extLst>
              <a:ext uri="{FF2B5EF4-FFF2-40B4-BE49-F238E27FC236}">
                <a16:creationId xmlns:a16="http://schemas.microsoft.com/office/drawing/2014/main" id="{3E08D7C1-B1DB-68E3-D54A-886FADA21CFA}"/>
              </a:ext>
            </a:extLst>
          </p:cNvPr>
          <p:cNvSpPr>
            <a:spLocks noGrp="1"/>
          </p:cNvSpPr>
          <p:nvPr>
            <p:ph sz="quarter" idx="32" hasCustomPrompt="1"/>
          </p:nvPr>
        </p:nvSpPr>
        <p:spPr>
          <a:xfrm>
            <a:off x="9670094" y="3109996"/>
            <a:ext cx="2140908" cy="1112173"/>
          </a:xfrm>
        </p:spPr>
        <p:txBody>
          <a:bodyPr/>
          <a:lstStyle>
            <a:lvl1pPr>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a:t>Click picture icon to add picture</a:t>
            </a:r>
          </a:p>
          <a:p>
            <a:pPr lvl="0"/>
            <a:endParaRPr lang="en-US"/>
          </a:p>
        </p:txBody>
      </p:sp>
    </p:spTree>
    <p:extLst>
      <p:ext uri="{BB962C8B-B14F-4D97-AF65-F5344CB8AC3E}">
        <p14:creationId xmlns:p14="http://schemas.microsoft.com/office/powerpoint/2010/main" val="3717312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 bullets + bubble images/color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0"/>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4" name="Ellipse 13">
            <a:extLst>
              <a:ext uri="{FF2B5EF4-FFF2-40B4-BE49-F238E27FC236}">
                <a16:creationId xmlns:a16="http://schemas.microsoft.com/office/drawing/2014/main" id="{B2716FA1-1FCB-5FEF-5208-E8F88210A68C}"/>
              </a:ext>
            </a:extLst>
          </p:cNvPr>
          <p:cNvSpPr/>
          <p:nvPr userDrawn="1"/>
        </p:nvSpPr>
        <p:spPr>
          <a:xfrm>
            <a:off x="8101603" y="2217210"/>
            <a:ext cx="720000" cy="7198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303325B3-5EA7-7464-CDEC-FADEF471E278}"/>
              </a:ext>
            </a:extLst>
          </p:cNvPr>
          <p:cNvSpPr/>
          <p:nvPr userDrawn="1"/>
        </p:nvSpPr>
        <p:spPr>
          <a:xfrm>
            <a:off x="10589821" y="4133056"/>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Ellipse 15">
            <a:extLst>
              <a:ext uri="{FF2B5EF4-FFF2-40B4-BE49-F238E27FC236}">
                <a16:creationId xmlns:a16="http://schemas.microsoft.com/office/drawing/2014/main" id="{692BD8C2-16A8-F895-8F27-82FC86A11431}"/>
              </a:ext>
            </a:extLst>
          </p:cNvPr>
          <p:cNvSpPr/>
          <p:nvPr userDrawn="1"/>
        </p:nvSpPr>
        <p:spPr>
          <a:xfrm>
            <a:off x="9625603" y="-798977"/>
            <a:ext cx="1249200" cy="124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A3045E08-DDB0-1AC0-6D04-FE478D06F6EF}"/>
              </a:ext>
            </a:extLst>
          </p:cNvPr>
          <p:cNvSpPr/>
          <p:nvPr userDrawn="1"/>
        </p:nvSpPr>
        <p:spPr>
          <a:xfrm>
            <a:off x="10602505" y="6252359"/>
            <a:ext cx="1862137" cy="186213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sp>
        <p:nvSpPr>
          <p:cNvPr id="9" name="Plassholder for tekst 5">
            <a:extLst>
              <a:ext uri="{FF2B5EF4-FFF2-40B4-BE49-F238E27FC236}">
                <a16:creationId xmlns:a16="http://schemas.microsoft.com/office/drawing/2014/main" id="{6F3A3404-E977-CFD6-FA6A-A931DD626D42}"/>
              </a:ext>
            </a:extLst>
          </p:cNvPr>
          <p:cNvSpPr>
            <a:spLocks noGrp="1"/>
          </p:cNvSpPr>
          <p:nvPr>
            <p:ph type="body" sz="quarter" idx="16" hasCustomPrompt="1"/>
          </p:nvPr>
        </p:nvSpPr>
        <p:spPr>
          <a:xfrm>
            <a:off x="959978" y="2072789"/>
            <a:ext cx="61642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0" name="Picture 4" descr="Icon&#10;&#10;Description automatically generated">
            <a:extLst>
              <a:ext uri="{FF2B5EF4-FFF2-40B4-BE49-F238E27FC236}">
                <a16:creationId xmlns:a16="http://schemas.microsoft.com/office/drawing/2014/main" id="{F5E483AF-5CC4-BBE6-084A-F51B37914E1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160778306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A8EB7E7-44AB-1CC0-2E66-F4064B8D9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7" name="Object 6" hidden="1">
                        <a:extLst>
                          <a:ext uri="{FF2B5EF4-FFF2-40B4-BE49-F238E27FC236}">
                            <a16:creationId xmlns:a16="http://schemas.microsoft.com/office/drawing/2014/main" id="{7A8EB7E7-44AB-1CC0-2E66-F4064B8D9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CF9C23E-BE04-F971-692A-7BB38E039615}"/>
              </a:ext>
            </a:extLst>
          </p:cNvPr>
          <p:cNvSpPr>
            <a:spLocks noGrp="1"/>
          </p:cNvSpPr>
          <p:nvPr>
            <p:ph type="title" hasCustomPrompt="1"/>
          </p:nvPr>
        </p:nvSpPr>
        <p:spPr/>
        <p:txBody>
          <a:bodyPr vert="horz"/>
          <a:lstStyle>
            <a:lvl1pPr>
              <a:defRPr/>
            </a:lvl1pPr>
          </a:lstStyle>
          <a:p>
            <a:r>
              <a:rPr lang="en-US" noProof="0"/>
              <a:t>Slide heading</a:t>
            </a:r>
          </a:p>
        </p:txBody>
      </p:sp>
      <p:sp>
        <p:nvSpPr>
          <p:cNvPr id="8" name="Textplatzhalter 3">
            <a:extLst>
              <a:ext uri="{FF2B5EF4-FFF2-40B4-BE49-F238E27FC236}">
                <a16:creationId xmlns:a16="http://schemas.microsoft.com/office/drawing/2014/main" id="{4D62F9FA-9E38-665C-01B6-A879502664C8}"/>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7" name="Date Placeholder 16">
            <a:extLst>
              <a:ext uri="{FF2B5EF4-FFF2-40B4-BE49-F238E27FC236}">
                <a16:creationId xmlns:a16="http://schemas.microsoft.com/office/drawing/2014/main" id="{7FFB19FE-7131-7451-8A2F-E57E3CA78C71}"/>
              </a:ext>
            </a:extLst>
          </p:cNvPr>
          <p:cNvSpPr>
            <a:spLocks noGrp="1"/>
          </p:cNvSpPr>
          <p:nvPr>
            <p:ph type="dt" sz="half" idx="15"/>
          </p:nvPr>
        </p:nvSpPr>
        <p:spPr/>
        <p:txBody>
          <a:bodyPr/>
          <a:lstStyle/>
          <a:p>
            <a:fld id="{E5320BD2-4B69-4414-80FF-E20912743A0D}" type="datetime1">
              <a:rPr lang="en-US" noProof="0" smtClean="0"/>
              <a:t>10/31/2024</a:t>
            </a:fld>
            <a:endParaRPr lang="en-US" noProof="0"/>
          </a:p>
        </p:txBody>
      </p:sp>
      <p:sp>
        <p:nvSpPr>
          <p:cNvPr id="18" name="Footer Placeholder 17">
            <a:extLst>
              <a:ext uri="{FF2B5EF4-FFF2-40B4-BE49-F238E27FC236}">
                <a16:creationId xmlns:a16="http://schemas.microsoft.com/office/drawing/2014/main" id="{7C7085E5-A282-BD93-CF05-4029127F1FE9}"/>
              </a:ext>
            </a:extLst>
          </p:cNvPr>
          <p:cNvSpPr>
            <a:spLocks noGrp="1"/>
          </p:cNvSpPr>
          <p:nvPr>
            <p:ph type="ftr" sz="quarter" idx="16"/>
          </p:nvPr>
        </p:nvSpPr>
        <p:spPr/>
        <p:txBody>
          <a:bodyPr/>
          <a:lstStyle/>
          <a:p>
            <a:r>
              <a:rPr lang="en-US"/>
              <a:t>Group Presentation</a:t>
            </a:r>
          </a:p>
        </p:txBody>
      </p:sp>
      <p:sp>
        <p:nvSpPr>
          <p:cNvPr id="19" name="Slide Number Placeholder 18">
            <a:extLst>
              <a:ext uri="{FF2B5EF4-FFF2-40B4-BE49-F238E27FC236}">
                <a16:creationId xmlns:a16="http://schemas.microsoft.com/office/drawing/2014/main" id="{3D5AD9F3-58E0-83DA-AC42-9B48A8D0B4E2}"/>
              </a:ext>
            </a:extLst>
          </p:cNvPr>
          <p:cNvSpPr>
            <a:spLocks noGrp="1"/>
          </p:cNvSpPr>
          <p:nvPr>
            <p:ph type="sldNum" sz="quarter" idx="17"/>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262745502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606C810-0437-BD3A-8BFC-453D90FF86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99" imgH="499" progId="TCLayout.ActiveDocument.1">
                  <p:embed/>
                </p:oleObj>
              </mc:Choice>
              <mc:Fallback>
                <p:oleObj name="think-cell Folie" r:id="rId3" imgW="499" imgH="499" progId="TCLayout.ActiveDocument.1">
                  <p:embed/>
                  <p:pic>
                    <p:nvPicPr>
                      <p:cNvPr id="2" name="Objekt 1" hidden="1">
                        <a:extLst>
                          <a:ext uri="{FF2B5EF4-FFF2-40B4-BE49-F238E27FC236}">
                            <a16:creationId xmlns:a16="http://schemas.microsoft.com/office/drawing/2014/main" id="{D606C810-0437-BD3A-8BFC-453D90FF86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a:extLst>
              <a:ext uri="{FF2B5EF4-FFF2-40B4-BE49-F238E27FC236}">
                <a16:creationId xmlns:a16="http://schemas.microsoft.com/office/drawing/2014/main" id="{A172BDE9-1824-93D8-0749-33391D44EAA4}"/>
              </a:ext>
            </a:extLst>
          </p:cNvPr>
          <p:cNvSpPr>
            <a:spLocks noGrp="1"/>
          </p:cNvSpPr>
          <p:nvPr>
            <p:ph type="dt" sz="half" idx="10"/>
          </p:nvPr>
        </p:nvSpPr>
        <p:spPr/>
        <p:txBody>
          <a:bodyPr/>
          <a:lstStyle/>
          <a:p>
            <a:fld id="{5AC2F586-3AF4-465A-9848-5980B91D516B}" type="datetime1">
              <a:rPr lang="en-US" noProof="0" smtClean="0"/>
              <a:t>10/31/2024</a:t>
            </a:fld>
            <a:endParaRPr lang="en-US" noProof="0"/>
          </a:p>
        </p:txBody>
      </p:sp>
      <p:sp>
        <p:nvSpPr>
          <p:cNvPr id="9" name="Footer Placeholder 8">
            <a:extLst>
              <a:ext uri="{FF2B5EF4-FFF2-40B4-BE49-F238E27FC236}">
                <a16:creationId xmlns:a16="http://schemas.microsoft.com/office/drawing/2014/main" id="{25308431-926E-21F2-CCE9-951EF9A8527E}"/>
              </a:ext>
            </a:extLst>
          </p:cNvPr>
          <p:cNvSpPr>
            <a:spLocks noGrp="1"/>
          </p:cNvSpPr>
          <p:nvPr>
            <p:ph type="ftr" sz="quarter" idx="11"/>
          </p:nvPr>
        </p:nvSpPr>
        <p:spPr/>
        <p:txBody>
          <a:bodyPr/>
          <a:lstStyle/>
          <a:p>
            <a:r>
              <a:rPr lang="en-US" noProof="0"/>
              <a:t>Group Presentation</a:t>
            </a:r>
          </a:p>
        </p:txBody>
      </p:sp>
      <p:sp>
        <p:nvSpPr>
          <p:cNvPr id="10" name="Slide Number Placeholder 9">
            <a:extLst>
              <a:ext uri="{FF2B5EF4-FFF2-40B4-BE49-F238E27FC236}">
                <a16:creationId xmlns:a16="http://schemas.microsoft.com/office/drawing/2014/main" id="{B7A4420C-188F-6A34-1B28-BFF3E63F63F4}"/>
              </a:ext>
            </a:extLst>
          </p:cNvPr>
          <p:cNvSpPr>
            <a:spLocks noGrp="1"/>
          </p:cNvSpPr>
          <p:nvPr>
            <p:ph type="sldNum" sz="quarter" idx="12"/>
          </p:nvPr>
        </p:nvSpPr>
        <p:spPr/>
        <p:txBody>
          <a:bodyPr/>
          <a:lstStyle/>
          <a:p>
            <a:fld id="{A115CDC9-74CB-4F6C-8CD3-A6C89F254EE7}" type="slidenum">
              <a:rPr lang="en-US" noProof="0" smtClean="0"/>
              <a:pPr/>
              <a:t>‹#›</a:t>
            </a:fld>
            <a:endParaRPr lang="en-US" noProof="0"/>
          </a:p>
        </p:txBody>
      </p:sp>
    </p:spTree>
    <p:extLst>
      <p:ext uri="{BB962C8B-B14F-4D97-AF65-F5344CB8AC3E}">
        <p14:creationId xmlns:p14="http://schemas.microsoft.com/office/powerpoint/2010/main" val="291849582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Highlight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B24ABB-D355-D0A9-EE49-77475477C7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ct 3" hidden="1">
                        <a:extLst>
                          <a:ext uri="{FF2B5EF4-FFF2-40B4-BE49-F238E27FC236}">
                            <a16:creationId xmlns:a16="http://schemas.microsoft.com/office/drawing/2014/main" id="{9AB24ABB-D355-D0A9-EE49-77475477C7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7">
            <a:extLst>
              <a:ext uri="{FF2B5EF4-FFF2-40B4-BE49-F238E27FC236}">
                <a16:creationId xmlns:a16="http://schemas.microsoft.com/office/drawing/2014/main" id="{B00BC411-3F23-E4AC-165F-A95A3DF97426}"/>
              </a:ext>
            </a:extLst>
          </p:cNvPr>
          <p:cNvSpPr>
            <a:spLocks noGrp="1"/>
          </p:cNvSpPr>
          <p:nvPr>
            <p:ph type="pic" sz="quarter" idx="36" hasCustomPrompt="1"/>
          </p:nvPr>
        </p:nvSpPr>
        <p:spPr>
          <a:xfrm>
            <a:off x="0" y="0"/>
            <a:ext cx="12192000" cy="6858000"/>
          </a:xfrm>
        </p:spPr>
        <p:txBody>
          <a:bodyPr/>
          <a:lstStyle>
            <a:lvl1pPr algn="l">
              <a:defRPr>
                <a:solidFill>
                  <a:schemeClr val="tx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5" name="Textplatzhalter 14">
            <a:extLst>
              <a:ext uri="{FF2B5EF4-FFF2-40B4-BE49-F238E27FC236}">
                <a16:creationId xmlns:a16="http://schemas.microsoft.com/office/drawing/2014/main" id="{EF4E716C-6A5C-2263-11CC-5E82F6E5B179}"/>
              </a:ext>
            </a:extLst>
          </p:cNvPr>
          <p:cNvSpPr>
            <a:spLocks noGrp="1" noChangeAspect="1"/>
          </p:cNvSpPr>
          <p:nvPr>
            <p:ph type="body" sz="quarter" idx="37" hasCustomPrompt="1"/>
          </p:nvPr>
        </p:nvSpPr>
        <p:spPr>
          <a:xfrm>
            <a:off x="6953250" y="1341438"/>
            <a:ext cx="4857750" cy="457200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14" name="Textplatzhalter 13">
            <a:extLst>
              <a:ext uri="{FF2B5EF4-FFF2-40B4-BE49-F238E27FC236}">
                <a16:creationId xmlns:a16="http://schemas.microsoft.com/office/drawing/2014/main" id="{CB3A63BB-B6EA-EE27-B2B3-B402C39B8E24}"/>
              </a:ext>
            </a:extLst>
          </p:cNvPr>
          <p:cNvSpPr>
            <a:spLocks noGrp="1"/>
          </p:cNvSpPr>
          <p:nvPr>
            <p:ph type="body" sz="quarter" idx="10" hasCustomPrompt="1"/>
          </p:nvPr>
        </p:nvSpPr>
        <p:spPr bwMode="gray">
          <a:xfrm>
            <a:off x="7394594" y="1692517"/>
            <a:ext cx="3637852" cy="375186"/>
          </a:xfrm>
        </p:spPr>
        <p:txBody>
          <a:bodyPr>
            <a:noAutofit/>
          </a:bodyPr>
          <a:lstStyle>
            <a:lvl1pPr marL="0" indent="0">
              <a:lnSpc>
                <a:spcPct val="90000"/>
              </a:lnSpc>
              <a:buFontTx/>
              <a:buNone/>
              <a:defRPr sz="1600" b="1">
                <a:solidFill>
                  <a:schemeClr val="bg1"/>
                </a:solidFill>
                <a:latin typeface="+mj-lt"/>
              </a:defRPr>
            </a:lvl1pPr>
            <a:lvl6pPr>
              <a:defRPr sz="2000">
                <a:solidFill>
                  <a:schemeClr val="bg1"/>
                </a:solidFill>
                <a:latin typeface="+mj-lt"/>
              </a:defRPr>
            </a:lvl6pPr>
          </a:lstStyle>
          <a:p>
            <a:pPr lvl="0"/>
            <a:r>
              <a:rPr lang="en-US" noProof="0"/>
              <a:t>Cross heading</a:t>
            </a:r>
          </a:p>
        </p:txBody>
      </p:sp>
      <p:sp>
        <p:nvSpPr>
          <p:cNvPr id="29" name="Titel 28">
            <a:extLst>
              <a:ext uri="{FF2B5EF4-FFF2-40B4-BE49-F238E27FC236}">
                <a16:creationId xmlns:a16="http://schemas.microsoft.com/office/drawing/2014/main" id="{5E990F99-D2E6-B9F1-B358-EFD39378068A}"/>
              </a:ext>
            </a:extLst>
          </p:cNvPr>
          <p:cNvSpPr>
            <a:spLocks noGrp="1"/>
          </p:cNvSpPr>
          <p:nvPr>
            <p:ph type="title" hasCustomPrompt="1"/>
          </p:nvPr>
        </p:nvSpPr>
        <p:spPr bwMode="gray"/>
        <p:txBody>
          <a:bodyPr vert="horz"/>
          <a:lstStyle>
            <a:lvl1pPr>
              <a:defRPr/>
            </a:lvl1pPr>
          </a:lstStyle>
          <a:p>
            <a:r>
              <a:rPr lang="en-US" noProof="0"/>
              <a:t>Slide heading</a:t>
            </a:r>
          </a:p>
        </p:txBody>
      </p:sp>
      <p:sp>
        <p:nvSpPr>
          <p:cNvPr id="3" name="Bildplatzhalter 19">
            <a:extLst>
              <a:ext uri="{FF2B5EF4-FFF2-40B4-BE49-F238E27FC236}">
                <a16:creationId xmlns:a16="http://schemas.microsoft.com/office/drawing/2014/main" id="{4C75A432-7C54-E494-5EE2-5BE6666F2F72}"/>
              </a:ext>
            </a:extLst>
          </p:cNvPr>
          <p:cNvSpPr>
            <a:spLocks noGrp="1"/>
          </p:cNvSpPr>
          <p:nvPr>
            <p:ph type="pic" sz="quarter" idx="22" hasCustomPrompt="1"/>
          </p:nvPr>
        </p:nvSpPr>
        <p:spPr bwMode="gray">
          <a:xfrm>
            <a:off x="1025514" y="6410506"/>
            <a:ext cx="1062384" cy="103295"/>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8" name="Textplatzhalter 13">
            <a:extLst>
              <a:ext uri="{FF2B5EF4-FFF2-40B4-BE49-F238E27FC236}">
                <a16:creationId xmlns:a16="http://schemas.microsoft.com/office/drawing/2014/main" id="{012BE1A2-F337-311F-BBD9-DA732D5CE92D}"/>
              </a:ext>
            </a:extLst>
          </p:cNvPr>
          <p:cNvSpPr>
            <a:spLocks noGrp="1"/>
          </p:cNvSpPr>
          <p:nvPr>
            <p:ph type="body" sz="quarter" idx="23" hasCustomPrompt="1"/>
          </p:nvPr>
        </p:nvSpPr>
        <p:spPr bwMode="gray">
          <a:xfrm>
            <a:off x="7394594" y="2067703"/>
            <a:ext cx="3637852" cy="3037762"/>
          </a:xfrm>
        </p:spPr>
        <p:txBody>
          <a:bodyPr tIns="0">
            <a:noAutofit/>
          </a:bodyPr>
          <a:lstStyle>
            <a:lvl1pPr marL="0" indent="0">
              <a:buFontTx/>
              <a:buNone/>
              <a:defRPr sz="1600">
                <a:solidFill>
                  <a:schemeClr val="bg1"/>
                </a:solidFill>
                <a:latin typeface="+mn-lt"/>
              </a:defRPr>
            </a:lvl1pPr>
            <a:lvl6pPr>
              <a:defRPr sz="2000">
                <a:solidFill>
                  <a:schemeClr val="bg1"/>
                </a:solidFill>
                <a:latin typeface="+mj-lt"/>
              </a:defRPr>
            </a:lvl6pPr>
          </a:lstStyle>
          <a:p>
            <a:pPr lvl="0"/>
            <a:r>
              <a:rPr lang="en-US" noProof="0"/>
              <a:t>Lorem ipsum dolor sit amet, consectetuer adipiscing elit. </a:t>
            </a:r>
          </a:p>
        </p:txBody>
      </p:sp>
      <p:sp>
        <p:nvSpPr>
          <p:cNvPr id="9" name="Textplatzhalter 3">
            <a:extLst>
              <a:ext uri="{FF2B5EF4-FFF2-40B4-BE49-F238E27FC236}">
                <a16:creationId xmlns:a16="http://schemas.microsoft.com/office/drawing/2014/main" id="{AEFD3118-E6B4-75FA-B813-6F8196BBE8FB}"/>
              </a:ext>
            </a:extLst>
          </p:cNvPr>
          <p:cNvSpPr>
            <a:spLocks noGrp="1"/>
          </p:cNvSpPr>
          <p:nvPr>
            <p:ph type="body" sz="quarter" idx="14" hasCustomPrompt="1"/>
          </p:nvPr>
        </p:nvSpPr>
        <p:spPr bwMode="gray">
          <a:xfrm>
            <a:off x="382588" y="265541"/>
            <a:ext cx="11419082" cy="136525"/>
          </a:xfrm>
        </p:spPr>
        <p:txBody>
          <a:bodyPr anchor="b" anchorCtr="0">
            <a:noAutofit/>
          </a:bodyPr>
          <a:lstStyle>
            <a:lvl1pPr marL="0" indent="0">
              <a:buNone/>
              <a:defRPr sz="1000">
                <a:solidFill>
                  <a:schemeClr val="tx2"/>
                </a:solidFill>
              </a:defRPr>
            </a:lvl1pPr>
          </a:lstStyle>
          <a:p>
            <a:pPr lvl="0"/>
            <a:r>
              <a:rPr lang="en-US" noProof="0"/>
              <a:t>Topline</a:t>
            </a:r>
          </a:p>
        </p:txBody>
      </p:sp>
      <p:sp>
        <p:nvSpPr>
          <p:cNvPr id="19" name="Date Placeholder 18">
            <a:extLst>
              <a:ext uri="{FF2B5EF4-FFF2-40B4-BE49-F238E27FC236}">
                <a16:creationId xmlns:a16="http://schemas.microsoft.com/office/drawing/2014/main" id="{C4880F0F-CB66-51E1-3AA3-BBFD856B49A2}"/>
              </a:ext>
            </a:extLst>
          </p:cNvPr>
          <p:cNvSpPr>
            <a:spLocks noGrp="1"/>
          </p:cNvSpPr>
          <p:nvPr>
            <p:ph type="dt" sz="half" idx="25"/>
          </p:nvPr>
        </p:nvSpPr>
        <p:spPr bwMode="gray"/>
        <p:txBody>
          <a:bodyPr/>
          <a:lstStyle/>
          <a:p>
            <a:fld id="{BCDAA725-5E1E-4319-A00F-C08F3CEA8618}" type="datetime1">
              <a:rPr lang="en-US" noProof="0" smtClean="0"/>
              <a:t>10/31/2024</a:t>
            </a:fld>
            <a:endParaRPr lang="en-US" noProof="0"/>
          </a:p>
        </p:txBody>
      </p:sp>
      <p:sp>
        <p:nvSpPr>
          <p:cNvPr id="20" name="Footer Placeholder 19">
            <a:extLst>
              <a:ext uri="{FF2B5EF4-FFF2-40B4-BE49-F238E27FC236}">
                <a16:creationId xmlns:a16="http://schemas.microsoft.com/office/drawing/2014/main" id="{7FACA8E5-B90A-DEE0-F9F4-EA34619D1183}"/>
              </a:ext>
            </a:extLst>
          </p:cNvPr>
          <p:cNvSpPr>
            <a:spLocks noGrp="1"/>
          </p:cNvSpPr>
          <p:nvPr>
            <p:ph type="ftr" sz="quarter" idx="26"/>
          </p:nvPr>
        </p:nvSpPr>
        <p:spPr bwMode="gray"/>
        <p:txBody>
          <a:bodyPr/>
          <a:lstStyle/>
          <a:p>
            <a:r>
              <a:rPr lang="en-US" noProof="0"/>
              <a:t>Group Presentation</a:t>
            </a:r>
          </a:p>
        </p:txBody>
      </p:sp>
      <p:sp>
        <p:nvSpPr>
          <p:cNvPr id="21" name="Slide Number Placeholder 20">
            <a:extLst>
              <a:ext uri="{FF2B5EF4-FFF2-40B4-BE49-F238E27FC236}">
                <a16:creationId xmlns:a16="http://schemas.microsoft.com/office/drawing/2014/main" id="{B99E1411-BEEC-9627-4C7A-F19D4A2BEF9F}"/>
              </a:ext>
            </a:extLst>
          </p:cNvPr>
          <p:cNvSpPr>
            <a:spLocks noGrp="1"/>
          </p:cNvSpPr>
          <p:nvPr>
            <p:ph type="sldNum" sz="quarter" idx="27"/>
          </p:nvPr>
        </p:nvSpPr>
        <p:spPr bwMode="gray"/>
        <p:txBody>
          <a:bodyPr/>
          <a:lstStyle/>
          <a:p>
            <a:fld id="{A115CDC9-74CB-4F6C-8CD3-A6C89F254EE7}" type="slidenum">
              <a:rPr lang="en-US" noProof="0" smtClean="0"/>
              <a:pPr/>
              <a:t>‹#›</a:t>
            </a:fld>
            <a:endParaRPr lang="en-US" noProof="0"/>
          </a:p>
        </p:txBody>
      </p:sp>
      <p:sp>
        <p:nvSpPr>
          <p:cNvPr id="2" name="Text Placeholder 7">
            <a:extLst>
              <a:ext uri="{FF2B5EF4-FFF2-40B4-BE49-F238E27FC236}">
                <a16:creationId xmlns:a16="http://schemas.microsoft.com/office/drawing/2014/main" id="{A1B7D28D-435A-45D3-D2E3-06BC77D49A4C}"/>
              </a:ext>
            </a:extLst>
          </p:cNvPr>
          <p:cNvSpPr>
            <a:spLocks noGrp="1" noChangeAspect="1"/>
          </p:cNvSpPr>
          <p:nvPr>
            <p:ph type="body" sz="quarter" idx="35" hasCustomPrompt="1"/>
          </p:nvPr>
        </p:nvSpPr>
        <p:spPr>
          <a:xfrm>
            <a:off x="11523000" y="6201700"/>
            <a:ext cx="288000" cy="288000"/>
          </a:xfrm>
          <a:blipFill>
            <a:blip r:embed="rId8"/>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325062615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Key messages 1">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51EC0EF-3B5C-A574-21DA-24BBC9DE1B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1" name="Object 10" hidden="1">
                        <a:extLst>
                          <a:ext uri="{FF2B5EF4-FFF2-40B4-BE49-F238E27FC236}">
                            <a16:creationId xmlns:a16="http://schemas.microsoft.com/office/drawing/2014/main" id="{D51EC0EF-3B5C-A574-21DA-24BBC9DE1B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grpSp>
        <p:nvGrpSpPr>
          <p:cNvPr id="19" name="object 8">
            <a:extLst>
              <a:ext uri="{FF2B5EF4-FFF2-40B4-BE49-F238E27FC236}">
                <a16:creationId xmlns:a16="http://schemas.microsoft.com/office/drawing/2014/main" id="{B08133C7-62F4-2197-0A1B-6918494C178F}"/>
              </a:ext>
            </a:extLst>
          </p:cNvPr>
          <p:cNvGrpSpPr>
            <a:grpSpLocks noChangeAspect="1"/>
          </p:cNvGrpSpPr>
          <p:nvPr/>
        </p:nvGrpSpPr>
        <p:grpSpPr bwMode="gray">
          <a:xfrm>
            <a:off x="11523000" y="6201700"/>
            <a:ext cx="288000" cy="288000"/>
            <a:chOff x="18934851" y="10156759"/>
            <a:chExt cx="523875" cy="523875"/>
          </a:xfrm>
        </p:grpSpPr>
        <p:sp>
          <p:nvSpPr>
            <p:cNvPr id="24" name="object 9">
              <a:extLst>
                <a:ext uri="{FF2B5EF4-FFF2-40B4-BE49-F238E27FC236}">
                  <a16:creationId xmlns:a16="http://schemas.microsoft.com/office/drawing/2014/main" id="{91607325-ECDA-5A9D-D5ED-87FC82253497}"/>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26" name="object 10">
              <a:extLst>
                <a:ext uri="{FF2B5EF4-FFF2-40B4-BE49-F238E27FC236}">
                  <a16:creationId xmlns:a16="http://schemas.microsoft.com/office/drawing/2014/main" id="{4D1BC8E8-509E-E8C2-8F96-92FF0CC5ABF5}"/>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27" name="object 11">
              <a:extLst>
                <a:ext uri="{FF2B5EF4-FFF2-40B4-BE49-F238E27FC236}">
                  <a16:creationId xmlns:a16="http://schemas.microsoft.com/office/drawing/2014/main" id="{C1701DE8-E408-F071-1863-64F262546DE0}"/>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3" name="Titel 2">
            <a:extLst>
              <a:ext uri="{FF2B5EF4-FFF2-40B4-BE49-F238E27FC236}">
                <a16:creationId xmlns:a16="http://schemas.microsoft.com/office/drawing/2014/main" id="{9C43D2FD-0155-0953-79ED-FFE947D0A6CE}"/>
              </a:ext>
            </a:extLst>
          </p:cNvPr>
          <p:cNvSpPr>
            <a:spLocks noGrp="1"/>
          </p:cNvSpPr>
          <p:nvPr>
            <p:ph type="title" hasCustomPrompt="1"/>
          </p:nvPr>
        </p:nvSpPr>
        <p:spPr bwMode="gray">
          <a:xfrm>
            <a:off x="386459" y="540561"/>
            <a:ext cx="4838004" cy="283219"/>
          </a:xfrm>
        </p:spPr>
        <p:txBody>
          <a:bodyPr vert="horz"/>
          <a:lstStyle>
            <a:lvl1pPr>
              <a:defRPr>
                <a:solidFill>
                  <a:schemeClr val="bg1"/>
                </a:solidFill>
              </a:defRPr>
            </a:lvl1pPr>
          </a:lstStyle>
          <a:p>
            <a:r>
              <a:rPr lang="en-US" noProof="0"/>
              <a:t>Slide heading</a:t>
            </a:r>
          </a:p>
        </p:txBody>
      </p:sp>
      <p:sp>
        <p:nvSpPr>
          <p:cNvPr id="4" name="Inhaltsplatzhalter 2">
            <a:extLst>
              <a:ext uri="{FF2B5EF4-FFF2-40B4-BE49-F238E27FC236}">
                <a16:creationId xmlns:a16="http://schemas.microsoft.com/office/drawing/2014/main" id="{47F19C68-1EAE-C615-A117-F18BA4B7E5C1}"/>
              </a:ext>
            </a:extLst>
          </p:cNvPr>
          <p:cNvSpPr>
            <a:spLocks noGrp="1"/>
          </p:cNvSpPr>
          <p:nvPr>
            <p:ph idx="1" hasCustomPrompt="1"/>
          </p:nvPr>
        </p:nvSpPr>
        <p:spPr bwMode="gray">
          <a:xfrm>
            <a:off x="386459" y="1341437"/>
            <a:ext cx="4838004" cy="4571999"/>
          </a:xfrm>
        </p:spPr>
        <p:txBody>
          <a:bodyPr>
            <a:noAutofit/>
          </a:bodyPr>
          <a:lstStyle>
            <a:lvl1pPr>
              <a:defRPr sz="1600" b="1">
                <a:solidFill>
                  <a:schemeClr val="bg1"/>
                </a:solidFill>
                <a:latin typeface="+mn-lt"/>
              </a:defRPr>
            </a:lvl1pPr>
            <a:lvl2pPr>
              <a:defRPr sz="1600"/>
            </a:lvl2pPr>
            <a:lvl3pPr>
              <a:defRPr sz="1600"/>
            </a:lvl3pPr>
            <a:lvl4pPr>
              <a:defRPr sz="1600"/>
            </a:lvl4pPr>
            <a:lvl5pPr>
              <a:defRPr sz="1600"/>
            </a:lvl5pPr>
            <a:lvl6pPr marL="0" indent="0">
              <a:buFontTx/>
              <a:buNone/>
              <a:defRPr sz="1600"/>
            </a:lvl6pPr>
          </a:lstStyle>
          <a:p>
            <a:pPr lvl="0"/>
            <a:r>
              <a:rPr lang="en-US" noProof="0"/>
              <a:t>Lorem ipsum dolor sit amet, consectetuer adipiscing elit. Maecenas porttitor congue massa. Fusce posuere, magna sed pulvinar ultricies, purus lectus malesuada libero, sit amet commodo magna eros quis urna.</a:t>
            </a:r>
          </a:p>
          <a:p>
            <a:pPr lvl="0"/>
            <a:endParaRPr lang="en-US" noProof="0"/>
          </a:p>
        </p:txBody>
      </p:sp>
      <p:sp>
        <p:nvSpPr>
          <p:cNvPr id="12" name="Textplatzhalter 3">
            <a:extLst>
              <a:ext uri="{FF2B5EF4-FFF2-40B4-BE49-F238E27FC236}">
                <a16:creationId xmlns:a16="http://schemas.microsoft.com/office/drawing/2014/main" id="{89B3C9A3-7326-6535-D16A-3475569EFCA0}"/>
              </a:ext>
            </a:extLst>
          </p:cNvPr>
          <p:cNvSpPr>
            <a:spLocks noGrp="1"/>
          </p:cNvSpPr>
          <p:nvPr>
            <p:ph type="body" sz="quarter" idx="14" hasCustomPrompt="1"/>
          </p:nvPr>
        </p:nvSpPr>
        <p:spPr bwMode="gray">
          <a:xfrm>
            <a:off x="382587" y="265541"/>
            <a:ext cx="4838004" cy="136525"/>
          </a:xfrm>
        </p:spPr>
        <p:txBody>
          <a:bodyPr anchor="b" anchorCtr="0">
            <a:noAutofit/>
          </a:bodyPr>
          <a:lstStyle>
            <a:lvl1pPr marL="0" indent="0">
              <a:buNone/>
              <a:defRPr sz="1000">
                <a:solidFill>
                  <a:schemeClr val="bg1"/>
                </a:solidFill>
              </a:defRPr>
            </a:lvl1pPr>
          </a:lstStyle>
          <a:p>
            <a:pPr lvl="0"/>
            <a:r>
              <a:rPr lang="en-US" noProof="0"/>
              <a:t>Topline</a:t>
            </a:r>
          </a:p>
        </p:txBody>
      </p:sp>
      <p:sp>
        <p:nvSpPr>
          <p:cNvPr id="16" name="Date Placeholder 15">
            <a:extLst>
              <a:ext uri="{FF2B5EF4-FFF2-40B4-BE49-F238E27FC236}">
                <a16:creationId xmlns:a16="http://schemas.microsoft.com/office/drawing/2014/main" id="{8861C867-F64F-FD09-643F-923839A7602C}"/>
              </a:ext>
            </a:extLst>
          </p:cNvPr>
          <p:cNvSpPr>
            <a:spLocks noGrp="1"/>
          </p:cNvSpPr>
          <p:nvPr>
            <p:ph type="dt" sz="half" idx="36"/>
          </p:nvPr>
        </p:nvSpPr>
        <p:spPr bwMode="gray"/>
        <p:txBody>
          <a:bodyPr/>
          <a:lstStyle>
            <a:lvl1pPr>
              <a:defRPr>
                <a:solidFill>
                  <a:schemeClr val="bg1"/>
                </a:solidFill>
              </a:defRPr>
            </a:lvl1pPr>
          </a:lstStyle>
          <a:p>
            <a:fld id="{A00B45C4-AD4E-45DB-80B9-9EDAE3B64907}" type="datetime1">
              <a:rPr lang="en-US" noProof="0" smtClean="0"/>
              <a:t>10/31/2024</a:t>
            </a:fld>
            <a:endParaRPr lang="en-US" noProof="0"/>
          </a:p>
        </p:txBody>
      </p:sp>
      <p:sp>
        <p:nvSpPr>
          <p:cNvPr id="17" name="Footer Placeholder 16">
            <a:extLst>
              <a:ext uri="{FF2B5EF4-FFF2-40B4-BE49-F238E27FC236}">
                <a16:creationId xmlns:a16="http://schemas.microsoft.com/office/drawing/2014/main" id="{1804ECAA-19CF-86AE-BED2-90C1314D7CEA}"/>
              </a:ext>
            </a:extLst>
          </p:cNvPr>
          <p:cNvSpPr>
            <a:spLocks noGrp="1"/>
          </p:cNvSpPr>
          <p:nvPr>
            <p:ph type="ftr" sz="quarter" idx="37"/>
          </p:nvPr>
        </p:nvSpPr>
        <p:spPr bwMode="gray"/>
        <p:txBody>
          <a:bodyPr/>
          <a:lstStyle>
            <a:lvl1pPr>
              <a:defRPr>
                <a:solidFill>
                  <a:schemeClr val="bg1"/>
                </a:solidFill>
              </a:defRPr>
            </a:lvl1pPr>
          </a:lstStyle>
          <a:p>
            <a:r>
              <a:rPr lang="en-US" noProof="0"/>
              <a:t>Group Presentation</a:t>
            </a:r>
          </a:p>
        </p:txBody>
      </p:sp>
      <p:sp>
        <p:nvSpPr>
          <p:cNvPr id="18" name="Slide Number Placeholder 17">
            <a:extLst>
              <a:ext uri="{FF2B5EF4-FFF2-40B4-BE49-F238E27FC236}">
                <a16:creationId xmlns:a16="http://schemas.microsoft.com/office/drawing/2014/main" id="{8AF8704E-6EB0-1481-0229-46A7145CC79A}"/>
              </a:ext>
            </a:extLst>
          </p:cNvPr>
          <p:cNvSpPr>
            <a:spLocks noGrp="1"/>
          </p:cNvSpPr>
          <p:nvPr>
            <p:ph type="sldNum" sz="quarter" idx="38"/>
          </p:nvPr>
        </p:nvSpPr>
        <p:spPr bwMode="gray"/>
        <p:txBody>
          <a:bodyPr/>
          <a:lstStyle>
            <a:lvl1pPr>
              <a:defRPr>
                <a:solidFill>
                  <a:schemeClr val="bg1"/>
                </a:solidFill>
              </a:defRPr>
            </a:lvl1pPr>
          </a:lstStyle>
          <a:p>
            <a:fld id="{A115CDC9-74CB-4F6C-8CD3-A6C89F254EE7}" type="slidenum">
              <a:rPr lang="en-US" noProof="0" smtClean="0"/>
              <a:pPr/>
              <a:t>‹#›</a:t>
            </a:fld>
            <a:endParaRPr lang="en-US" noProof="0"/>
          </a:p>
        </p:txBody>
      </p:sp>
      <p:sp>
        <p:nvSpPr>
          <p:cNvPr id="5" name="Bildplatzhalter 19">
            <a:extLst>
              <a:ext uri="{FF2B5EF4-FFF2-40B4-BE49-F238E27FC236}">
                <a16:creationId xmlns:a16="http://schemas.microsoft.com/office/drawing/2014/main" id="{A171EABD-2926-72D9-A8EE-2C941C0E44AA}"/>
              </a:ext>
            </a:extLst>
          </p:cNvPr>
          <p:cNvSpPr>
            <a:spLocks noGrp="1"/>
          </p:cNvSpPr>
          <p:nvPr>
            <p:ph type="pic" sz="quarter" idx="39"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20" name="Bildplatzhalter 19">
            <a:extLst>
              <a:ext uri="{FF2B5EF4-FFF2-40B4-BE49-F238E27FC236}">
                <a16:creationId xmlns:a16="http://schemas.microsoft.com/office/drawing/2014/main" id="{0214F31A-2650-B932-30E3-6AD9839D7098}"/>
              </a:ext>
            </a:extLst>
          </p:cNvPr>
          <p:cNvSpPr>
            <a:spLocks noGrp="1"/>
          </p:cNvSpPr>
          <p:nvPr>
            <p:ph type="pic" sz="quarter" idx="40"/>
          </p:nvPr>
        </p:nvSpPr>
        <p:spPr>
          <a:xfrm>
            <a:off x="6192838" y="0"/>
            <a:ext cx="5999162" cy="5913438"/>
          </a:xfrm>
          <a:custGeom>
            <a:avLst/>
            <a:gdLst>
              <a:gd name="connsiteX0" fmla="*/ 0 w 5999162"/>
              <a:gd name="connsiteY0" fmla="*/ 0 h 5913438"/>
              <a:gd name="connsiteX1" fmla="*/ 5999162 w 5999162"/>
              <a:gd name="connsiteY1" fmla="*/ 0 h 5913438"/>
              <a:gd name="connsiteX2" fmla="*/ 5999162 w 5999162"/>
              <a:gd name="connsiteY2" fmla="*/ 5913438 h 5913438"/>
              <a:gd name="connsiteX3" fmla="*/ 1305628 w 5999162"/>
              <a:gd name="connsiteY3" fmla="*/ 5913438 h 5913438"/>
              <a:gd name="connsiteX4" fmla="*/ 0 w 5999162"/>
              <a:gd name="connsiteY4" fmla="*/ 4607810 h 5913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9162" h="5913438">
                <a:moveTo>
                  <a:pt x="0" y="0"/>
                </a:moveTo>
                <a:lnTo>
                  <a:pt x="5999162" y="0"/>
                </a:lnTo>
                <a:lnTo>
                  <a:pt x="5999162" y="5913438"/>
                </a:lnTo>
                <a:lnTo>
                  <a:pt x="1305628" y="5913438"/>
                </a:lnTo>
                <a:cubicBezTo>
                  <a:pt x="584550" y="5913438"/>
                  <a:pt x="0" y="5328888"/>
                  <a:pt x="0" y="4607810"/>
                </a:cubicBezTo>
                <a:close/>
              </a:path>
            </a:pathLst>
          </a:custGeom>
        </p:spPr>
        <p:txBody>
          <a:bodyPr wrap="square">
            <a:noAutofit/>
          </a:bodyPr>
          <a:lstStyle>
            <a:lvl1pPr>
              <a:defRPr>
                <a:solidFill>
                  <a:schemeClr val="bg1"/>
                </a:solidFill>
              </a:defRPr>
            </a:lvl1p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de-DE" noProof="0"/>
              <a:t>Bild durch Klicken auf Symbol hinzufügen</a:t>
            </a:r>
            <a:endParaRPr lang="en-US"/>
          </a:p>
        </p:txBody>
      </p:sp>
    </p:spTree>
    <p:extLst>
      <p:ext uri="{BB962C8B-B14F-4D97-AF65-F5344CB8AC3E}">
        <p14:creationId xmlns:p14="http://schemas.microsoft.com/office/powerpoint/2010/main" val="151913455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Key messages 2">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51EC0EF-3B5C-A574-21DA-24BBC9DE1B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1" name="Object 10" hidden="1">
                        <a:extLst>
                          <a:ext uri="{FF2B5EF4-FFF2-40B4-BE49-F238E27FC236}">
                            <a16:creationId xmlns:a16="http://schemas.microsoft.com/office/drawing/2014/main" id="{D51EC0EF-3B5C-A574-21DA-24BBC9DE1B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7">
            <a:extLst>
              <a:ext uri="{FF2B5EF4-FFF2-40B4-BE49-F238E27FC236}">
                <a16:creationId xmlns:a16="http://schemas.microsoft.com/office/drawing/2014/main" id="{E352819E-ABC6-4358-1106-D59378A29649}"/>
              </a:ext>
            </a:extLst>
          </p:cNvPr>
          <p:cNvSpPr>
            <a:spLocks noGrp="1"/>
          </p:cNvSpPr>
          <p:nvPr>
            <p:ph type="pic" sz="quarter" idx="36" hasCustomPrompt="1"/>
          </p:nvPr>
        </p:nvSpPr>
        <p:spPr>
          <a:xfrm>
            <a:off x="0" y="0"/>
            <a:ext cx="12192000" cy="6858000"/>
          </a:xfrm>
          <a:noFill/>
        </p:spPr>
        <p:txBody>
          <a:bodyPr/>
          <a:lstStyle>
            <a:lvl1pPr algn="r">
              <a:defRPr>
                <a:solidFill>
                  <a:schemeClr val="tx1"/>
                </a:solidFill>
              </a:defRPr>
            </a:lvl1pPr>
          </a:lstStyle>
          <a:p>
            <a:pPr marL="0" marR="0" lvl="0" indent="0" algn="r"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7" name="Textplatzhalter 16">
            <a:extLst>
              <a:ext uri="{FF2B5EF4-FFF2-40B4-BE49-F238E27FC236}">
                <a16:creationId xmlns:a16="http://schemas.microsoft.com/office/drawing/2014/main" id="{B8A171A1-0DC6-532F-037F-F9D3F3B20C69}"/>
              </a:ext>
            </a:extLst>
          </p:cNvPr>
          <p:cNvSpPr>
            <a:spLocks noGrp="1"/>
          </p:cNvSpPr>
          <p:nvPr>
            <p:ph type="body" sz="quarter" idx="44" hasCustomPrompt="1"/>
          </p:nvPr>
        </p:nvSpPr>
        <p:spPr>
          <a:xfrm>
            <a:off x="-3136" y="-11151"/>
            <a:ext cx="5987973" cy="5913438"/>
          </a:xfrm>
          <a:blipFill>
            <a:blip r:embed="rId5">
              <a:extLst>
                <a:ext uri="{96DAC541-7B7A-43D3-8B79-37D633B846F1}">
                  <asvg:svgBlip xmlns:asvg="http://schemas.microsoft.com/office/drawing/2016/SVG/main" r:embed="rId6"/>
                </a:ext>
              </a:extLst>
            </a:blip>
            <a:stretch>
              <a:fillRect/>
            </a:stretch>
          </a:blipFill>
        </p:spPr>
        <p:txBody>
          <a:bodyPr/>
          <a:lstStyle>
            <a:lvl1pPr>
              <a:defRPr/>
            </a:lvl1pPr>
          </a:lstStyle>
          <a:p>
            <a:pPr lvl="0"/>
            <a:r>
              <a:rPr lang="en-US"/>
              <a:t> </a:t>
            </a:r>
          </a:p>
        </p:txBody>
      </p:sp>
      <p:sp>
        <p:nvSpPr>
          <p:cNvPr id="4" name="Inhaltsplatzhalter 2">
            <a:extLst>
              <a:ext uri="{FF2B5EF4-FFF2-40B4-BE49-F238E27FC236}">
                <a16:creationId xmlns:a16="http://schemas.microsoft.com/office/drawing/2014/main" id="{47F19C68-1EAE-C615-A117-F18BA4B7E5C1}"/>
              </a:ext>
            </a:extLst>
          </p:cNvPr>
          <p:cNvSpPr>
            <a:spLocks noGrp="1"/>
          </p:cNvSpPr>
          <p:nvPr>
            <p:ph idx="1" hasCustomPrompt="1"/>
          </p:nvPr>
        </p:nvSpPr>
        <p:spPr bwMode="gray">
          <a:xfrm>
            <a:off x="386459" y="1341438"/>
            <a:ext cx="4838004" cy="4572000"/>
          </a:xfrm>
        </p:spPr>
        <p:txBody>
          <a:bodyPr>
            <a:noAutofit/>
          </a:bodyPr>
          <a:lstStyle>
            <a:lvl1pPr>
              <a:defRPr sz="1600" b="1">
                <a:solidFill>
                  <a:schemeClr val="bg1"/>
                </a:solidFill>
                <a:latin typeface="+mn-lt"/>
              </a:defRPr>
            </a:lvl1pPr>
            <a:lvl2pPr>
              <a:defRPr sz="1600"/>
            </a:lvl2pPr>
            <a:lvl3pPr>
              <a:defRPr sz="1600"/>
            </a:lvl3pPr>
            <a:lvl4pPr>
              <a:defRPr sz="1600"/>
            </a:lvl4pPr>
            <a:lvl5pPr>
              <a:defRPr sz="1600"/>
            </a:lvl5pPr>
            <a:lvl6pPr marL="0" indent="0">
              <a:buFontTx/>
              <a:buNone/>
              <a:defRPr sz="1600"/>
            </a:lvl6pPr>
          </a:lstStyle>
          <a:p>
            <a:pPr lvl="0"/>
            <a:r>
              <a:rPr lang="en-US" noProof="0"/>
              <a:t>Lorem ipsum dolor sit amet, consectetuer adipiscing elit. Maecenas porttitor congue massa. Fusce posuere, magna sed pulvinar ultricies, purus lectus malesuada libero, sit amet commodo magna eros quis urna.</a:t>
            </a:r>
          </a:p>
          <a:p>
            <a:pPr lvl="0"/>
            <a:endParaRPr lang="en-US" noProof="0"/>
          </a:p>
        </p:txBody>
      </p:sp>
      <p:sp>
        <p:nvSpPr>
          <p:cNvPr id="7" name="Title 6">
            <a:extLst>
              <a:ext uri="{FF2B5EF4-FFF2-40B4-BE49-F238E27FC236}">
                <a16:creationId xmlns:a16="http://schemas.microsoft.com/office/drawing/2014/main" id="{DBC0DD27-114C-DDAE-A24F-D30CE00169D5}"/>
              </a:ext>
            </a:extLst>
          </p:cNvPr>
          <p:cNvSpPr>
            <a:spLocks noGrp="1"/>
          </p:cNvSpPr>
          <p:nvPr>
            <p:ph type="title" hasCustomPrompt="1"/>
          </p:nvPr>
        </p:nvSpPr>
        <p:spPr bwMode="gray">
          <a:xfrm>
            <a:off x="386459" y="539778"/>
            <a:ext cx="4838004" cy="283219"/>
          </a:xfrm>
        </p:spPr>
        <p:txBody>
          <a:bodyPr vert="horz"/>
          <a:lstStyle>
            <a:lvl1pPr>
              <a:defRPr>
                <a:solidFill>
                  <a:schemeClr val="bg1"/>
                </a:solidFill>
              </a:defRPr>
            </a:lvl1pPr>
          </a:lstStyle>
          <a:p>
            <a:r>
              <a:rPr lang="en-US" noProof="0"/>
              <a:t>Slide heading</a:t>
            </a:r>
          </a:p>
        </p:txBody>
      </p:sp>
      <p:sp>
        <p:nvSpPr>
          <p:cNvPr id="2" name="Textplatzhalter 3">
            <a:extLst>
              <a:ext uri="{FF2B5EF4-FFF2-40B4-BE49-F238E27FC236}">
                <a16:creationId xmlns:a16="http://schemas.microsoft.com/office/drawing/2014/main" id="{98E6F30E-C587-42D4-20C1-1CFEBFEDD66A}"/>
              </a:ext>
            </a:extLst>
          </p:cNvPr>
          <p:cNvSpPr>
            <a:spLocks noGrp="1"/>
          </p:cNvSpPr>
          <p:nvPr>
            <p:ph type="body" sz="quarter" idx="14" hasCustomPrompt="1"/>
          </p:nvPr>
        </p:nvSpPr>
        <p:spPr bwMode="gray">
          <a:xfrm>
            <a:off x="382588" y="265541"/>
            <a:ext cx="4838004" cy="136525"/>
          </a:xfrm>
        </p:spPr>
        <p:txBody>
          <a:bodyPr anchor="b" anchorCtr="0">
            <a:noAutofit/>
          </a:bodyPr>
          <a:lstStyle>
            <a:lvl1pPr marL="0" indent="0">
              <a:buNone/>
              <a:defRPr sz="1000">
                <a:solidFill>
                  <a:schemeClr val="bg1"/>
                </a:solidFill>
              </a:defRPr>
            </a:lvl1pPr>
          </a:lstStyle>
          <a:p>
            <a:pPr lvl="0"/>
            <a:r>
              <a:rPr lang="en-US" noProof="0"/>
              <a:t>Topline</a:t>
            </a:r>
          </a:p>
        </p:txBody>
      </p:sp>
      <p:sp>
        <p:nvSpPr>
          <p:cNvPr id="19" name="Date Placeholder 18">
            <a:extLst>
              <a:ext uri="{FF2B5EF4-FFF2-40B4-BE49-F238E27FC236}">
                <a16:creationId xmlns:a16="http://schemas.microsoft.com/office/drawing/2014/main" id="{3B511F25-4227-D392-D30A-77594980A722}"/>
              </a:ext>
            </a:extLst>
          </p:cNvPr>
          <p:cNvSpPr>
            <a:spLocks noGrp="1"/>
          </p:cNvSpPr>
          <p:nvPr>
            <p:ph type="dt" sz="half" idx="37"/>
          </p:nvPr>
        </p:nvSpPr>
        <p:spPr bwMode="gray"/>
        <p:txBody>
          <a:bodyPr/>
          <a:lstStyle>
            <a:lvl1pPr>
              <a:defRPr>
                <a:solidFill>
                  <a:schemeClr val="bg1"/>
                </a:solidFill>
              </a:defRPr>
            </a:lvl1pPr>
          </a:lstStyle>
          <a:p>
            <a:fld id="{4DC65EAF-7143-4BA8-8369-5997B82DD6D9}" type="datetime1">
              <a:rPr lang="en-US" noProof="0" smtClean="0"/>
              <a:t>10/31/2024</a:t>
            </a:fld>
            <a:endParaRPr lang="en-US" noProof="0"/>
          </a:p>
        </p:txBody>
      </p:sp>
      <p:sp>
        <p:nvSpPr>
          <p:cNvPr id="20" name="Footer Placeholder 19">
            <a:extLst>
              <a:ext uri="{FF2B5EF4-FFF2-40B4-BE49-F238E27FC236}">
                <a16:creationId xmlns:a16="http://schemas.microsoft.com/office/drawing/2014/main" id="{1A11871C-9E7F-6D51-815E-03231CC4DEBF}"/>
              </a:ext>
            </a:extLst>
          </p:cNvPr>
          <p:cNvSpPr>
            <a:spLocks noGrp="1"/>
          </p:cNvSpPr>
          <p:nvPr>
            <p:ph type="ftr" sz="quarter" idx="38"/>
          </p:nvPr>
        </p:nvSpPr>
        <p:spPr bwMode="gray"/>
        <p:txBody>
          <a:bodyPr/>
          <a:lstStyle>
            <a:lvl1pPr>
              <a:defRPr>
                <a:solidFill>
                  <a:schemeClr val="bg1"/>
                </a:solidFill>
              </a:defRPr>
            </a:lvl1pPr>
          </a:lstStyle>
          <a:p>
            <a:r>
              <a:rPr lang="en-US" noProof="0"/>
              <a:t>Group Presentation</a:t>
            </a:r>
          </a:p>
        </p:txBody>
      </p:sp>
      <p:sp>
        <p:nvSpPr>
          <p:cNvPr id="21" name="Slide Number Placeholder 20">
            <a:extLst>
              <a:ext uri="{FF2B5EF4-FFF2-40B4-BE49-F238E27FC236}">
                <a16:creationId xmlns:a16="http://schemas.microsoft.com/office/drawing/2014/main" id="{61E346A6-1557-C4E8-55FC-4385179FF757}"/>
              </a:ext>
            </a:extLst>
          </p:cNvPr>
          <p:cNvSpPr>
            <a:spLocks noGrp="1"/>
          </p:cNvSpPr>
          <p:nvPr>
            <p:ph type="sldNum" sz="quarter" idx="39"/>
          </p:nvPr>
        </p:nvSpPr>
        <p:spPr bwMode="gray"/>
        <p:txBody>
          <a:bodyPr/>
          <a:lstStyle>
            <a:lvl1pPr>
              <a:defRPr>
                <a:solidFill>
                  <a:schemeClr val="bg1"/>
                </a:solidFill>
              </a:defRPr>
            </a:lvl1pPr>
          </a:lstStyle>
          <a:p>
            <a:fld id="{A115CDC9-74CB-4F6C-8CD3-A6C89F254EE7}" type="slidenum">
              <a:rPr lang="en-US" noProof="0" smtClean="0"/>
              <a:pPr/>
              <a:t>‹#›</a:t>
            </a:fld>
            <a:endParaRPr lang="en-US" noProof="0"/>
          </a:p>
        </p:txBody>
      </p:sp>
      <p:sp>
        <p:nvSpPr>
          <p:cNvPr id="6" name="Bildplatzhalter 19">
            <a:extLst>
              <a:ext uri="{FF2B5EF4-FFF2-40B4-BE49-F238E27FC236}">
                <a16:creationId xmlns:a16="http://schemas.microsoft.com/office/drawing/2014/main" id="{058959EE-C3C4-2D61-D00B-F4179AF53E41}"/>
              </a:ext>
            </a:extLst>
          </p:cNvPr>
          <p:cNvSpPr>
            <a:spLocks noGrp="1"/>
          </p:cNvSpPr>
          <p:nvPr>
            <p:ph type="pic" sz="quarter" idx="43" hasCustomPrompt="1"/>
          </p:nvPr>
        </p:nvSpPr>
        <p:spPr bwMode="gray">
          <a:xfrm>
            <a:off x="1025514" y="6410506"/>
            <a:ext cx="1062384" cy="103295"/>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3" name="Text Placeholder 9">
            <a:extLst>
              <a:ext uri="{FF2B5EF4-FFF2-40B4-BE49-F238E27FC236}">
                <a16:creationId xmlns:a16="http://schemas.microsoft.com/office/drawing/2014/main" id="{E32BCDD6-C35F-F7E9-0084-D4DF4B404F17}"/>
              </a:ext>
            </a:extLst>
          </p:cNvPr>
          <p:cNvSpPr>
            <a:spLocks noGrp="1" noChangeAspect="1"/>
          </p:cNvSpPr>
          <p:nvPr>
            <p:ph type="body" sz="quarter" idx="19" hasCustomPrompt="1"/>
          </p:nvPr>
        </p:nvSpPr>
        <p:spPr>
          <a:xfrm>
            <a:off x="11523000" y="6201700"/>
            <a:ext cx="288000" cy="288000"/>
          </a:xfrm>
          <a:blipFill>
            <a:blip r:embed="rId8">
              <a:extLst>
                <a:ext uri="{96DAC541-7B7A-43D3-8B79-37D633B846F1}">
                  <asvg:svgBlip xmlns:asvg="http://schemas.microsoft.com/office/drawing/2016/SVG/main" r:embed="rId9"/>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17061877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Key messages 3">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51EC0EF-3B5C-A574-21DA-24BBC9DE1B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1" name="Object 10" hidden="1">
                        <a:extLst>
                          <a:ext uri="{FF2B5EF4-FFF2-40B4-BE49-F238E27FC236}">
                            <a16:creationId xmlns:a16="http://schemas.microsoft.com/office/drawing/2014/main" id="{D51EC0EF-3B5C-A574-21DA-24BBC9DE1B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9C43D2FD-0155-0953-79ED-FFE947D0A6CE}"/>
              </a:ext>
            </a:extLst>
          </p:cNvPr>
          <p:cNvSpPr>
            <a:spLocks noGrp="1"/>
          </p:cNvSpPr>
          <p:nvPr>
            <p:ph type="title" hasCustomPrompt="1"/>
          </p:nvPr>
        </p:nvSpPr>
        <p:spPr bwMode="gray">
          <a:xfrm>
            <a:off x="386459" y="540561"/>
            <a:ext cx="4838004" cy="283219"/>
          </a:xfrm>
        </p:spPr>
        <p:txBody>
          <a:bodyPr vert="horz"/>
          <a:lstStyle>
            <a:lvl1pPr>
              <a:defRPr>
                <a:solidFill>
                  <a:schemeClr val="tx2"/>
                </a:solidFill>
              </a:defRPr>
            </a:lvl1pPr>
          </a:lstStyle>
          <a:p>
            <a:r>
              <a:rPr lang="en-US" noProof="0"/>
              <a:t>Slide heading</a:t>
            </a:r>
          </a:p>
        </p:txBody>
      </p:sp>
      <p:sp>
        <p:nvSpPr>
          <p:cNvPr id="4" name="Inhaltsplatzhalter 2">
            <a:extLst>
              <a:ext uri="{FF2B5EF4-FFF2-40B4-BE49-F238E27FC236}">
                <a16:creationId xmlns:a16="http://schemas.microsoft.com/office/drawing/2014/main" id="{47F19C68-1EAE-C615-A117-F18BA4B7E5C1}"/>
              </a:ext>
            </a:extLst>
          </p:cNvPr>
          <p:cNvSpPr>
            <a:spLocks noGrp="1"/>
          </p:cNvSpPr>
          <p:nvPr>
            <p:ph idx="1" hasCustomPrompt="1"/>
          </p:nvPr>
        </p:nvSpPr>
        <p:spPr bwMode="gray">
          <a:xfrm>
            <a:off x="386459" y="1341437"/>
            <a:ext cx="4838004" cy="4571999"/>
          </a:xfrm>
        </p:spPr>
        <p:txBody>
          <a:bodyPr>
            <a:noAutofit/>
          </a:bodyPr>
          <a:lstStyle>
            <a:lvl1pPr>
              <a:defRPr sz="1600" b="1">
                <a:solidFill>
                  <a:schemeClr val="tx2"/>
                </a:solidFill>
                <a:latin typeface="+mn-lt"/>
              </a:defRPr>
            </a:lvl1pPr>
            <a:lvl2pPr>
              <a:defRPr sz="1600"/>
            </a:lvl2pPr>
            <a:lvl3pPr>
              <a:defRPr sz="1600"/>
            </a:lvl3pPr>
            <a:lvl4pPr>
              <a:defRPr sz="1600"/>
            </a:lvl4pPr>
            <a:lvl5pPr>
              <a:defRPr sz="1600"/>
            </a:lvl5pPr>
            <a:lvl6pPr marL="0" indent="0">
              <a:buFontTx/>
              <a:buNone/>
              <a:defRPr sz="1600"/>
            </a:lvl6pPr>
          </a:lstStyle>
          <a:p>
            <a:pPr lvl="0"/>
            <a:r>
              <a:rPr lang="en-US" noProof="0"/>
              <a:t>Lorem ipsum dolor sit amet, consectetuer adipiscing elit. Maecenas porttitor congue massa. Fusce posuere, magna sed pulvinar ultricies, purus lectus malesuada libero, sit amet commodo magna eros quis urna.</a:t>
            </a:r>
          </a:p>
          <a:p>
            <a:pPr lvl="0"/>
            <a:endParaRPr lang="en-US" noProof="0"/>
          </a:p>
        </p:txBody>
      </p:sp>
      <p:sp>
        <p:nvSpPr>
          <p:cNvPr id="12" name="Textplatzhalter 3">
            <a:extLst>
              <a:ext uri="{FF2B5EF4-FFF2-40B4-BE49-F238E27FC236}">
                <a16:creationId xmlns:a16="http://schemas.microsoft.com/office/drawing/2014/main" id="{89B3C9A3-7326-6535-D16A-3475569EFCA0}"/>
              </a:ext>
            </a:extLst>
          </p:cNvPr>
          <p:cNvSpPr>
            <a:spLocks noGrp="1"/>
          </p:cNvSpPr>
          <p:nvPr>
            <p:ph type="body" sz="quarter" idx="14" hasCustomPrompt="1"/>
          </p:nvPr>
        </p:nvSpPr>
        <p:spPr bwMode="gray">
          <a:xfrm>
            <a:off x="382587" y="265541"/>
            <a:ext cx="4838004" cy="136525"/>
          </a:xfrm>
        </p:spPr>
        <p:txBody>
          <a:bodyPr anchor="b" anchorCtr="0">
            <a:noAutofit/>
          </a:bodyPr>
          <a:lstStyle>
            <a:lvl1pPr marL="0" indent="0">
              <a:buNone/>
              <a:defRPr sz="1000">
                <a:solidFill>
                  <a:schemeClr val="tx2"/>
                </a:solidFill>
              </a:defRPr>
            </a:lvl1pPr>
          </a:lstStyle>
          <a:p>
            <a:pPr lvl="0"/>
            <a:r>
              <a:rPr lang="en-US" noProof="0"/>
              <a:t>Topline</a:t>
            </a:r>
          </a:p>
        </p:txBody>
      </p:sp>
      <p:sp>
        <p:nvSpPr>
          <p:cNvPr id="16" name="Date Placeholder 15">
            <a:extLst>
              <a:ext uri="{FF2B5EF4-FFF2-40B4-BE49-F238E27FC236}">
                <a16:creationId xmlns:a16="http://schemas.microsoft.com/office/drawing/2014/main" id="{8861C867-F64F-FD09-643F-923839A7602C}"/>
              </a:ext>
            </a:extLst>
          </p:cNvPr>
          <p:cNvSpPr>
            <a:spLocks noGrp="1"/>
          </p:cNvSpPr>
          <p:nvPr>
            <p:ph type="dt" sz="half" idx="36"/>
          </p:nvPr>
        </p:nvSpPr>
        <p:spPr bwMode="gray"/>
        <p:txBody>
          <a:bodyPr/>
          <a:lstStyle>
            <a:lvl1pPr>
              <a:defRPr>
                <a:solidFill>
                  <a:schemeClr val="tx2"/>
                </a:solidFill>
              </a:defRPr>
            </a:lvl1pPr>
          </a:lstStyle>
          <a:p>
            <a:fld id="{DBF99683-195B-4549-9DCA-CB7B8836E194}" type="datetime1">
              <a:rPr lang="en-US" smtClean="0"/>
              <a:t>10/31/2024</a:t>
            </a:fld>
            <a:endParaRPr lang="en-US"/>
          </a:p>
        </p:txBody>
      </p:sp>
      <p:sp>
        <p:nvSpPr>
          <p:cNvPr id="17" name="Footer Placeholder 16">
            <a:extLst>
              <a:ext uri="{FF2B5EF4-FFF2-40B4-BE49-F238E27FC236}">
                <a16:creationId xmlns:a16="http://schemas.microsoft.com/office/drawing/2014/main" id="{1804ECAA-19CF-86AE-BED2-90C1314D7CEA}"/>
              </a:ext>
            </a:extLst>
          </p:cNvPr>
          <p:cNvSpPr>
            <a:spLocks noGrp="1"/>
          </p:cNvSpPr>
          <p:nvPr>
            <p:ph type="ftr" sz="quarter" idx="37"/>
          </p:nvPr>
        </p:nvSpPr>
        <p:spPr bwMode="gray"/>
        <p:txBody>
          <a:bodyPr/>
          <a:lstStyle>
            <a:lvl1pPr>
              <a:defRPr>
                <a:solidFill>
                  <a:schemeClr val="tx2"/>
                </a:solidFill>
              </a:defRPr>
            </a:lvl1pPr>
          </a:lstStyle>
          <a:p>
            <a:r>
              <a:rPr lang="en-US"/>
              <a:t>Group Presentation</a:t>
            </a:r>
          </a:p>
        </p:txBody>
      </p:sp>
      <p:sp>
        <p:nvSpPr>
          <p:cNvPr id="18" name="Slide Number Placeholder 17">
            <a:extLst>
              <a:ext uri="{FF2B5EF4-FFF2-40B4-BE49-F238E27FC236}">
                <a16:creationId xmlns:a16="http://schemas.microsoft.com/office/drawing/2014/main" id="{8AF8704E-6EB0-1481-0229-46A7145CC79A}"/>
              </a:ext>
            </a:extLst>
          </p:cNvPr>
          <p:cNvSpPr>
            <a:spLocks noGrp="1"/>
          </p:cNvSpPr>
          <p:nvPr>
            <p:ph type="sldNum" sz="quarter" idx="38"/>
          </p:nvPr>
        </p:nvSpPr>
        <p:spPr bwMode="gray"/>
        <p:txBody>
          <a:bodyPr/>
          <a:lstStyle>
            <a:lvl1pPr>
              <a:defRPr>
                <a:solidFill>
                  <a:schemeClr val="tx2"/>
                </a:solidFill>
              </a:defRPr>
            </a:lvl1pPr>
          </a:lstStyle>
          <a:p>
            <a:fld id="{A115CDC9-74CB-4F6C-8CD3-A6C89F254EE7}" type="slidenum">
              <a:rPr lang="en-US" smtClean="0"/>
              <a:pPr/>
              <a:t>‹#›</a:t>
            </a:fld>
            <a:endParaRPr lang="en-US"/>
          </a:p>
        </p:txBody>
      </p:sp>
      <p:sp>
        <p:nvSpPr>
          <p:cNvPr id="5" name="Bildplatzhalter 4">
            <a:extLst>
              <a:ext uri="{FF2B5EF4-FFF2-40B4-BE49-F238E27FC236}">
                <a16:creationId xmlns:a16="http://schemas.microsoft.com/office/drawing/2014/main" id="{6E261041-6472-1289-89CE-BD20089A62B8}"/>
              </a:ext>
            </a:extLst>
          </p:cNvPr>
          <p:cNvSpPr>
            <a:spLocks noGrp="1"/>
          </p:cNvSpPr>
          <p:nvPr>
            <p:ph type="pic" sz="quarter" idx="40"/>
          </p:nvPr>
        </p:nvSpPr>
        <p:spPr>
          <a:xfrm>
            <a:off x="6192838" y="0"/>
            <a:ext cx="5999162" cy="5913438"/>
          </a:xfrm>
          <a:custGeom>
            <a:avLst/>
            <a:gdLst>
              <a:gd name="connsiteX0" fmla="*/ 0 w 5999162"/>
              <a:gd name="connsiteY0" fmla="*/ 0 h 5913438"/>
              <a:gd name="connsiteX1" fmla="*/ 5999162 w 5999162"/>
              <a:gd name="connsiteY1" fmla="*/ 0 h 5913438"/>
              <a:gd name="connsiteX2" fmla="*/ 5999162 w 5999162"/>
              <a:gd name="connsiteY2" fmla="*/ 5913438 h 5913438"/>
              <a:gd name="connsiteX3" fmla="*/ 1305628 w 5999162"/>
              <a:gd name="connsiteY3" fmla="*/ 5913438 h 5913438"/>
              <a:gd name="connsiteX4" fmla="*/ 0 w 5999162"/>
              <a:gd name="connsiteY4" fmla="*/ 4607810 h 5913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99162" h="5913438">
                <a:moveTo>
                  <a:pt x="0" y="0"/>
                </a:moveTo>
                <a:lnTo>
                  <a:pt x="5999162" y="0"/>
                </a:lnTo>
                <a:lnTo>
                  <a:pt x="5999162" y="5913438"/>
                </a:lnTo>
                <a:lnTo>
                  <a:pt x="1305628" y="5913438"/>
                </a:lnTo>
                <a:cubicBezTo>
                  <a:pt x="584550" y="5913438"/>
                  <a:pt x="0" y="5328888"/>
                  <a:pt x="0" y="4607810"/>
                </a:cubicBezTo>
                <a:close/>
              </a:path>
            </a:pathLst>
          </a:custGeom>
        </p:spPr>
        <p:txBody>
          <a:bodyPr wrap="square">
            <a:noAutofit/>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de-DE" noProof="0"/>
              <a:t>Bild durch Klicken auf Symbol hinzufügen</a:t>
            </a:r>
            <a:endParaRPr lang="en-US" noProof="0"/>
          </a:p>
        </p:txBody>
      </p:sp>
    </p:spTree>
    <p:extLst>
      <p:ext uri="{BB962C8B-B14F-4D97-AF65-F5344CB8AC3E}">
        <p14:creationId xmlns:p14="http://schemas.microsoft.com/office/powerpoint/2010/main" val="121673952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Quote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B947A7-049B-C730-FA11-7792B23B170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48B947A7-049B-C730-FA11-7792B23B17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sp>
        <p:nvSpPr>
          <p:cNvPr id="20" name="Bildplatzhalter 19">
            <a:extLst>
              <a:ext uri="{FF2B5EF4-FFF2-40B4-BE49-F238E27FC236}">
                <a16:creationId xmlns:a16="http://schemas.microsoft.com/office/drawing/2014/main" id="{8A7E4CB8-E511-3A4F-D795-F35E070C5709}"/>
              </a:ext>
            </a:extLst>
          </p:cNvPr>
          <p:cNvSpPr>
            <a:spLocks noGrp="1"/>
          </p:cNvSpPr>
          <p:nvPr>
            <p:ph type="pic" sz="quarter" idx="44"/>
          </p:nvPr>
        </p:nvSpPr>
        <p:spPr bwMode="gray">
          <a:xfrm>
            <a:off x="6953250" y="747712"/>
            <a:ext cx="4857750" cy="5165726"/>
          </a:xfrm>
          <a:custGeom>
            <a:avLst/>
            <a:gdLst>
              <a:gd name="connsiteX0" fmla="*/ 0 w 4857750"/>
              <a:gd name="connsiteY0" fmla="*/ 0 h 5165726"/>
              <a:gd name="connsiteX1" fmla="*/ 4857750 w 4857750"/>
              <a:gd name="connsiteY1" fmla="*/ 0 h 5165726"/>
              <a:gd name="connsiteX2" fmla="*/ 4857750 w 4857750"/>
              <a:gd name="connsiteY2" fmla="*/ 5165726 h 5165726"/>
              <a:gd name="connsiteX3" fmla="*/ 1358275 w 4857750"/>
              <a:gd name="connsiteY3" fmla="*/ 5165726 h 5165726"/>
              <a:gd name="connsiteX4" fmla="*/ 0 w 4857750"/>
              <a:gd name="connsiteY4" fmla="*/ 3807451 h 5165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0" h="5165726">
                <a:moveTo>
                  <a:pt x="0" y="0"/>
                </a:moveTo>
                <a:lnTo>
                  <a:pt x="4857750" y="0"/>
                </a:lnTo>
                <a:lnTo>
                  <a:pt x="4857750" y="5165726"/>
                </a:lnTo>
                <a:lnTo>
                  <a:pt x="1358275" y="5165726"/>
                </a:lnTo>
                <a:cubicBezTo>
                  <a:pt x="608120" y="5165726"/>
                  <a:pt x="0" y="4557606"/>
                  <a:pt x="0" y="3807451"/>
                </a:cubicBezTo>
                <a:close/>
              </a:path>
            </a:pathLst>
          </a:custGeom>
        </p:spPr>
        <p:txBody>
          <a:bodyPr wrap="square">
            <a:noAutofit/>
          </a:bodyPr>
          <a:lstStyle>
            <a:lvl1pPr>
              <a:defRPr>
                <a:solidFill>
                  <a:schemeClr val="bg1"/>
                </a:solidFill>
              </a:defRPr>
            </a:lvl1pPr>
          </a:lstStyle>
          <a:p>
            <a:r>
              <a:rPr lang="de-DE" noProof="0"/>
              <a:t>Bild durch Klicken auf Symbol hinzufügen</a:t>
            </a:r>
            <a:endParaRPr lang="en-US" noProof="0"/>
          </a:p>
        </p:txBody>
      </p:sp>
      <p:sp>
        <p:nvSpPr>
          <p:cNvPr id="12" name="Titel 11">
            <a:extLst>
              <a:ext uri="{FF2B5EF4-FFF2-40B4-BE49-F238E27FC236}">
                <a16:creationId xmlns:a16="http://schemas.microsoft.com/office/drawing/2014/main" id="{9528F242-BD3B-01EB-134C-F8E7E359791F}"/>
              </a:ext>
            </a:extLst>
          </p:cNvPr>
          <p:cNvSpPr>
            <a:spLocks noGrp="1"/>
          </p:cNvSpPr>
          <p:nvPr>
            <p:ph type="title" hasCustomPrompt="1"/>
          </p:nvPr>
        </p:nvSpPr>
        <p:spPr bwMode="gray">
          <a:xfrm>
            <a:off x="388130" y="1915840"/>
            <a:ext cx="5607858" cy="1636730"/>
          </a:xfrm>
        </p:spPr>
        <p:txBody>
          <a:bodyPr vert="horz" wrap="square" anchor="t" anchorCtr="0">
            <a:spAutoFit/>
          </a:bodyPr>
          <a:lstStyle>
            <a:lvl1pPr>
              <a:lnSpc>
                <a:spcPct val="120000"/>
              </a:lnSpc>
              <a:defRPr sz="3000">
                <a:solidFill>
                  <a:schemeClr val="bg1"/>
                </a:solidFill>
              </a:defRPr>
            </a:lvl1pPr>
          </a:lstStyle>
          <a:p>
            <a:r>
              <a:rPr lang="en-US" noProof="0"/>
              <a:t>Quote lorem ipsum</a:t>
            </a:r>
            <a:br>
              <a:rPr lang="en-US" noProof="0"/>
            </a:br>
            <a:br>
              <a:rPr lang="en-US" noProof="0"/>
            </a:br>
            <a:endParaRPr lang="en-US" noProof="0"/>
          </a:p>
        </p:txBody>
      </p:sp>
      <p:sp>
        <p:nvSpPr>
          <p:cNvPr id="13" name="Textfeld 12">
            <a:extLst>
              <a:ext uri="{FF2B5EF4-FFF2-40B4-BE49-F238E27FC236}">
                <a16:creationId xmlns:a16="http://schemas.microsoft.com/office/drawing/2014/main" id="{328D7683-162E-7913-135E-4F841CB805CD}"/>
              </a:ext>
            </a:extLst>
          </p:cNvPr>
          <p:cNvSpPr txBox="1"/>
          <p:nvPr/>
        </p:nvSpPr>
        <p:spPr bwMode="gray">
          <a:xfrm>
            <a:off x="380321" y="356533"/>
            <a:ext cx="1188648" cy="1273486"/>
          </a:xfrm>
          <a:prstGeom prst="rect">
            <a:avLst/>
          </a:prstGeom>
          <a:noFill/>
        </p:spPr>
        <p:txBody>
          <a:bodyPr wrap="square" lIns="0" tIns="0" rIns="0" bIns="0" rtlCol="0" anchor="t" anchorCtr="0">
            <a:noAutofit/>
          </a:bodyPr>
          <a:lstStyle/>
          <a:p>
            <a:r>
              <a:rPr lang="en-US" sz="16000" b="1" noProof="0">
                <a:solidFill>
                  <a:schemeClr val="bg1"/>
                </a:solidFill>
                <a:latin typeface="+mj-lt"/>
              </a:rPr>
              <a:t>”</a:t>
            </a:r>
          </a:p>
        </p:txBody>
      </p:sp>
      <p:grpSp>
        <p:nvGrpSpPr>
          <p:cNvPr id="14" name="object 8">
            <a:extLst>
              <a:ext uri="{FF2B5EF4-FFF2-40B4-BE49-F238E27FC236}">
                <a16:creationId xmlns:a16="http://schemas.microsoft.com/office/drawing/2014/main" id="{B39D7F6A-A6B6-798C-A424-8603966C6698}"/>
              </a:ext>
            </a:extLst>
          </p:cNvPr>
          <p:cNvGrpSpPr>
            <a:grpSpLocks noChangeAspect="1"/>
          </p:cNvGrpSpPr>
          <p:nvPr/>
        </p:nvGrpSpPr>
        <p:grpSpPr bwMode="gray">
          <a:xfrm>
            <a:off x="11523000" y="6201700"/>
            <a:ext cx="288000" cy="288000"/>
            <a:chOff x="18934851" y="10156759"/>
            <a:chExt cx="523875" cy="523875"/>
          </a:xfrm>
        </p:grpSpPr>
        <p:sp>
          <p:nvSpPr>
            <p:cNvPr id="15" name="object 9">
              <a:extLst>
                <a:ext uri="{FF2B5EF4-FFF2-40B4-BE49-F238E27FC236}">
                  <a16:creationId xmlns:a16="http://schemas.microsoft.com/office/drawing/2014/main" id="{510E9A11-EE0A-F303-7A3C-434F4EF4B3FA}"/>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16" name="object 10">
              <a:extLst>
                <a:ext uri="{FF2B5EF4-FFF2-40B4-BE49-F238E27FC236}">
                  <a16:creationId xmlns:a16="http://schemas.microsoft.com/office/drawing/2014/main" id="{D186C636-C14F-C3B8-C0D6-24C3F7FB5056}"/>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17" name="object 11">
              <a:extLst>
                <a:ext uri="{FF2B5EF4-FFF2-40B4-BE49-F238E27FC236}">
                  <a16:creationId xmlns:a16="http://schemas.microsoft.com/office/drawing/2014/main" id="{11EE4303-656A-2D9C-F100-FEFCEFA79B4D}"/>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5" name="Textplatzhalter 3">
            <a:extLst>
              <a:ext uri="{FF2B5EF4-FFF2-40B4-BE49-F238E27FC236}">
                <a16:creationId xmlns:a16="http://schemas.microsoft.com/office/drawing/2014/main" id="{06FF2DC0-43A9-01BB-1E47-AF975CB39908}"/>
              </a:ext>
            </a:extLst>
          </p:cNvPr>
          <p:cNvSpPr>
            <a:spLocks noGrp="1"/>
          </p:cNvSpPr>
          <p:nvPr>
            <p:ph type="body" sz="quarter" idx="14" hasCustomPrompt="1"/>
          </p:nvPr>
        </p:nvSpPr>
        <p:spPr bwMode="gray">
          <a:xfrm>
            <a:off x="382587" y="265541"/>
            <a:ext cx="11428413" cy="136525"/>
          </a:xfrm>
        </p:spPr>
        <p:txBody>
          <a:bodyPr anchor="b" anchorCtr="0">
            <a:noAutofit/>
          </a:bodyPr>
          <a:lstStyle>
            <a:lvl1pPr marL="0" indent="0">
              <a:buNone/>
              <a:defRPr sz="1000">
                <a:solidFill>
                  <a:schemeClr val="bg1"/>
                </a:solidFill>
              </a:defRPr>
            </a:lvl1pPr>
          </a:lstStyle>
          <a:p>
            <a:pPr lvl="0"/>
            <a:r>
              <a:rPr lang="en-US" noProof="0"/>
              <a:t>Topline</a:t>
            </a:r>
          </a:p>
        </p:txBody>
      </p:sp>
      <p:sp>
        <p:nvSpPr>
          <p:cNvPr id="21" name="Textplatzhalter 17">
            <a:extLst>
              <a:ext uri="{FF2B5EF4-FFF2-40B4-BE49-F238E27FC236}">
                <a16:creationId xmlns:a16="http://schemas.microsoft.com/office/drawing/2014/main" id="{5576433D-85DF-50B4-F97B-0CE3B6864211}"/>
              </a:ext>
            </a:extLst>
          </p:cNvPr>
          <p:cNvSpPr>
            <a:spLocks noGrp="1"/>
          </p:cNvSpPr>
          <p:nvPr>
            <p:ph type="body" sz="quarter" idx="39" hasCustomPrompt="1"/>
          </p:nvPr>
        </p:nvSpPr>
        <p:spPr bwMode="gray">
          <a:xfrm>
            <a:off x="388130" y="3562094"/>
            <a:ext cx="5607858" cy="528810"/>
          </a:xfrm>
        </p:spPr>
        <p:txBody>
          <a:bodyPr tIns="360000" anchor="b" anchorCtr="0">
            <a:noAutofit/>
          </a:bodyPr>
          <a:lstStyle>
            <a:lvl1pPr marL="0" indent="0">
              <a:lnSpc>
                <a:spcPct val="120000"/>
              </a:lnSpc>
              <a:spcBef>
                <a:spcPts val="0"/>
              </a:spcBef>
              <a:buNone/>
              <a:defRPr sz="1000" b="0">
                <a:solidFill>
                  <a:schemeClr val="bg1"/>
                </a:solidFill>
              </a:defRPr>
            </a:lvl1pPr>
          </a:lstStyle>
          <a:p>
            <a:pPr lvl="0"/>
            <a:r>
              <a:rPr lang="en-US" noProof="0"/>
              <a:t>First name </a:t>
            </a:r>
            <a:r>
              <a:rPr lang="en-US" noProof="0" err="1"/>
              <a:t>Name</a:t>
            </a:r>
            <a:endParaRPr lang="en-US" noProof="0"/>
          </a:p>
          <a:p>
            <a:pPr lvl="0"/>
            <a:r>
              <a:rPr lang="en-US" noProof="0"/>
              <a:t>Function, Department</a:t>
            </a:r>
          </a:p>
        </p:txBody>
      </p:sp>
      <p:sp>
        <p:nvSpPr>
          <p:cNvPr id="22" name="Date Placeholder 21">
            <a:extLst>
              <a:ext uri="{FF2B5EF4-FFF2-40B4-BE49-F238E27FC236}">
                <a16:creationId xmlns:a16="http://schemas.microsoft.com/office/drawing/2014/main" id="{28AA3A85-07EF-F7C7-87EB-4C82041264BE}"/>
              </a:ext>
            </a:extLst>
          </p:cNvPr>
          <p:cNvSpPr>
            <a:spLocks noGrp="1"/>
          </p:cNvSpPr>
          <p:nvPr>
            <p:ph type="dt" sz="half" idx="40"/>
          </p:nvPr>
        </p:nvSpPr>
        <p:spPr bwMode="gray"/>
        <p:txBody>
          <a:bodyPr/>
          <a:lstStyle>
            <a:lvl1pPr>
              <a:defRPr>
                <a:solidFill>
                  <a:schemeClr val="bg1"/>
                </a:solidFill>
              </a:defRPr>
            </a:lvl1pPr>
          </a:lstStyle>
          <a:p>
            <a:fld id="{F5915985-DF6D-4E85-84FD-2DD1BC1BA394}" type="datetime1">
              <a:rPr lang="en-US" noProof="0" smtClean="0"/>
              <a:t>10/31/2024</a:t>
            </a:fld>
            <a:endParaRPr lang="en-US" noProof="0"/>
          </a:p>
        </p:txBody>
      </p:sp>
      <p:sp>
        <p:nvSpPr>
          <p:cNvPr id="23" name="Footer Placeholder 22">
            <a:extLst>
              <a:ext uri="{FF2B5EF4-FFF2-40B4-BE49-F238E27FC236}">
                <a16:creationId xmlns:a16="http://schemas.microsoft.com/office/drawing/2014/main" id="{84D13B5F-F0D8-9550-4BBC-7DA49B3F6C2E}"/>
              </a:ext>
            </a:extLst>
          </p:cNvPr>
          <p:cNvSpPr>
            <a:spLocks noGrp="1"/>
          </p:cNvSpPr>
          <p:nvPr>
            <p:ph type="ftr" sz="quarter" idx="41"/>
          </p:nvPr>
        </p:nvSpPr>
        <p:spPr bwMode="gray"/>
        <p:txBody>
          <a:bodyPr/>
          <a:lstStyle>
            <a:lvl1pPr>
              <a:defRPr>
                <a:solidFill>
                  <a:schemeClr val="bg1"/>
                </a:solidFill>
              </a:defRPr>
            </a:lvl1pPr>
          </a:lstStyle>
          <a:p>
            <a:r>
              <a:rPr lang="en-US" noProof="0"/>
              <a:t>Group Presentation</a:t>
            </a:r>
          </a:p>
        </p:txBody>
      </p:sp>
      <p:sp>
        <p:nvSpPr>
          <p:cNvPr id="24" name="Slide Number Placeholder 23">
            <a:extLst>
              <a:ext uri="{FF2B5EF4-FFF2-40B4-BE49-F238E27FC236}">
                <a16:creationId xmlns:a16="http://schemas.microsoft.com/office/drawing/2014/main" id="{8185244A-1FBC-A6AF-EE8C-DAF00ABACFB6}"/>
              </a:ext>
            </a:extLst>
          </p:cNvPr>
          <p:cNvSpPr>
            <a:spLocks noGrp="1"/>
          </p:cNvSpPr>
          <p:nvPr>
            <p:ph type="sldNum" sz="quarter" idx="42"/>
          </p:nvPr>
        </p:nvSpPr>
        <p:spPr bwMode="gray"/>
        <p:txBody>
          <a:bodyPr/>
          <a:lstStyle>
            <a:lvl1pPr>
              <a:defRPr>
                <a:solidFill>
                  <a:schemeClr val="bg1"/>
                </a:solidFill>
              </a:defRPr>
            </a:lvl1pPr>
          </a:lstStyle>
          <a:p>
            <a:fld id="{A115CDC9-74CB-4F6C-8CD3-A6C89F254EE7}" type="slidenum">
              <a:rPr lang="en-US" noProof="0" smtClean="0"/>
              <a:pPr/>
              <a:t>‹#›</a:t>
            </a:fld>
            <a:endParaRPr lang="en-US" noProof="0"/>
          </a:p>
        </p:txBody>
      </p:sp>
      <p:sp>
        <p:nvSpPr>
          <p:cNvPr id="6" name="Bildplatzhalter 19">
            <a:extLst>
              <a:ext uri="{FF2B5EF4-FFF2-40B4-BE49-F238E27FC236}">
                <a16:creationId xmlns:a16="http://schemas.microsoft.com/office/drawing/2014/main" id="{8A39FDF2-B4B7-5ABB-2D51-6BF444F2881C}"/>
              </a:ext>
            </a:extLst>
          </p:cNvPr>
          <p:cNvSpPr>
            <a:spLocks noGrp="1"/>
          </p:cNvSpPr>
          <p:nvPr>
            <p:ph type="pic" sz="quarter" idx="43"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07132710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Quot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6DD037-76D7-BA1B-7CA9-13A5A9930F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CC6DD037-76D7-BA1B-7CA9-13A5A9930F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Textfeld 12">
            <a:extLst>
              <a:ext uri="{FF2B5EF4-FFF2-40B4-BE49-F238E27FC236}">
                <a16:creationId xmlns:a16="http://schemas.microsoft.com/office/drawing/2014/main" id="{328D7683-162E-7913-135E-4F841CB805CD}"/>
              </a:ext>
            </a:extLst>
          </p:cNvPr>
          <p:cNvSpPr txBox="1"/>
          <p:nvPr/>
        </p:nvSpPr>
        <p:spPr>
          <a:xfrm>
            <a:off x="380321" y="356533"/>
            <a:ext cx="1188648" cy="1273486"/>
          </a:xfrm>
          <a:prstGeom prst="rect">
            <a:avLst/>
          </a:prstGeom>
          <a:noFill/>
        </p:spPr>
        <p:txBody>
          <a:bodyPr wrap="square" lIns="0" tIns="0" rIns="0" bIns="0" rtlCol="0" anchor="t" anchorCtr="0">
            <a:noAutofit/>
          </a:bodyPr>
          <a:lstStyle/>
          <a:p>
            <a:r>
              <a:rPr lang="en-US" sz="16000" b="1" noProof="0">
                <a:solidFill>
                  <a:schemeClr val="tx2"/>
                </a:solidFill>
                <a:latin typeface="+mj-lt"/>
              </a:rPr>
              <a:t>”</a:t>
            </a:r>
          </a:p>
        </p:txBody>
      </p:sp>
      <p:pic>
        <p:nvPicPr>
          <p:cNvPr id="22" name="Grafik 6">
            <a:extLst>
              <a:ext uri="{FF2B5EF4-FFF2-40B4-BE49-F238E27FC236}">
                <a16:creationId xmlns:a16="http://schemas.microsoft.com/office/drawing/2014/main" id="{3968FDED-7E8C-02F5-5853-4B0345D2FF29}"/>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1523000" y="6201700"/>
            <a:ext cx="288000" cy="288000"/>
          </a:xfrm>
          <a:prstGeom prst="rect">
            <a:avLst/>
          </a:prstGeom>
        </p:spPr>
      </p:pic>
      <p:sp>
        <p:nvSpPr>
          <p:cNvPr id="4" name="Textplatzhalter 3">
            <a:extLst>
              <a:ext uri="{FF2B5EF4-FFF2-40B4-BE49-F238E27FC236}">
                <a16:creationId xmlns:a16="http://schemas.microsoft.com/office/drawing/2014/main" id="{D212922A-EF6F-2597-1827-4FC6633BE89F}"/>
              </a:ext>
            </a:extLst>
          </p:cNvPr>
          <p:cNvSpPr>
            <a:spLocks noGrp="1"/>
          </p:cNvSpPr>
          <p:nvPr>
            <p:ph type="body" sz="quarter" idx="14" hasCustomPrompt="1"/>
          </p:nvPr>
        </p:nvSpPr>
        <p:spPr>
          <a:xfrm>
            <a:off x="382587" y="265541"/>
            <a:ext cx="11428413" cy="136525"/>
          </a:xfrm>
        </p:spPr>
        <p:txBody>
          <a:bodyPr anchor="b" anchorCtr="0">
            <a:noAutofit/>
          </a:bodyPr>
          <a:lstStyle>
            <a:lvl1pPr marL="0" indent="0">
              <a:buNone/>
              <a:defRPr sz="1000">
                <a:solidFill>
                  <a:schemeClr val="tx2"/>
                </a:solidFill>
              </a:defRPr>
            </a:lvl1pPr>
          </a:lstStyle>
          <a:p>
            <a:pPr lvl="0"/>
            <a:r>
              <a:rPr lang="en-US" noProof="0"/>
              <a:t>Topline</a:t>
            </a:r>
          </a:p>
        </p:txBody>
      </p:sp>
      <p:sp>
        <p:nvSpPr>
          <p:cNvPr id="16" name="Titel 11">
            <a:extLst>
              <a:ext uri="{FF2B5EF4-FFF2-40B4-BE49-F238E27FC236}">
                <a16:creationId xmlns:a16="http://schemas.microsoft.com/office/drawing/2014/main" id="{4F15C2F9-46FD-C9E3-6EF4-096A7B7EBEFF}"/>
              </a:ext>
            </a:extLst>
          </p:cNvPr>
          <p:cNvSpPr>
            <a:spLocks noGrp="1"/>
          </p:cNvSpPr>
          <p:nvPr>
            <p:ph type="title" hasCustomPrompt="1"/>
          </p:nvPr>
        </p:nvSpPr>
        <p:spPr>
          <a:xfrm>
            <a:off x="385200" y="1919993"/>
            <a:ext cx="5610788" cy="1636730"/>
          </a:xfrm>
        </p:spPr>
        <p:txBody>
          <a:bodyPr vert="horz" wrap="square" anchor="t" anchorCtr="0">
            <a:spAutoFit/>
          </a:bodyPr>
          <a:lstStyle>
            <a:lvl1pPr>
              <a:lnSpc>
                <a:spcPct val="120000"/>
              </a:lnSpc>
              <a:defRPr sz="3000">
                <a:solidFill>
                  <a:schemeClr val="tx2"/>
                </a:solidFill>
              </a:defRPr>
            </a:lvl1pPr>
          </a:lstStyle>
          <a:p>
            <a:r>
              <a:rPr lang="en-US" noProof="0"/>
              <a:t>Quote lorem ipsum</a:t>
            </a:r>
            <a:br>
              <a:rPr lang="en-US" noProof="0"/>
            </a:br>
            <a:br>
              <a:rPr lang="en-US" noProof="0"/>
            </a:br>
            <a:endParaRPr lang="en-US" noProof="0"/>
          </a:p>
        </p:txBody>
      </p:sp>
      <p:sp>
        <p:nvSpPr>
          <p:cNvPr id="20" name="Textplatzhalter 17">
            <a:extLst>
              <a:ext uri="{FF2B5EF4-FFF2-40B4-BE49-F238E27FC236}">
                <a16:creationId xmlns:a16="http://schemas.microsoft.com/office/drawing/2014/main" id="{FE503730-C14A-0841-7DAB-2525D610D8B8}"/>
              </a:ext>
            </a:extLst>
          </p:cNvPr>
          <p:cNvSpPr>
            <a:spLocks noGrp="1"/>
          </p:cNvSpPr>
          <p:nvPr>
            <p:ph type="body" sz="quarter" idx="39" hasCustomPrompt="1"/>
          </p:nvPr>
        </p:nvSpPr>
        <p:spPr>
          <a:xfrm>
            <a:off x="382588" y="3559104"/>
            <a:ext cx="5613400" cy="528810"/>
          </a:xfrm>
        </p:spPr>
        <p:txBody>
          <a:bodyPr tIns="360000" anchor="b" anchorCtr="0">
            <a:noAutofit/>
          </a:bodyPr>
          <a:lstStyle>
            <a:lvl1pPr marL="0" indent="0">
              <a:spcBef>
                <a:spcPts val="0"/>
              </a:spcBef>
              <a:buNone/>
              <a:defRPr sz="1000">
                <a:solidFill>
                  <a:schemeClr val="tx2"/>
                </a:solidFill>
              </a:defRPr>
            </a:lvl1pPr>
          </a:lstStyle>
          <a:p>
            <a:pPr lvl="0"/>
            <a:r>
              <a:rPr lang="en-US" noProof="0"/>
              <a:t>First name Name</a:t>
            </a:r>
          </a:p>
          <a:p>
            <a:pPr lvl="0"/>
            <a:r>
              <a:rPr lang="en-US" noProof="0"/>
              <a:t>Function, Department</a:t>
            </a:r>
          </a:p>
        </p:txBody>
      </p:sp>
      <p:sp>
        <p:nvSpPr>
          <p:cNvPr id="23" name="Date Placeholder 22">
            <a:extLst>
              <a:ext uri="{FF2B5EF4-FFF2-40B4-BE49-F238E27FC236}">
                <a16:creationId xmlns:a16="http://schemas.microsoft.com/office/drawing/2014/main" id="{F8A438A5-680C-45FC-11B2-3DCD9A8A3DC0}"/>
              </a:ext>
            </a:extLst>
          </p:cNvPr>
          <p:cNvSpPr>
            <a:spLocks noGrp="1"/>
          </p:cNvSpPr>
          <p:nvPr>
            <p:ph type="dt" sz="half" idx="40"/>
          </p:nvPr>
        </p:nvSpPr>
        <p:spPr/>
        <p:txBody>
          <a:bodyPr/>
          <a:lstStyle/>
          <a:p>
            <a:fld id="{8BC87F3E-4447-438B-8C01-C976B81713EE}" type="datetime1">
              <a:rPr lang="en-US" noProof="0" smtClean="0"/>
              <a:t>10/31/2024</a:t>
            </a:fld>
            <a:endParaRPr lang="en-US" noProof="0"/>
          </a:p>
        </p:txBody>
      </p:sp>
      <p:sp>
        <p:nvSpPr>
          <p:cNvPr id="24" name="Footer Placeholder 23">
            <a:extLst>
              <a:ext uri="{FF2B5EF4-FFF2-40B4-BE49-F238E27FC236}">
                <a16:creationId xmlns:a16="http://schemas.microsoft.com/office/drawing/2014/main" id="{F19F2E06-072A-2160-7029-620DB52C940D}"/>
              </a:ext>
            </a:extLst>
          </p:cNvPr>
          <p:cNvSpPr>
            <a:spLocks noGrp="1"/>
          </p:cNvSpPr>
          <p:nvPr>
            <p:ph type="ftr" sz="quarter" idx="41"/>
          </p:nvPr>
        </p:nvSpPr>
        <p:spPr/>
        <p:txBody>
          <a:bodyPr/>
          <a:lstStyle/>
          <a:p>
            <a:r>
              <a:rPr lang="en-US" noProof="0"/>
              <a:t>Group Presentation</a:t>
            </a:r>
          </a:p>
        </p:txBody>
      </p:sp>
      <p:sp>
        <p:nvSpPr>
          <p:cNvPr id="25" name="Slide Number Placeholder 24">
            <a:extLst>
              <a:ext uri="{FF2B5EF4-FFF2-40B4-BE49-F238E27FC236}">
                <a16:creationId xmlns:a16="http://schemas.microsoft.com/office/drawing/2014/main" id="{D1F1F3A2-7B0C-3A1E-1013-99D1288752D7}"/>
              </a:ext>
            </a:extLst>
          </p:cNvPr>
          <p:cNvSpPr>
            <a:spLocks noGrp="1"/>
          </p:cNvSpPr>
          <p:nvPr>
            <p:ph type="sldNum" sz="quarter" idx="42"/>
          </p:nvPr>
        </p:nvSpPr>
        <p:spPr/>
        <p:txBody>
          <a:bodyPr/>
          <a:lstStyle/>
          <a:p>
            <a:fld id="{A115CDC9-74CB-4F6C-8CD3-A6C89F254EE7}" type="slidenum">
              <a:rPr lang="en-US" noProof="0" smtClean="0"/>
              <a:pPr/>
              <a:t>‹#›</a:t>
            </a:fld>
            <a:endParaRPr lang="en-US" noProof="0"/>
          </a:p>
        </p:txBody>
      </p:sp>
      <p:sp>
        <p:nvSpPr>
          <p:cNvPr id="3" name="Bildplatzhalter 19">
            <a:extLst>
              <a:ext uri="{FF2B5EF4-FFF2-40B4-BE49-F238E27FC236}">
                <a16:creationId xmlns:a16="http://schemas.microsoft.com/office/drawing/2014/main" id="{251BD96D-5BCD-1833-AA18-FBF29CFC7929}"/>
              </a:ext>
            </a:extLst>
          </p:cNvPr>
          <p:cNvSpPr>
            <a:spLocks noGrp="1"/>
          </p:cNvSpPr>
          <p:nvPr>
            <p:ph type="pic" sz="quarter" idx="22" hasCustomPrompt="1"/>
          </p:nvPr>
        </p:nvSpPr>
        <p:spPr bwMode="gray">
          <a:xfrm>
            <a:off x="1025514" y="6410506"/>
            <a:ext cx="1062384" cy="103295"/>
          </a:xfrm>
          <a:blipFill>
            <a:blip r:embed="rId6"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5" name="Bildplatzhalter 4">
            <a:extLst>
              <a:ext uri="{FF2B5EF4-FFF2-40B4-BE49-F238E27FC236}">
                <a16:creationId xmlns:a16="http://schemas.microsoft.com/office/drawing/2014/main" id="{1A9CE0F2-8461-B352-F2DB-7CA4505DE4C2}"/>
              </a:ext>
            </a:extLst>
          </p:cNvPr>
          <p:cNvSpPr>
            <a:spLocks noGrp="1"/>
          </p:cNvSpPr>
          <p:nvPr>
            <p:ph type="pic" sz="quarter" idx="44"/>
          </p:nvPr>
        </p:nvSpPr>
        <p:spPr>
          <a:xfrm>
            <a:off x="6953250" y="747712"/>
            <a:ext cx="4857750" cy="5165726"/>
          </a:xfrm>
          <a:custGeom>
            <a:avLst/>
            <a:gdLst>
              <a:gd name="connsiteX0" fmla="*/ 0 w 4857750"/>
              <a:gd name="connsiteY0" fmla="*/ 0 h 5165726"/>
              <a:gd name="connsiteX1" fmla="*/ 4857750 w 4857750"/>
              <a:gd name="connsiteY1" fmla="*/ 0 h 5165726"/>
              <a:gd name="connsiteX2" fmla="*/ 4857750 w 4857750"/>
              <a:gd name="connsiteY2" fmla="*/ 5165726 h 5165726"/>
              <a:gd name="connsiteX3" fmla="*/ 1358275 w 4857750"/>
              <a:gd name="connsiteY3" fmla="*/ 5165726 h 5165726"/>
              <a:gd name="connsiteX4" fmla="*/ 0 w 4857750"/>
              <a:gd name="connsiteY4" fmla="*/ 3807451 h 5165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57750" h="5165726">
                <a:moveTo>
                  <a:pt x="0" y="0"/>
                </a:moveTo>
                <a:lnTo>
                  <a:pt x="4857750" y="0"/>
                </a:lnTo>
                <a:lnTo>
                  <a:pt x="4857750" y="5165726"/>
                </a:lnTo>
                <a:lnTo>
                  <a:pt x="1358275" y="5165726"/>
                </a:lnTo>
                <a:cubicBezTo>
                  <a:pt x="608120" y="5165726"/>
                  <a:pt x="0" y="4557606"/>
                  <a:pt x="0" y="3807451"/>
                </a:cubicBezTo>
                <a:close/>
              </a:path>
            </a:pathLst>
          </a:custGeom>
        </p:spPr>
        <p:txBody>
          <a:bodyPr wrap="square">
            <a:noAutofit/>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de-DE" noProof="0"/>
              <a:t>Bild durch Klicken auf Symbol hinzufügen</a:t>
            </a:r>
            <a:endParaRPr lang="en-US"/>
          </a:p>
        </p:txBody>
      </p:sp>
    </p:spTree>
    <p:extLst>
      <p:ext uri="{BB962C8B-B14F-4D97-AF65-F5344CB8AC3E}">
        <p14:creationId xmlns:p14="http://schemas.microsoft.com/office/powerpoint/2010/main" val="248010300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Quote 3">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B026CF3-BCE9-9472-A4B9-B1D382CA9F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7" name="Object 6" hidden="1">
                        <a:extLst>
                          <a:ext uri="{FF2B5EF4-FFF2-40B4-BE49-F238E27FC236}">
                            <a16:creationId xmlns:a16="http://schemas.microsoft.com/office/drawing/2014/main" id="{8B026CF3-BCE9-9472-A4B9-B1D382CA9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bwMode="gray">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itel 11">
            <a:extLst>
              <a:ext uri="{FF2B5EF4-FFF2-40B4-BE49-F238E27FC236}">
                <a16:creationId xmlns:a16="http://schemas.microsoft.com/office/drawing/2014/main" id="{9528F242-BD3B-01EB-134C-F8E7E359791F}"/>
              </a:ext>
            </a:extLst>
          </p:cNvPr>
          <p:cNvSpPr>
            <a:spLocks noGrp="1"/>
          </p:cNvSpPr>
          <p:nvPr>
            <p:ph type="title" hasCustomPrompt="1"/>
          </p:nvPr>
        </p:nvSpPr>
        <p:spPr bwMode="gray">
          <a:xfrm>
            <a:off x="4260850" y="1931779"/>
            <a:ext cx="7550150" cy="1615827"/>
          </a:xfrm>
        </p:spPr>
        <p:txBody>
          <a:bodyPr vert="horz" anchor="t" anchorCtr="0">
            <a:spAutoFit/>
          </a:bodyPr>
          <a:lstStyle>
            <a:lvl1pPr>
              <a:lnSpc>
                <a:spcPct val="120000"/>
              </a:lnSpc>
              <a:defRPr sz="3000">
                <a:solidFill>
                  <a:schemeClr val="tx2"/>
                </a:solidFill>
              </a:defRPr>
            </a:lvl1pPr>
          </a:lstStyle>
          <a:p>
            <a:r>
              <a:rPr lang="en-US" noProof="0"/>
              <a:t>Quote lorem ipsum</a:t>
            </a:r>
            <a:br>
              <a:rPr lang="en-US" noProof="0"/>
            </a:br>
            <a:br>
              <a:rPr lang="en-US" noProof="0"/>
            </a:br>
            <a:endParaRPr lang="en-US" noProof="0"/>
          </a:p>
        </p:txBody>
      </p:sp>
      <p:sp>
        <p:nvSpPr>
          <p:cNvPr id="13" name="Textfeld 12">
            <a:extLst>
              <a:ext uri="{FF2B5EF4-FFF2-40B4-BE49-F238E27FC236}">
                <a16:creationId xmlns:a16="http://schemas.microsoft.com/office/drawing/2014/main" id="{328D7683-162E-7913-135E-4F841CB805CD}"/>
              </a:ext>
            </a:extLst>
          </p:cNvPr>
          <p:cNvSpPr txBox="1"/>
          <p:nvPr/>
        </p:nvSpPr>
        <p:spPr bwMode="gray">
          <a:xfrm>
            <a:off x="3135288" y="1393376"/>
            <a:ext cx="1188648" cy="1273486"/>
          </a:xfrm>
          <a:prstGeom prst="rect">
            <a:avLst/>
          </a:prstGeom>
          <a:noFill/>
        </p:spPr>
        <p:txBody>
          <a:bodyPr wrap="square" lIns="0" tIns="0" rIns="0" bIns="0" rtlCol="0" anchor="t" anchorCtr="0">
            <a:noAutofit/>
          </a:bodyPr>
          <a:lstStyle/>
          <a:p>
            <a:r>
              <a:rPr lang="en-US" sz="16000" b="1" noProof="0">
                <a:solidFill>
                  <a:schemeClr val="tx2"/>
                </a:solidFill>
                <a:latin typeface="+mj-lt"/>
              </a:rPr>
              <a:t>”</a:t>
            </a:r>
          </a:p>
        </p:txBody>
      </p:sp>
      <p:pic>
        <p:nvPicPr>
          <p:cNvPr id="3" name="Grafik 2">
            <a:extLst>
              <a:ext uri="{FF2B5EF4-FFF2-40B4-BE49-F238E27FC236}">
                <a16:creationId xmlns:a16="http://schemas.microsoft.com/office/drawing/2014/main" id="{A6D96BAA-FDE4-28FE-7AEF-3F56BB4CD00C}"/>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bwMode="gray">
          <a:xfrm>
            <a:off x="11523000" y="6201700"/>
            <a:ext cx="288000" cy="288000"/>
          </a:xfrm>
          <a:prstGeom prst="rect">
            <a:avLst/>
          </a:prstGeom>
        </p:spPr>
      </p:pic>
      <p:sp>
        <p:nvSpPr>
          <p:cNvPr id="6" name="Textplatzhalter 3">
            <a:extLst>
              <a:ext uri="{FF2B5EF4-FFF2-40B4-BE49-F238E27FC236}">
                <a16:creationId xmlns:a16="http://schemas.microsoft.com/office/drawing/2014/main" id="{2C0747A9-A3E7-96FB-E929-23904A9EEA4E}"/>
              </a:ext>
            </a:extLst>
          </p:cNvPr>
          <p:cNvSpPr>
            <a:spLocks noGrp="1"/>
          </p:cNvSpPr>
          <p:nvPr>
            <p:ph type="body" sz="quarter" idx="14" hasCustomPrompt="1"/>
          </p:nvPr>
        </p:nvSpPr>
        <p:spPr bwMode="gray">
          <a:xfrm>
            <a:off x="382587" y="265541"/>
            <a:ext cx="11428413" cy="136525"/>
          </a:xfrm>
        </p:spPr>
        <p:txBody>
          <a:bodyPr anchor="b" anchorCtr="0">
            <a:noAutofit/>
          </a:bodyPr>
          <a:lstStyle>
            <a:lvl1pPr marL="0" indent="0">
              <a:buNone/>
              <a:defRPr sz="1000">
                <a:solidFill>
                  <a:schemeClr val="tx2"/>
                </a:solidFill>
              </a:defRPr>
            </a:lvl1pPr>
          </a:lstStyle>
          <a:p>
            <a:pPr lvl="0"/>
            <a:r>
              <a:rPr lang="en-US" noProof="0"/>
              <a:t>Topline</a:t>
            </a:r>
          </a:p>
        </p:txBody>
      </p:sp>
      <p:sp>
        <p:nvSpPr>
          <p:cNvPr id="4" name="Date Placeholder 3">
            <a:extLst>
              <a:ext uri="{FF2B5EF4-FFF2-40B4-BE49-F238E27FC236}">
                <a16:creationId xmlns:a16="http://schemas.microsoft.com/office/drawing/2014/main" id="{F0797FCB-13B1-A3B1-1025-6D435EDC4D68}"/>
              </a:ext>
            </a:extLst>
          </p:cNvPr>
          <p:cNvSpPr>
            <a:spLocks noGrp="1"/>
          </p:cNvSpPr>
          <p:nvPr>
            <p:ph type="dt" sz="half" idx="23"/>
          </p:nvPr>
        </p:nvSpPr>
        <p:spPr bwMode="gray"/>
        <p:txBody>
          <a:bodyPr/>
          <a:lstStyle/>
          <a:p>
            <a:fld id="{FBF22C74-D3E8-48BA-9D89-D2847466EE91}" type="datetime1">
              <a:rPr lang="en-US" noProof="0" smtClean="0"/>
              <a:t>10/31/2024</a:t>
            </a:fld>
            <a:endParaRPr lang="en-US" noProof="0"/>
          </a:p>
        </p:txBody>
      </p:sp>
      <p:sp>
        <p:nvSpPr>
          <p:cNvPr id="8" name="Footer Placeholder 7">
            <a:extLst>
              <a:ext uri="{FF2B5EF4-FFF2-40B4-BE49-F238E27FC236}">
                <a16:creationId xmlns:a16="http://schemas.microsoft.com/office/drawing/2014/main" id="{AB475B5C-40E9-CFD0-B13B-D01A832FEA01}"/>
              </a:ext>
            </a:extLst>
          </p:cNvPr>
          <p:cNvSpPr>
            <a:spLocks noGrp="1"/>
          </p:cNvSpPr>
          <p:nvPr>
            <p:ph type="ftr" sz="quarter" idx="24"/>
          </p:nvPr>
        </p:nvSpPr>
        <p:spPr bwMode="gray"/>
        <p:txBody>
          <a:bodyPr/>
          <a:lstStyle/>
          <a:p>
            <a:r>
              <a:rPr lang="en-US" noProof="0"/>
              <a:t>Group Presentation</a:t>
            </a:r>
          </a:p>
        </p:txBody>
      </p:sp>
      <p:sp>
        <p:nvSpPr>
          <p:cNvPr id="20" name="Slide Number Placeholder 19">
            <a:extLst>
              <a:ext uri="{FF2B5EF4-FFF2-40B4-BE49-F238E27FC236}">
                <a16:creationId xmlns:a16="http://schemas.microsoft.com/office/drawing/2014/main" id="{CDB59002-1255-6078-3309-DFB1C7120D2D}"/>
              </a:ext>
            </a:extLst>
          </p:cNvPr>
          <p:cNvSpPr>
            <a:spLocks noGrp="1"/>
          </p:cNvSpPr>
          <p:nvPr>
            <p:ph type="sldNum" sz="quarter" idx="40"/>
          </p:nvPr>
        </p:nvSpPr>
        <p:spPr bwMode="gray"/>
        <p:txBody>
          <a:bodyPr/>
          <a:lstStyle/>
          <a:p>
            <a:fld id="{A115CDC9-74CB-4F6C-8CD3-A6C89F254EE7}" type="slidenum">
              <a:rPr lang="en-US" noProof="0" smtClean="0"/>
              <a:pPr/>
              <a:t>‹#›</a:t>
            </a:fld>
            <a:endParaRPr lang="en-US" noProof="0"/>
          </a:p>
        </p:txBody>
      </p:sp>
      <p:sp>
        <p:nvSpPr>
          <p:cNvPr id="21" name="Textplatzhalter 17">
            <a:extLst>
              <a:ext uri="{FF2B5EF4-FFF2-40B4-BE49-F238E27FC236}">
                <a16:creationId xmlns:a16="http://schemas.microsoft.com/office/drawing/2014/main" id="{62E704E2-AB68-4955-E1C7-316B83D5A5B8}"/>
              </a:ext>
            </a:extLst>
          </p:cNvPr>
          <p:cNvSpPr>
            <a:spLocks noGrp="1"/>
          </p:cNvSpPr>
          <p:nvPr>
            <p:ph type="body" sz="quarter" idx="39" hasCustomPrompt="1"/>
          </p:nvPr>
        </p:nvSpPr>
        <p:spPr bwMode="gray">
          <a:xfrm>
            <a:off x="4260850" y="3568509"/>
            <a:ext cx="7550150" cy="528810"/>
          </a:xfrm>
        </p:spPr>
        <p:txBody>
          <a:bodyPr tIns="360000" anchor="b" anchorCtr="0">
            <a:noAutofit/>
          </a:bodyPr>
          <a:lstStyle>
            <a:lvl1pPr marL="0" indent="0">
              <a:spcBef>
                <a:spcPts val="0"/>
              </a:spcBef>
              <a:buNone/>
              <a:defRPr sz="1000">
                <a:solidFill>
                  <a:schemeClr val="tx2"/>
                </a:solidFill>
              </a:defRPr>
            </a:lvl1pPr>
          </a:lstStyle>
          <a:p>
            <a:pPr lvl="0"/>
            <a:r>
              <a:rPr lang="en-US" noProof="0"/>
              <a:t>First name </a:t>
            </a:r>
            <a:r>
              <a:rPr lang="en-US" noProof="0" err="1"/>
              <a:t>Name</a:t>
            </a:r>
            <a:endParaRPr lang="en-US" noProof="0"/>
          </a:p>
          <a:p>
            <a:pPr lvl="0"/>
            <a:r>
              <a:rPr lang="en-US" noProof="0"/>
              <a:t>Function, Department</a:t>
            </a:r>
          </a:p>
        </p:txBody>
      </p:sp>
      <p:sp>
        <p:nvSpPr>
          <p:cNvPr id="9" name="Bildplatzhalter 19">
            <a:extLst>
              <a:ext uri="{FF2B5EF4-FFF2-40B4-BE49-F238E27FC236}">
                <a16:creationId xmlns:a16="http://schemas.microsoft.com/office/drawing/2014/main" id="{F39A7CF6-4924-A210-E3DB-07D6509E83AA}"/>
              </a:ext>
            </a:extLst>
          </p:cNvPr>
          <p:cNvSpPr>
            <a:spLocks noGrp="1"/>
          </p:cNvSpPr>
          <p:nvPr>
            <p:ph type="pic" sz="quarter" idx="22" hasCustomPrompt="1"/>
          </p:nvPr>
        </p:nvSpPr>
        <p:spPr bwMode="gray">
          <a:xfrm>
            <a:off x="1025514" y="6410506"/>
            <a:ext cx="1062384" cy="103295"/>
          </a:xfrm>
          <a:blipFill>
            <a:blip r:embed="rId6"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79430996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Quote 4">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9BE747-69D4-BE40-4798-C5250BE5FA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D39BE747-69D4-BE40-4798-C5250BE5F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51B21D90-9527-D4BA-D5D6-44BF1191E543}"/>
              </a:ext>
            </a:extLst>
          </p:cNvPr>
          <p:cNvSpPr/>
          <p:nvPr/>
        </p:nvSpPr>
        <p:spPr bwMode="gray">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Titel 11">
            <a:extLst>
              <a:ext uri="{FF2B5EF4-FFF2-40B4-BE49-F238E27FC236}">
                <a16:creationId xmlns:a16="http://schemas.microsoft.com/office/drawing/2014/main" id="{9528F242-BD3B-01EB-134C-F8E7E359791F}"/>
              </a:ext>
            </a:extLst>
          </p:cNvPr>
          <p:cNvSpPr>
            <a:spLocks noGrp="1"/>
          </p:cNvSpPr>
          <p:nvPr>
            <p:ph type="title" hasCustomPrompt="1"/>
          </p:nvPr>
        </p:nvSpPr>
        <p:spPr bwMode="gray">
          <a:xfrm>
            <a:off x="4260850" y="1931779"/>
            <a:ext cx="7550150" cy="1636730"/>
          </a:xfrm>
        </p:spPr>
        <p:txBody>
          <a:bodyPr vert="horz" wrap="square" anchor="t" anchorCtr="0">
            <a:spAutoFit/>
          </a:bodyPr>
          <a:lstStyle>
            <a:lvl1pPr>
              <a:lnSpc>
                <a:spcPct val="120000"/>
              </a:lnSpc>
              <a:defRPr sz="3000">
                <a:solidFill>
                  <a:schemeClr val="bg1"/>
                </a:solidFill>
              </a:defRPr>
            </a:lvl1pPr>
          </a:lstStyle>
          <a:p>
            <a:r>
              <a:rPr lang="en-US" noProof="0"/>
              <a:t>Quote lorem ipsum</a:t>
            </a:r>
            <a:br>
              <a:rPr lang="en-US" noProof="0"/>
            </a:br>
            <a:br>
              <a:rPr lang="en-US" noProof="0"/>
            </a:br>
            <a:endParaRPr lang="en-US" noProof="0"/>
          </a:p>
        </p:txBody>
      </p:sp>
      <p:sp>
        <p:nvSpPr>
          <p:cNvPr id="13" name="Textfeld 12">
            <a:extLst>
              <a:ext uri="{FF2B5EF4-FFF2-40B4-BE49-F238E27FC236}">
                <a16:creationId xmlns:a16="http://schemas.microsoft.com/office/drawing/2014/main" id="{328D7683-162E-7913-135E-4F841CB805CD}"/>
              </a:ext>
            </a:extLst>
          </p:cNvPr>
          <p:cNvSpPr txBox="1"/>
          <p:nvPr/>
        </p:nvSpPr>
        <p:spPr bwMode="gray">
          <a:xfrm>
            <a:off x="3135288" y="1393376"/>
            <a:ext cx="1188648" cy="1273486"/>
          </a:xfrm>
          <a:prstGeom prst="rect">
            <a:avLst/>
          </a:prstGeom>
          <a:noFill/>
        </p:spPr>
        <p:txBody>
          <a:bodyPr wrap="square" lIns="0" tIns="0" rIns="0" bIns="0" rtlCol="0" anchor="t" anchorCtr="0">
            <a:noAutofit/>
          </a:bodyPr>
          <a:lstStyle/>
          <a:p>
            <a:r>
              <a:rPr lang="en-US" sz="16000" b="1" noProof="0">
                <a:solidFill>
                  <a:schemeClr val="bg1"/>
                </a:solidFill>
                <a:latin typeface="+mj-lt"/>
              </a:rPr>
              <a:t>”</a:t>
            </a:r>
          </a:p>
        </p:txBody>
      </p:sp>
      <p:grpSp>
        <p:nvGrpSpPr>
          <p:cNvPr id="7" name="object 8">
            <a:extLst>
              <a:ext uri="{FF2B5EF4-FFF2-40B4-BE49-F238E27FC236}">
                <a16:creationId xmlns:a16="http://schemas.microsoft.com/office/drawing/2014/main" id="{BA33DC19-F39D-9A71-68F5-5C370C2AD846}"/>
              </a:ext>
            </a:extLst>
          </p:cNvPr>
          <p:cNvGrpSpPr/>
          <p:nvPr/>
        </p:nvGrpSpPr>
        <p:grpSpPr bwMode="gray">
          <a:xfrm>
            <a:off x="11523000" y="6201700"/>
            <a:ext cx="288000" cy="288000"/>
            <a:chOff x="18934851" y="10156759"/>
            <a:chExt cx="523875" cy="523875"/>
          </a:xfrm>
        </p:grpSpPr>
        <p:sp>
          <p:nvSpPr>
            <p:cNvPr id="11" name="object 9">
              <a:extLst>
                <a:ext uri="{FF2B5EF4-FFF2-40B4-BE49-F238E27FC236}">
                  <a16:creationId xmlns:a16="http://schemas.microsoft.com/office/drawing/2014/main" id="{801BE55F-9606-31E1-7763-7FEB8EC6F232}"/>
                </a:ext>
              </a:extLst>
            </p:cNvPr>
            <p:cNvSpPr/>
            <p:nvPr/>
          </p:nvSpPr>
          <p:spPr bwMode="gray">
            <a:xfrm>
              <a:off x="18934851" y="10156759"/>
              <a:ext cx="523875" cy="523875"/>
            </a:xfrm>
            <a:custGeom>
              <a:avLst/>
              <a:gdLst/>
              <a:ahLst/>
              <a:cxnLst/>
              <a:rect l="l" t="t" r="r" b="b"/>
              <a:pathLst>
                <a:path w="523875" h="523875">
                  <a:moveTo>
                    <a:pt x="322178" y="0"/>
                  </a:moveTo>
                  <a:lnTo>
                    <a:pt x="0" y="0"/>
                  </a:lnTo>
                  <a:lnTo>
                    <a:pt x="0" y="322178"/>
                  </a:lnTo>
                  <a:lnTo>
                    <a:pt x="5318" y="368349"/>
                  </a:lnTo>
                  <a:lnTo>
                    <a:pt x="20467" y="410734"/>
                  </a:lnTo>
                  <a:lnTo>
                    <a:pt x="44237" y="448122"/>
                  </a:lnTo>
                  <a:lnTo>
                    <a:pt x="75421" y="479306"/>
                  </a:lnTo>
                  <a:lnTo>
                    <a:pt x="112810" y="503077"/>
                  </a:lnTo>
                  <a:lnTo>
                    <a:pt x="155194" y="518226"/>
                  </a:lnTo>
                  <a:lnTo>
                    <a:pt x="201365" y="523544"/>
                  </a:lnTo>
                  <a:lnTo>
                    <a:pt x="523544" y="523544"/>
                  </a:lnTo>
                  <a:lnTo>
                    <a:pt x="523544" y="201365"/>
                  </a:lnTo>
                  <a:lnTo>
                    <a:pt x="518226" y="155194"/>
                  </a:lnTo>
                  <a:lnTo>
                    <a:pt x="503077" y="112810"/>
                  </a:lnTo>
                  <a:lnTo>
                    <a:pt x="479306" y="75421"/>
                  </a:lnTo>
                  <a:lnTo>
                    <a:pt x="448122" y="44237"/>
                  </a:lnTo>
                  <a:lnTo>
                    <a:pt x="410734" y="20467"/>
                  </a:lnTo>
                  <a:lnTo>
                    <a:pt x="368349" y="5318"/>
                  </a:lnTo>
                  <a:lnTo>
                    <a:pt x="322178" y="0"/>
                  </a:lnTo>
                  <a:close/>
                </a:path>
              </a:pathLst>
            </a:custGeom>
            <a:solidFill>
              <a:srgbClr val="FFFFFF"/>
            </a:solidFill>
          </p:spPr>
          <p:txBody>
            <a:bodyPr wrap="square" lIns="0" tIns="0" rIns="0" bIns="0" rtlCol="0"/>
            <a:lstStyle/>
            <a:p>
              <a:endParaRPr lang="en-US" noProof="0"/>
            </a:p>
          </p:txBody>
        </p:sp>
        <p:sp>
          <p:nvSpPr>
            <p:cNvPr id="14" name="object 10">
              <a:extLst>
                <a:ext uri="{FF2B5EF4-FFF2-40B4-BE49-F238E27FC236}">
                  <a16:creationId xmlns:a16="http://schemas.microsoft.com/office/drawing/2014/main" id="{AC519FB5-1AEA-E042-F41C-04E9DA964A51}"/>
                </a:ext>
              </a:extLst>
            </p:cNvPr>
            <p:cNvSpPr/>
            <p:nvPr/>
          </p:nvSpPr>
          <p:spPr bwMode="gray">
            <a:xfrm>
              <a:off x="19216760" y="10337986"/>
              <a:ext cx="161290" cy="262255"/>
            </a:xfrm>
            <a:custGeom>
              <a:avLst/>
              <a:gdLst/>
              <a:ahLst/>
              <a:cxnLst/>
              <a:rect l="l" t="t" r="r" b="b"/>
              <a:pathLst>
                <a:path w="161290" h="262254">
                  <a:moveTo>
                    <a:pt x="40271" y="0"/>
                  </a:moveTo>
                  <a:lnTo>
                    <a:pt x="0" y="0"/>
                  </a:lnTo>
                  <a:lnTo>
                    <a:pt x="0" y="140959"/>
                  </a:lnTo>
                  <a:lnTo>
                    <a:pt x="9494" y="187983"/>
                  </a:lnTo>
                  <a:lnTo>
                    <a:pt x="35386" y="226385"/>
                  </a:lnTo>
                  <a:lnTo>
                    <a:pt x="73788" y="252277"/>
                  </a:lnTo>
                  <a:lnTo>
                    <a:pt x="120813" y="261772"/>
                  </a:lnTo>
                  <a:lnTo>
                    <a:pt x="161094" y="261772"/>
                  </a:lnTo>
                  <a:lnTo>
                    <a:pt x="161094" y="120813"/>
                  </a:lnTo>
                  <a:lnTo>
                    <a:pt x="151599" y="73788"/>
                  </a:lnTo>
                  <a:lnTo>
                    <a:pt x="125706" y="35386"/>
                  </a:lnTo>
                  <a:lnTo>
                    <a:pt x="87301" y="9494"/>
                  </a:lnTo>
                  <a:lnTo>
                    <a:pt x="40271" y="0"/>
                  </a:lnTo>
                  <a:close/>
                </a:path>
              </a:pathLst>
            </a:custGeom>
            <a:solidFill>
              <a:srgbClr val="00DE15"/>
            </a:solidFill>
          </p:spPr>
          <p:txBody>
            <a:bodyPr wrap="square" lIns="0" tIns="0" rIns="0" bIns="0" rtlCol="0"/>
            <a:lstStyle/>
            <a:p>
              <a:endParaRPr lang="en-US" noProof="0"/>
            </a:p>
          </p:txBody>
        </p:sp>
        <p:sp>
          <p:nvSpPr>
            <p:cNvPr id="15" name="object 11">
              <a:extLst>
                <a:ext uri="{FF2B5EF4-FFF2-40B4-BE49-F238E27FC236}">
                  <a16:creationId xmlns:a16="http://schemas.microsoft.com/office/drawing/2014/main" id="{0DAF7A71-5B8A-32B5-28AC-258011C3E65B}"/>
                </a:ext>
              </a:extLst>
            </p:cNvPr>
            <p:cNvSpPr/>
            <p:nvPr/>
          </p:nvSpPr>
          <p:spPr bwMode="gray">
            <a:xfrm>
              <a:off x="19015396" y="10237304"/>
              <a:ext cx="161290" cy="362585"/>
            </a:xfrm>
            <a:custGeom>
              <a:avLst/>
              <a:gdLst/>
              <a:ahLst/>
              <a:cxnLst/>
              <a:rect l="l" t="t" r="r" b="b"/>
              <a:pathLst>
                <a:path w="161290" h="362584">
                  <a:moveTo>
                    <a:pt x="161094" y="0"/>
                  </a:moveTo>
                  <a:lnTo>
                    <a:pt x="0" y="0"/>
                  </a:lnTo>
                  <a:lnTo>
                    <a:pt x="0" y="241636"/>
                  </a:lnTo>
                  <a:lnTo>
                    <a:pt x="9494" y="288661"/>
                  </a:lnTo>
                  <a:lnTo>
                    <a:pt x="35387" y="327063"/>
                  </a:lnTo>
                  <a:lnTo>
                    <a:pt x="73792" y="352955"/>
                  </a:lnTo>
                  <a:lnTo>
                    <a:pt x="120823" y="362449"/>
                  </a:lnTo>
                  <a:lnTo>
                    <a:pt x="161094" y="362449"/>
                  </a:lnTo>
                  <a:lnTo>
                    <a:pt x="161094" y="0"/>
                  </a:lnTo>
                  <a:close/>
                </a:path>
              </a:pathLst>
            </a:custGeom>
            <a:solidFill>
              <a:srgbClr val="004D24"/>
            </a:solidFill>
          </p:spPr>
          <p:txBody>
            <a:bodyPr wrap="square" lIns="0" tIns="0" rIns="0" bIns="0" rtlCol="0"/>
            <a:lstStyle/>
            <a:p>
              <a:endParaRPr lang="en-US" noProof="0"/>
            </a:p>
          </p:txBody>
        </p:sp>
      </p:grpSp>
      <p:sp>
        <p:nvSpPr>
          <p:cNvPr id="3" name="Textplatzhalter 3">
            <a:extLst>
              <a:ext uri="{FF2B5EF4-FFF2-40B4-BE49-F238E27FC236}">
                <a16:creationId xmlns:a16="http://schemas.microsoft.com/office/drawing/2014/main" id="{D8971AA6-A8A8-C7C8-5EBF-D2786C0E8144}"/>
              </a:ext>
            </a:extLst>
          </p:cNvPr>
          <p:cNvSpPr>
            <a:spLocks noGrp="1"/>
          </p:cNvSpPr>
          <p:nvPr>
            <p:ph type="body" sz="quarter" idx="14" hasCustomPrompt="1"/>
          </p:nvPr>
        </p:nvSpPr>
        <p:spPr bwMode="gray">
          <a:xfrm>
            <a:off x="382587" y="265541"/>
            <a:ext cx="11428413" cy="136525"/>
          </a:xfrm>
        </p:spPr>
        <p:txBody>
          <a:bodyPr anchor="b" anchorCtr="0">
            <a:noAutofit/>
          </a:bodyPr>
          <a:lstStyle>
            <a:lvl1pPr marL="0" indent="0">
              <a:buNone/>
              <a:defRPr sz="1000">
                <a:solidFill>
                  <a:schemeClr val="bg1"/>
                </a:solidFill>
              </a:defRPr>
            </a:lvl1pPr>
          </a:lstStyle>
          <a:p>
            <a:pPr lvl="0"/>
            <a:r>
              <a:rPr lang="en-US" noProof="0"/>
              <a:t>Topline</a:t>
            </a:r>
          </a:p>
        </p:txBody>
      </p:sp>
      <p:sp>
        <p:nvSpPr>
          <p:cNvPr id="21" name="Date Placeholder 20">
            <a:extLst>
              <a:ext uri="{FF2B5EF4-FFF2-40B4-BE49-F238E27FC236}">
                <a16:creationId xmlns:a16="http://schemas.microsoft.com/office/drawing/2014/main" id="{6EAB4C59-066B-52F6-30C5-B303CB95353A}"/>
              </a:ext>
            </a:extLst>
          </p:cNvPr>
          <p:cNvSpPr>
            <a:spLocks noGrp="1"/>
          </p:cNvSpPr>
          <p:nvPr>
            <p:ph type="dt" sz="half" idx="40"/>
          </p:nvPr>
        </p:nvSpPr>
        <p:spPr bwMode="gray"/>
        <p:txBody>
          <a:bodyPr/>
          <a:lstStyle>
            <a:lvl1pPr>
              <a:defRPr>
                <a:solidFill>
                  <a:schemeClr val="bg1"/>
                </a:solidFill>
              </a:defRPr>
            </a:lvl1pPr>
          </a:lstStyle>
          <a:p>
            <a:fld id="{E30FC882-2A42-4320-A9C9-E24AA85973EC}" type="datetime1">
              <a:rPr lang="en-US" noProof="0" smtClean="0"/>
              <a:t>10/31/2024</a:t>
            </a:fld>
            <a:endParaRPr lang="en-US" noProof="0"/>
          </a:p>
        </p:txBody>
      </p:sp>
      <p:sp>
        <p:nvSpPr>
          <p:cNvPr id="22" name="Footer Placeholder 21">
            <a:extLst>
              <a:ext uri="{FF2B5EF4-FFF2-40B4-BE49-F238E27FC236}">
                <a16:creationId xmlns:a16="http://schemas.microsoft.com/office/drawing/2014/main" id="{A2494D20-7786-F9C5-4D69-F427B868B562}"/>
              </a:ext>
            </a:extLst>
          </p:cNvPr>
          <p:cNvSpPr>
            <a:spLocks noGrp="1"/>
          </p:cNvSpPr>
          <p:nvPr>
            <p:ph type="ftr" sz="quarter" idx="41"/>
          </p:nvPr>
        </p:nvSpPr>
        <p:spPr bwMode="gray"/>
        <p:txBody>
          <a:bodyPr/>
          <a:lstStyle>
            <a:lvl1pPr>
              <a:defRPr>
                <a:solidFill>
                  <a:schemeClr val="bg1"/>
                </a:solidFill>
              </a:defRPr>
            </a:lvl1pPr>
          </a:lstStyle>
          <a:p>
            <a:r>
              <a:rPr lang="en-US" noProof="0"/>
              <a:t>Group Presentation</a:t>
            </a:r>
          </a:p>
        </p:txBody>
      </p:sp>
      <p:sp>
        <p:nvSpPr>
          <p:cNvPr id="23" name="Slide Number Placeholder 22">
            <a:extLst>
              <a:ext uri="{FF2B5EF4-FFF2-40B4-BE49-F238E27FC236}">
                <a16:creationId xmlns:a16="http://schemas.microsoft.com/office/drawing/2014/main" id="{925C5F23-020F-D532-B9D0-18F02789CEFE}"/>
              </a:ext>
            </a:extLst>
          </p:cNvPr>
          <p:cNvSpPr>
            <a:spLocks noGrp="1"/>
          </p:cNvSpPr>
          <p:nvPr>
            <p:ph type="sldNum" sz="quarter" idx="42"/>
          </p:nvPr>
        </p:nvSpPr>
        <p:spPr bwMode="gray"/>
        <p:txBody>
          <a:bodyPr/>
          <a:lstStyle>
            <a:lvl1pPr>
              <a:defRPr>
                <a:solidFill>
                  <a:schemeClr val="bg1"/>
                </a:solidFill>
              </a:defRPr>
            </a:lvl1pPr>
          </a:lstStyle>
          <a:p>
            <a:fld id="{A115CDC9-74CB-4F6C-8CD3-A6C89F254EE7}" type="slidenum">
              <a:rPr lang="en-US" noProof="0" smtClean="0"/>
              <a:pPr/>
              <a:t>‹#›</a:t>
            </a:fld>
            <a:endParaRPr lang="en-US" noProof="0"/>
          </a:p>
        </p:txBody>
      </p:sp>
      <p:sp>
        <p:nvSpPr>
          <p:cNvPr id="24" name="Textplatzhalter 17">
            <a:extLst>
              <a:ext uri="{FF2B5EF4-FFF2-40B4-BE49-F238E27FC236}">
                <a16:creationId xmlns:a16="http://schemas.microsoft.com/office/drawing/2014/main" id="{3021DC27-EA68-F613-3DE7-12EBDA2A8DD9}"/>
              </a:ext>
            </a:extLst>
          </p:cNvPr>
          <p:cNvSpPr>
            <a:spLocks noGrp="1"/>
          </p:cNvSpPr>
          <p:nvPr>
            <p:ph type="body" sz="quarter" idx="39" hasCustomPrompt="1"/>
          </p:nvPr>
        </p:nvSpPr>
        <p:spPr bwMode="gray">
          <a:xfrm>
            <a:off x="4260850" y="3568509"/>
            <a:ext cx="7550150" cy="528810"/>
          </a:xfrm>
        </p:spPr>
        <p:txBody>
          <a:bodyPr tIns="360000" anchor="b" anchorCtr="0">
            <a:noAutofit/>
          </a:bodyPr>
          <a:lstStyle>
            <a:lvl1pPr marL="0" indent="0">
              <a:spcBef>
                <a:spcPts val="0"/>
              </a:spcBef>
              <a:buNone/>
              <a:defRPr sz="1000">
                <a:solidFill>
                  <a:schemeClr val="bg1"/>
                </a:solidFill>
              </a:defRPr>
            </a:lvl1pPr>
          </a:lstStyle>
          <a:p>
            <a:pPr lvl="0"/>
            <a:r>
              <a:rPr lang="en-US" noProof="0"/>
              <a:t>First name </a:t>
            </a:r>
            <a:r>
              <a:rPr lang="en-US" noProof="0" err="1"/>
              <a:t>Name</a:t>
            </a:r>
            <a:endParaRPr lang="en-US" noProof="0"/>
          </a:p>
          <a:p>
            <a:pPr lvl="0"/>
            <a:r>
              <a:rPr lang="en-US" noProof="0"/>
              <a:t>Function, Department</a:t>
            </a:r>
          </a:p>
        </p:txBody>
      </p:sp>
      <p:sp>
        <p:nvSpPr>
          <p:cNvPr id="4" name="Bildplatzhalter 19">
            <a:extLst>
              <a:ext uri="{FF2B5EF4-FFF2-40B4-BE49-F238E27FC236}">
                <a16:creationId xmlns:a16="http://schemas.microsoft.com/office/drawing/2014/main" id="{93CD882A-7E5D-97E5-A907-6DDBD4E14E8A}"/>
              </a:ext>
            </a:extLst>
          </p:cNvPr>
          <p:cNvSpPr>
            <a:spLocks noGrp="1"/>
          </p:cNvSpPr>
          <p:nvPr>
            <p:ph type="pic" sz="quarter" idx="43"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40457788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Bullets/Bodytext + 3x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90"/>
            <a:ext cx="10458641"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3FF7AF33-C6C8-E6D0-14B0-5E911481ABF3}"/>
              </a:ext>
            </a:extLst>
          </p:cNvPr>
          <p:cNvSpPr>
            <a:spLocks noGrp="1"/>
          </p:cNvSpPr>
          <p:nvPr>
            <p:ph type="pic" sz="quarter" idx="17"/>
          </p:nvPr>
        </p:nvSpPr>
        <p:spPr>
          <a:xfrm>
            <a:off x="949902" y="4120007"/>
            <a:ext cx="3363756" cy="2392111"/>
          </a:xfrm>
          <a:prstGeom prst="rect">
            <a:avLst/>
          </a:prstGeom>
        </p:spPr>
        <p:txBody>
          <a:bodyPr/>
          <a:lstStyle/>
          <a:p>
            <a:endParaRPr lang="nb-NO"/>
          </a:p>
        </p:txBody>
      </p:sp>
      <p:sp>
        <p:nvSpPr>
          <p:cNvPr id="5" name="Plassholder for bilde 7">
            <a:extLst>
              <a:ext uri="{FF2B5EF4-FFF2-40B4-BE49-F238E27FC236}">
                <a16:creationId xmlns:a16="http://schemas.microsoft.com/office/drawing/2014/main" id="{A1CF9D79-C3DF-EDB5-94E1-D0008C1C917A}"/>
              </a:ext>
            </a:extLst>
          </p:cNvPr>
          <p:cNvSpPr>
            <a:spLocks noGrp="1"/>
          </p:cNvSpPr>
          <p:nvPr>
            <p:ph type="pic" sz="quarter" idx="18"/>
          </p:nvPr>
        </p:nvSpPr>
        <p:spPr>
          <a:xfrm>
            <a:off x="4502382" y="4120006"/>
            <a:ext cx="3363756" cy="2392111"/>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3178568-1602-C101-A65E-EE1E000D2406}"/>
              </a:ext>
            </a:extLst>
          </p:cNvPr>
          <p:cNvSpPr>
            <a:spLocks noGrp="1"/>
          </p:cNvSpPr>
          <p:nvPr>
            <p:ph type="pic" sz="quarter" idx="19"/>
          </p:nvPr>
        </p:nvSpPr>
        <p:spPr>
          <a:xfrm>
            <a:off x="8054862" y="4120006"/>
            <a:ext cx="3363756" cy="2392111"/>
          </a:xfrm>
          <a:prstGeom prst="rect">
            <a:avLst/>
          </a:prstGeom>
        </p:spPr>
        <p:txBody>
          <a:bodyPr/>
          <a:lstStyle/>
          <a:p>
            <a:endParaRPr lang="nb-NO"/>
          </a:p>
        </p:txBody>
      </p:sp>
    </p:spTree>
    <p:extLst>
      <p:ext uri="{BB962C8B-B14F-4D97-AF65-F5344CB8AC3E}">
        <p14:creationId xmlns:p14="http://schemas.microsoft.com/office/powerpoint/2010/main" val="209955366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E19A07-746D-2D9B-F855-5F2CC71A9E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4" name="Object 3" hidden="1">
                        <a:extLst>
                          <a:ext uri="{FF2B5EF4-FFF2-40B4-BE49-F238E27FC236}">
                            <a16:creationId xmlns:a16="http://schemas.microsoft.com/office/drawing/2014/main" id="{09E19A07-746D-2D9B-F855-5F2CC71A9E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Bildplatzhalter 23">
            <a:extLst>
              <a:ext uri="{FF2B5EF4-FFF2-40B4-BE49-F238E27FC236}">
                <a16:creationId xmlns:a16="http://schemas.microsoft.com/office/drawing/2014/main" id="{99DE7B15-DCA0-0D30-8D96-FAF6090C900D}"/>
              </a:ext>
            </a:extLst>
          </p:cNvPr>
          <p:cNvSpPr>
            <a:spLocks noGrp="1"/>
          </p:cNvSpPr>
          <p:nvPr>
            <p:ph type="pic" sz="quarter" idx="18" hasCustomPrompt="1"/>
          </p:nvPr>
        </p:nvSpPr>
        <p:spPr>
          <a:xfrm>
            <a:off x="8127840" y="3746204"/>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23" name="Bildplatzhalter 22">
            <a:extLst>
              <a:ext uri="{FF2B5EF4-FFF2-40B4-BE49-F238E27FC236}">
                <a16:creationId xmlns:a16="http://schemas.microsoft.com/office/drawing/2014/main" id="{07E3C596-F18A-15FD-66E2-11E5DDC3B11A}"/>
              </a:ext>
            </a:extLst>
          </p:cNvPr>
          <p:cNvSpPr>
            <a:spLocks noGrp="1"/>
          </p:cNvSpPr>
          <p:nvPr>
            <p:ph type="pic" sz="quarter" idx="17" hasCustomPrompt="1"/>
          </p:nvPr>
        </p:nvSpPr>
        <p:spPr>
          <a:xfrm>
            <a:off x="8127840" y="1572762"/>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22" name="Bildplatzhalter 21">
            <a:extLst>
              <a:ext uri="{FF2B5EF4-FFF2-40B4-BE49-F238E27FC236}">
                <a16:creationId xmlns:a16="http://schemas.microsoft.com/office/drawing/2014/main" id="{C691EA09-7E71-6539-AE94-7852DAE061DF}"/>
              </a:ext>
            </a:extLst>
          </p:cNvPr>
          <p:cNvSpPr>
            <a:spLocks noGrp="1"/>
          </p:cNvSpPr>
          <p:nvPr>
            <p:ph type="pic" sz="quarter" idx="16" hasCustomPrompt="1"/>
          </p:nvPr>
        </p:nvSpPr>
        <p:spPr>
          <a:xfrm>
            <a:off x="4254645" y="3746204"/>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21" name="Bildplatzhalter 20">
            <a:extLst>
              <a:ext uri="{FF2B5EF4-FFF2-40B4-BE49-F238E27FC236}">
                <a16:creationId xmlns:a16="http://schemas.microsoft.com/office/drawing/2014/main" id="{646274DF-2607-6E42-93B0-BEE397BD9AB6}"/>
              </a:ext>
            </a:extLst>
          </p:cNvPr>
          <p:cNvSpPr>
            <a:spLocks noGrp="1"/>
          </p:cNvSpPr>
          <p:nvPr>
            <p:ph type="pic" sz="quarter" idx="15" hasCustomPrompt="1"/>
          </p:nvPr>
        </p:nvSpPr>
        <p:spPr>
          <a:xfrm>
            <a:off x="4254646" y="1572762"/>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20" name="Bildplatzhalter 19">
            <a:extLst>
              <a:ext uri="{FF2B5EF4-FFF2-40B4-BE49-F238E27FC236}">
                <a16:creationId xmlns:a16="http://schemas.microsoft.com/office/drawing/2014/main" id="{B57DAD3D-CF90-52DF-FFF3-4E16D67B88E5}"/>
              </a:ext>
            </a:extLst>
          </p:cNvPr>
          <p:cNvSpPr>
            <a:spLocks noGrp="1"/>
          </p:cNvSpPr>
          <p:nvPr>
            <p:ph type="pic" sz="quarter" idx="14" hasCustomPrompt="1"/>
          </p:nvPr>
        </p:nvSpPr>
        <p:spPr>
          <a:xfrm>
            <a:off x="381451" y="3746204"/>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19" name="Bildplatzhalter 18">
            <a:extLst>
              <a:ext uri="{FF2B5EF4-FFF2-40B4-BE49-F238E27FC236}">
                <a16:creationId xmlns:a16="http://schemas.microsoft.com/office/drawing/2014/main" id="{ED1F137F-0BFA-343F-110B-26AD4466202A}"/>
              </a:ext>
            </a:extLst>
          </p:cNvPr>
          <p:cNvSpPr>
            <a:spLocks noGrp="1"/>
          </p:cNvSpPr>
          <p:nvPr>
            <p:ph type="pic" sz="quarter" idx="13" hasCustomPrompt="1"/>
          </p:nvPr>
        </p:nvSpPr>
        <p:spPr>
          <a:xfrm>
            <a:off x="381452" y="1572762"/>
            <a:ext cx="1469452" cy="1469458"/>
          </a:xfrm>
          <a:custGeom>
            <a:avLst/>
            <a:gdLst>
              <a:gd name="connsiteX0" fmla="*/ 734726 w 1469452"/>
              <a:gd name="connsiteY0" fmla="*/ 0 h 1469458"/>
              <a:gd name="connsiteX1" fmla="*/ 1469452 w 1469452"/>
              <a:gd name="connsiteY1" fmla="*/ 734729 h 1469458"/>
              <a:gd name="connsiteX2" fmla="*/ 734726 w 1469452"/>
              <a:gd name="connsiteY2" fmla="*/ 1469458 h 1469458"/>
              <a:gd name="connsiteX3" fmla="*/ 0 w 1469452"/>
              <a:gd name="connsiteY3" fmla="*/ 734729 h 1469458"/>
              <a:gd name="connsiteX4" fmla="*/ 734726 w 1469452"/>
              <a:gd name="connsiteY4" fmla="*/ 0 h 1469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452" h="1469458">
                <a:moveTo>
                  <a:pt x="734726" y="0"/>
                </a:moveTo>
                <a:cubicBezTo>
                  <a:pt x="1140504" y="0"/>
                  <a:pt x="1469452" y="328949"/>
                  <a:pt x="1469452" y="734729"/>
                </a:cubicBezTo>
                <a:cubicBezTo>
                  <a:pt x="1469452" y="1140509"/>
                  <a:pt x="1140504" y="1469458"/>
                  <a:pt x="734726" y="1469458"/>
                </a:cubicBezTo>
                <a:cubicBezTo>
                  <a:pt x="328948" y="1469458"/>
                  <a:pt x="0" y="1140509"/>
                  <a:pt x="0" y="734729"/>
                </a:cubicBezTo>
                <a:cubicBezTo>
                  <a:pt x="0" y="328949"/>
                  <a:pt x="328948" y="0"/>
                  <a:pt x="734726" y="0"/>
                </a:cubicBezTo>
                <a:close/>
              </a:path>
            </a:pathLst>
          </a:custGeom>
          <a:solidFill>
            <a:schemeClr val="bg2"/>
          </a:solidFill>
        </p:spPr>
        <p:txBody>
          <a:bodyPr wrap="square">
            <a:noAutofit/>
          </a:bodyPr>
          <a:lstStyle>
            <a:lvl1pPr>
              <a:defRPr/>
            </a:lvl1pPr>
          </a:lstStyle>
          <a:p>
            <a:r>
              <a:rPr lang="en-GB" noProof="0"/>
              <a:t> </a:t>
            </a:r>
          </a:p>
        </p:txBody>
      </p:sp>
      <p:sp>
        <p:nvSpPr>
          <p:cNvPr id="2" name="Titel 1">
            <a:extLst>
              <a:ext uri="{FF2B5EF4-FFF2-40B4-BE49-F238E27FC236}">
                <a16:creationId xmlns:a16="http://schemas.microsoft.com/office/drawing/2014/main" id="{6CF9C23E-BE04-F971-692A-7BB38E039615}"/>
              </a:ext>
            </a:extLst>
          </p:cNvPr>
          <p:cNvSpPr>
            <a:spLocks noGrp="1"/>
          </p:cNvSpPr>
          <p:nvPr>
            <p:ph type="title" hasCustomPrompt="1"/>
          </p:nvPr>
        </p:nvSpPr>
        <p:spPr/>
        <p:txBody>
          <a:bodyPr vert="horz"/>
          <a:lstStyle/>
          <a:p>
            <a:r>
              <a:rPr lang="en-US" noProof="0"/>
              <a:t>Slide heading</a:t>
            </a:r>
          </a:p>
        </p:txBody>
      </p:sp>
      <p:sp>
        <p:nvSpPr>
          <p:cNvPr id="9" name="Textplatzhalter 8">
            <a:extLst>
              <a:ext uri="{FF2B5EF4-FFF2-40B4-BE49-F238E27FC236}">
                <a16:creationId xmlns:a16="http://schemas.microsoft.com/office/drawing/2014/main" id="{43D7D8B9-97D3-2F7B-572E-D823B4E09664}"/>
              </a:ext>
            </a:extLst>
          </p:cNvPr>
          <p:cNvSpPr>
            <a:spLocks noGrp="1"/>
          </p:cNvSpPr>
          <p:nvPr>
            <p:ph type="body" sz="quarter" idx="23" hasCustomPrompt="1"/>
          </p:nvPr>
        </p:nvSpPr>
        <p:spPr>
          <a:xfrm>
            <a:off x="5997415" y="1573213"/>
            <a:ext cx="1941513" cy="376895"/>
          </a:xfrm>
        </p:spPr>
        <p:txBody>
          <a:bodyPr>
            <a:noAutofit/>
          </a:bodyPr>
          <a:lstStyle>
            <a:lvl1pPr marL="0" indent="0">
              <a:lnSpc>
                <a:spcPct val="100000"/>
              </a:lnSpc>
              <a:spcBef>
                <a:spcPts val="0"/>
              </a:spcBef>
              <a:buNone/>
              <a:defRPr b="1">
                <a:latin typeface="+mj-lt"/>
              </a:defRPr>
            </a:lvl1pPr>
          </a:lstStyle>
          <a:p>
            <a:r>
              <a:rPr lang="en-US"/>
              <a:t>First name</a:t>
            </a:r>
            <a:br>
              <a:rPr lang="en-US"/>
            </a:br>
            <a:r>
              <a:rPr lang="en-US"/>
              <a:t>Name</a:t>
            </a:r>
          </a:p>
        </p:txBody>
      </p:sp>
      <p:sp>
        <p:nvSpPr>
          <p:cNvPr id="11" name="Textplatzhalter 10">
            <a:extLst>
              <a:ext uri="{FF2B5EF4-FFF2-40B4-BE49-F238E27FC236}">
                <a16:creationId xmlns:a16="http://schemas.microsoft.com/office/drawing/2014/main" id="{B5CF3BFA-7A25-34C6-2979-E872DEF4E95E}"/>
              </a:ext>
            </a:extLst>
          </p:cNvPr>
          <p:cNvSpPr>
            <a:spLocks noGrp="1"/>
          </p:cNvSpPr>
          <p:nvPr>
            <p:ph type="body" sz="quarter" idx="24" hasCustomPrompt="1"/>
          </p:nvPr>
        </p:nvSpPr>
        <p:spPr>
          <a:xfrm>
            <a:off x="5997575" y="1950108"/>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12" name="Textplatzhalter 8">
            <a:extLst>
              <a:ext uri="{FF2B5EF4-FFF2-40B4-BE49-F238E27FC236}">
                <a16:creationId xmlns:a16="http://schemas.microsoft.com/office/drawing/2014/main" id="{0264E892-285F-4938-8A69-A1A3D140AD27}"/>
              </a:ext>
            </a:extLst>
          </p:cNvPr>
          <p:cNvSpPr>
            <a:spLocks noGrp="1"/>
          </p:cNvSpPr>
          <p:nvPr>
            <p:ph type="body" sz="quarter" idx="25" hasCustomPrompt="1"/>
          </p:nvPr>
        </p:nvSpPr>
        <p:spPr>
          <a:xfrm>
            <a:off x="5997415" y="3746204"/>
            <a:ext cx="1941513" cy="376895"/>
          </a:xfrm>
        </p:spPr>
        <p:txBody>
          <a:bodyPr>
            <a:noAutofit/>
          </a:bodyPr>
          <a:lstStyle>
            <a:lvl1pPr marL="0" indent="0">
              <a:lnSpc>
                <a:spcPct val="100000"/>
              </a:lnSpc>
              <a:spcBef>
                <a:spcPts val="0"/>
              </a:spcBef>
              <a:buNone/>
              <a:defRPr b="1">
                <a:latin typeface="+mj-lt"/>
              </a:defRPr>
            </a:lvl1pPr>
          </a:lstStyle>
          <a:p>
            <a:r>
              <a:rPr lang="en-US"/>
              <a:t>First name</a:t>
            </a:r>
            <a:br>
              <a:rPr lang="en-US"/>
            </a:br>
            <a:r>
              <a:rPr lang="en-US"/>
              <a:t>Name</a:t>
            </a:r>
          </a:p>
        </p:txBody>
      </p:sp>
      <p:sp>
        <p:nvSpPr>
          <p:cNvPr id="13" name="Textplatzhalter 10">
            <a:extLst>
              <a:ext uri="{FF2B5EF4-FFF2-40B4-BE49-F238E27FC236}">
                <a16:creationId xmlns:a16="http://schemas.microsoft.com/office/drawing/2014/main" id="{B8BC8AE4-BE09-9478-4478-CE74974B5BD7}"/>
              </a:ext>
            </a:extLst>
          </p:cNvPr>
          <p:cNvSpPr>
            <a:spLocks noGrp="1"/>
          </p:cNvSpPr>
          <p:nvPr>
            <p:ph type="body" sz="quarter" idx="26" hasCustomPrompt="1"/>
          </p:nvPr>
        </p:nvSpPr>
        <p:spPr>
          <a:xfrm>
            <a:off x="5997575" y="4123099"/>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14" name="Textplatzhalter 8">
            <a:extLst>
              <a:ext uri="{FF2B5EF4-FFF2-40B4-BE49-F238E27FC236}">
                <a16:creationId xmlns:a16="http://schemas.microsoft.com/office/drawing/2014/main" id="{C2AD8F4B-B816-DD4B-AFCF-515701BAE9CF}"/>
              </a:ext>
            </a:extLst>
          </p:cNvPr>
          <p:cNvSpPr>
            <a:spLocks noGrp="1"/>
          </p:cNvSpPr>
          <p:nvPr>
            <p:ph type="body" sz="quarter" idx="27" hasCustomPrompt="1"/>
          </p:nvPr>
        </p:nvSpPr>
        <p:spPr>
          <a:xfrm>
            <a:off x="2120740" y="1573213"/>
            <a:ext cx="1941513" cy="376895"/>
          </a:xfrm>
        </p:spPr>
        <p:txBody>
          <a:bodyPr>
            <a:noAutofit/>
          </a:bodyPr>
          <a:lstStyle>
            <a:lvl1pPr marL="0" indent="0">
              <a:lnSpc>
                <a:spcPct val="100000"/>
              </a:lnSpc>
              <a:spcBef>
                <a:spcPts val="0"/>
              </a:spcBef>
              <a:buNone/>
              <a:defRPr b="1">
                <a:latin typeface="+mj-lt"/>
              </a:defRPr>
            </a:lvl1pPr>
          </a:lstStyle>
          <a:p>
            <a:r>
              <a:rPr lang="en-US"/>
              <a:t>First name</a:t>
            </a:r>
          </a:p>
          <a:p>
            <a:r>
              <a:rPr lang="en-US"/>
              <a:t>Name</a:t>
            </a:r>
          </a:p>
        </p:txBody>
      </p:sp>
      <p:sp>
        <p:nvSpPr>
          <p:cNvPr id="15" name="Textplatzhalter 10">
            <a:extLst>
              <a:ext uri="{FF2B5EF4-FFF2-40B4-BE49-F238E27FC236}">
                <a16:creationId xmlns:a16="http://schemas.microsoft.com/office/drawing/2014/main" id="{8959E892-BD1B-3EFD-E26F-896B02E4F5C4}"/>
              </a:ext>
            </a:extLst>
          </p:cNvPr>
          <p:cNvSpPr>
            <a:spLocks noGrp="1"/>
          </p:cNvSpPr>
          <p:nvPr>
            <p:ph type="body" sz="quarter" idx="28" hasCustomPrompt="1"/>
          </p:nvPr>
        </p:nvSpPr>
        <p:spPr>
          <a:xfrm>
            <a:off x="2120900" y="1985595"/>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16" name="Textplatzhalter 8">
            <a:extLst>
              <a:ext uri="{FF2B5EF4-FFF2-40B4-BE49-F238E27FC236}">
                <a16:creationId xmlns:a16="http://schemas.microsoft.com/office/drawing/2014/main" id="{C36E39FE-1CD2-789A-33B8-EF5024921606}"/>
              </a:ext>
            </a:extLst>
          </p:cNvPr>
          <p:cNvSpPr>
            <a:spLocks noGrp="1"/>
          </p:cNvSpPr>
          <p:nvPr>
            <p:ph type="body" sz="quarter" idx="29" hasCustomPrompt="1"/>
          </p:nvPr>
        </p:nvSpPr>
        <p:spPr>
          <a:xfrm>
            <a:off x="2120740" y="3746204"/>
            <a:ext cx="1941513" cy="376895"/>
          </a:xfrm>
        </p:spPr>
        <p:txBody>
          <a:bodyPr>
            <a:noAutofit/>
          </a:bodyPr>
          <a:lstStyle>
            <a:lvl1pPr marL="0" indent="0">
              <a:lnSpc>
                <a:spcPct val="100000"/>
              </a:lnSpc>
              <a:spcBef>
                <a:spcPts val="0"/>
              </a:spcBef>
              <a:buNone/>
              <a:defRPr b="1">
                <a:latin typeface="+mj-lt"/>
              </a:defRPr>
            </a:lvl1pPr>
          </a:lstStyle>
          <a:p>
            <a:r>
              <a:rPr lang="en-US"/>
              <a:t>First name</a:t>
            </a:r>
            <a:br>
              <a:rPr lang="en-US"/>
            </a:br>
            <a:r>
              <a:rPr lang="en-US"/>
              <a:t>Name</a:t>
            </a:r>
          </a:p>
        </p:txBody>
      </p:sp>
      <p:sp>
        <p:nvSpPr>
          <p:cNvPr id="17" name="Textplatzhalter 10">
            <a:extLst>
              <a:ext uri="{FF2B5EF4-FFF2-40B4-BE49-F238E27FC236}">
                <a16:creationId xmlns:a16="http://schemas.microsoft.com/office/drawing/2014/main" id="{5B22B0FD-EF33-22CF-B164-DFE64ECAFD25}"/>
              </a:ext>
            </a:extLst>
          </p:cNvPr>
          <p:cNvSpPr>
            <a:spLocks noGrp="1"/>
          </p:cNvSpPr>
          <p:nvPr>
            <p:ph type="body" sz="quarter" idx="30" hasCustomPrompt="1"/>
          </p:nvPr>
        </p:nvSpPr>
        <p:spPr>
          <a:xfrm>
            <a:off x="2120900" y="4123099"/>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18" name="Textplatzhalter 8">
            <a:extLst>
              <a:ext uri="{FF2B5EF4-FFF2-40B4-BE49-F238E27FC236}">
                <a16:creationId xmlns:a16="http://schemas.microsoft.com/office/drawing/2014/main" id="{2676C9FA-0CAD-8736-29A2-DA46BF52B7B5}"/>
              </a:ext>
            </a:extLst>
          </p:cNvPr>
          <p:cNvSpPr>
            <a:spLocks noGrp="1"/>
          </p:cNvSpPr>
          <p:nvPr>
            <p:ph type="body" sz="quarter" idx="31" hasCustomPrompt="1"/>
          </p:nvPr>
        </p:nvSpPr>
        <p:spPr>
          <a:xfrm>
            <a:off x="9863868" y="1573213"/>
            <a:ext cx="1941513" cy="376895"/>
          </a:xfrm>
        </p:spPr>
        <p:txBody>
          <a:bodyPr>
            <a:noAutofit/>
          </a:bodyPr>
          <a:lstStyle>
            <a:lvl1pPr marL="0" indent="0">
              <a:lnSpc>
                <a:spcPct val="100000"/>
              </a:lnSpc>
              <a:spcBef>
                <a:spcPts val="0"/>
              </a:spcBef>
              <a:buNone/>
              <a:defRPr b="1">
                <a:latin typeface="+mj-lt"/>
              </a:defRPr>
            </a:lvl1pPr>
          </a:lstStyle>
          <a:p>
            <a:r>
              <a:rPr lang="en-US"/>
              <a:t>First name</a:t>
            </a:r>
            <a:br>
              <a:rPr lang="en-US"/>
            </a:br>
            <a:r>
              <a:rPr lang="en-US"/>
              <a:t>Name</a:t>
            </a:r>
          </a:p>
        </p:txBody>
      </p:sp>
      <p:sp>
        <p:nvSpPr>
          <p:cNvPr id="25" name="Textplatzhalter 10">
            <a:extLst>
              <a:ext uri="{FF2B5EF4-FFF2-40B4-BE49-F238E27FC236}">
                <a16:creationId xmlns:a16="http://schemas.microsoft.com/office/drawing/2014/main" id="{391E3FCD-2460-B6AB-5F03-CD8DDDC27787}"/>
              </a:ext>
            </a:extLst>
          </p:cNvPr>
          <p:cNvSpPr>
            <a:spLocks noGrp="1"/>
          </p:cNvSpPr>
          <p:nvPr>
            <p:ph type="body" sz="quarter" idx="32" hasCustomPrompt="1"/>
          </p:nvPr>
        </p:nvSpPr>
        <p:spPr>
          <a:xfrm>
            <a:off x="9864028" y="1950108"/>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38" name="Textplatzhalter 8">
            <a:extLst>
              <a:ext uri="{FF2B5EF4-FFF2-40B4-BE49-F238E27FC236}">
                <a16:creationId xmlns:a16="http://schemas.microsoft.com/office/drawing/2014/main" id="{3B4EEE1E-1A35-7877-DDA1-667BF8C14992}"/>
              </a:ext>
            </a:extLst>
          </p:cNvPr>
          <p:cNvSpPr>
            <a:spLocks noGrp="1"/>
          </p:cNvSpPr>
          <p:nvPr>
            <p:ph type="body" sz="quarter" idx="33" hasCustomPrompt="1"/>
          </p:nvPr>
        </p:nvSpPr>
        <p:spPr>
          <a:xfrm>
            <a:off x="9863868" y="3746204"/>
            <a:ext cx="1941513" cy="376895"/>
          </a:xfrm>
        </p:spPr>
        <p:txBody>
          <a:bodyPr>
            <a:noAutofit/>
          </a:bodyPr>
          <a:lstStyle>
            <a:lvl1pPr marL="0" indent="0">
              <a:lnSpc>
                <a:spcPct val="100000"/>
              </a:lnSpc>
              <a:spcBef>
                <a:spcPts val="0"/>
              </a:spcBef>
              <a:buNone/>
              <a:defRPr b="1">
                <a:latin typeface="+mj-lt"/>
              </a:defRPr>
            </a:lvl1pPr>
          </a:lstStyle>
          <a:p>
            <a:r>
              <a:rPr lang="en-US"/>
              <a:t>First name</a:t>
            </a:r>
            <a:br>
              <a:rPr lang="en-US"/>
            </a:br>
            <a:r>
              <a:rPr lang="en-US"/>
              <a:t>Name</a:t>
            </a:r>
          </a:p>
        </p:txBody>
      </p:sp>
      <p:sp>
        <p:nvSpPr>
          <p:cNvPr id="39" name="Textplatzhalter 10">
            <a:extLst>
              <a:ext uri="{FF2B5EF4-FFF2-40B4-BE49-F238E27FC236}">
                <a16:creationId xmlns:a16="http://schemas.microsoft.com/office/drawing/2014/main" id="{0FD4E41D-4755-CF27-D237-60267CFF622F}"/>
              </a:ext>
            </a:extLst>
          </p:cNvPr>
          <p:cNvSpPr>
            <a:spLocks noGrp="1"/>
          </p:cNvSpPr>
          <p:nvPr>
            <p:ph type="body" sz="quarter" idx="34" hasCustomPrompt="1"/>
          </p:nvPr>
        </p:nvSpPr>
        <p:spPr>
          <a:xfrm>
            <a:off x="9864028" y="4123099"/>
            <a:ext cx="1941513" cy="1056624"/>
          </a:xfrm>
        </p:spPr>
        <p:txBody>
          <a:bodyPr tIns="72000">
            <a:noAutofit/>
          </a:bodyPr>
          <a:lstStyle>
            <a:lvl1pPr marL="0" indent="0">
              <a:spcBef>
                <a:spcPts val="0"/>
              </a:spcBef>
              <a:buNone/>
              <a:defRPr sz="1000"/>
            </a:lvl1pPr>
          </a:lstStyle>
          <a:p>
            <a:r>
              <a:rPr lang="en-US"/>
              <a:t>Function</a:t>
            </a:r>
          </a:p>
          <a:p>
            <a:r>
              <a:rPr lang="en-US"/>
              <a:t>Department</a:t>
            </a:r>
            <a:br>
              <a:rPr lang="en-US"/>
            </a:br>
            <a:r>
              <a:rPr lang="en-US"/>
              <a:t>T +49 1234 567-910</a:t>
            </a:r>
            <a:br>
              <a:rPr lang="en-US"/>
            </a:br>
            <a:r>
              <a:rPr lang="en-US"/>
              <a:t>firstname.name@</a:t>
            </a:r>
            <a:br>
              <a:rPr lang="en-US"/>
            </a:br>
            <a:r>
              <a:rPr lang="en-US"/>
              <a:t>heidelbergmaterials.com</a:t>
            </a:r>
          </a:p>
        </p:txBody>
      </p:sp>
      <p:sp>
        <p:nvSpPr>
          <p:cNvPr id="7" name="Textplatzhalter 3">
            <a:extLst>
              <a:ext uri="{FF2B5EF4-FFF2-40B4-BE49-F238E27FC236}">
                <a16:creationId xmlns:a16="http://schemas.microsoft.com/office/drawing/2014/main" id="{167B3CBC-FE67-1F94-0B5C-AFC10D94422A}"/>
              </a:ext>
            </a:extLst>
          </p:cNvPr>
          <p:cNvSpPr>
            <a:spLocks noGrp="1"/>
          </p:cNvSpPr>
          <p:nvPr>
            <p:ph type="body" sz="quarter" idx="35"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noProof="0"/>
              <a:t>Topline</a:t>
            </a:r>
          </a:p>
        </p:txBody>
      </p:sp>
      <p:sp>
        <p:nvSpPr>
          <p:cNvPr id="6" name="Date Placeholder 5">
            <a:extLst>
              <a:ext uri="{FF2B5EF4-FFF2-40B4-BE49-F238E27FC236}">
                <a16:creationId xmlns:a16="http://schemas.microsoft.com/office/drawing/2014/main" id="{3E3946DA-6A33-ED90-6C46-A653CC04788B}"/>
              </a:ext>
            </a:extLst>
          </p:cNvPr>
          <p:cNvSpPr>
            <a:spLocks noGrp="1"/>
          </p:cNvSpPr>
          <p:nvPr>
            <p:ph type="dt" sz="half" idx="36"/>
          </p:nvPr>
        </p:nvSpPr>
        <p:spPr/>
        <p:txBody>
          <a:bodyPr/>
          <a:lstStyle/>
          <a:p>
            <a:fld id="{90BB5316-9C80-4776-8DBE-F84BC96105FC}" type="datetime1">
              <a:rPr lang="en-US" noProof="0" smtClean="0"/>
              <a:t>10/31/2024</a:t>
            </a:fld>
            <a:endParaRPr lang="en-US" noProof="0"/>
          </a:p>
        </p:txBody>
      </p:sp>
      <p:sp>
        <p:nvSpPr>
          <p:cNvPr id="27" name="Footer Placeholder 26">
            <a:extLst>
              <a:ext uri="{FF2B5EF4-FFF2-40B4-BE49-F238E27FC236}">
                <a16:creationId xmlns:a16="http://schemas.microsoft.com/office/drawing/2014/main" id="{4AB81B20-A9EE-712F-7543-1DE0BAFBA8B9}"/>
              </a:ext>
            </a:extLst>
          </p:cNvPr>
          <p:cNvSpPr>
            <a:spLocks noGrp="1"/>
          </p:cNvSpPr>
          <p:nvPr>
            <p:ph type="ftr" sz="quarter" idx="37"/>
          </p:nvPr>
        </p:nvSpPr>
        <p:spPr/>
        <p:txBody>
          <a:bodyPr/>
          <a:lstStyle/>
          <a:p>
            <a:r>
              <a:rPr lang="en-US"/>
              <a:t>Group Presentation</a:t>
            </a:r>
          </a:p>
        </p:txBody>
      </p:sp>
      <p:sp>
        <p:nvSpPr>
          <p:cNvPr id="28" name="Slide Number Placeholder 27">
            <a:extLst>
              <a:ext uri="{FF2B5EF4-FFF2-40B4-BE49-F238E27FC236}">
                <a16:creationId xmlns:a16="http://schemas.microsoft.com/office/drawing/2014/main" id="{6FBD9725-4738-E23F-83D4-2CEF48B0339F}"/>
              </a:ext>
            </a:extLst>
          </p:cNvPr>
          <p:cNvSpPr>
            <a:spLocks noGrp="1"/>
          </p:cNvSpPr>
          <p:nvPr>
            <p:ph type="sldNum" sz="quarter" idx="38"/>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99893905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FDBFE1-C2CF-2B27-F8F6-C3D0C25C25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B1FDBFE1-C2CF-2B27-F8F6-C3D0C25C2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C574611-4012-A01A-E2B9-B933791969AA}"/>
              </a:ext>
            </a:extLst>
          </p:cNvPr>
          <p:cNvSpPr/>
          <p:nvPr/>
        </p:nvSpPr>
        <p:spPr bwMode="gray">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noProof="0"/>
          </a:p>
        </p:txBody>
      </p:sp>
      <p:sp>
        <p:nvSpPr>
          <p:cNvPr id="7" name="Bildplatzhalter 16">
            <a:extLst>
              <a:ext uri="{FF2B5EF4-FFF2-40B4-BE49-F238E27FC236}">
                <a16:creationId xmlns:a16="http://schemas.microsoft.com/office/drawing/2014/main" id="{3245D409-780A-120B-1682-BA5F0D374CFF}"/>
              </a:ext>
            </a:extLst>
          </p:cNvPr>
          <p:cNvSpPr>
            <a:spLocks noGrp="1"/>
          </p:cNvSpPr>
          <p:nvPr>
            <p:ph type="pic" sz="quarter" idx="16" hasCustomPrompt="1"/>
          </p:nvPr>
        </p:nvSpPr>
        <p:spPr bwMode="gray">
          <a:xfrm>
            <a:off x="11490432" y="6170720"/>
            <a:ext cx="318980" cy="31898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r>
              <a:rPr lang="en-US" noProof="0"/>
              <a:t> </a:t>
            </a:r>
          </a:p>
        </p:txBody>
      </p:sp>
      <p:sp>
        <p:nvSpPr>
          <p:cNvPr id="9" name="Text Placeholder 8">
            <a:extLst>
              <a:ext uri="{FF2B5EF4-FFF2-40B4-BE49-F238E27FC236}">
                <a16:creationId xmlns:a16="http://schemas.microsoft.com/office/drawing/2014/main" id="{17605212-4C08-B347-F6E8-8925E265895F}"/>
              </a:ext>
            </a:extLst>
          </p:cNvPr>
          <p:cNvSpPr>
            <a:spLocks noGrp="1"/>
          </p:cNvSpPr>
          <p:nvPr>
            <p:ph type="body" sz="quarter" idx="17" hasCustomPrompt="1"/>
          </p:nvPr>
        </p:nvSpPr>
        <p:spPr bwMode="gray">
          <a:xfrm>
            <a:off x="2320925" y="2282825"/>
            <a:ext cx="7550150" cy="2292350"/>
          </a:xfrm>
        </p:spPr>
        <p:txBody>
          <a:bodyPr anchor="ctr" anchorCtr="0"/>
          <a:lstStyle>
            <a:lvl1pPr marL="0" indent="0" algn="ctr">
              <a:buNone/>
              <a:defRPr sz="4000" b="1">
                <a:solidFill>
                  <a:schemeClr val="bg1"/>
                </a:solidFill>
                <a:latin typeface="+mj-lt"/>
              </a:defRPr>
            </a:lvl1pPr>
          </a:lstStyle>
          <a:p>
            <a:pPr lvl="0"/>
            <a:r>
              <a:rPr lang="en-US" noProof="0"/>
              <a:t>Thank You.</a:t>
            </a:r>
          </a:p>
        </p:txBody>
      </p:sp>
      <p:sp>
        <p:nvSpPr>
          <p:cNvPr id="8" name="Date Placeholder 7">
            <a:extLst>
              <a:ext uri="{FF2B5EF4-FFF2-40B4-BE49-F238E27FC236}">
                <a16:creationId xmlns:a16="http://schemas.microsoft.com/office/drawing/2014/main" id="{EE9320FC-E493-5E52-AC0C-534DC25DB746}"/>
              </a:ext>
            </a:extLst>
          </p:cNvPr>
          <p:cNvSpPr>
            <a:spLocks noGrp="1"/>
          </p:cNvSpPr>
          <p:nvPr>
            <p:ph type="dt" sz="half" idx="36"/>
          </p:nvPr>
        </p:nvSpPr>
        <p:spPr bwMode="gray"/>
        <p:txBody>
          <a:bodyPr/>
          <a:lstStyle>
            <a:lvl1pPr>
              <a:defRPr>
                <a:solidFill>
                  <a:schemeClr val="bg1"/>
                </a:solidFill>
              </a:defRPr>
            </a:lvl1pPr>
          </a:lstStyle>
          <a:p>
            <a:fld id="{8F4B4F38-692E-4459-9BBB-28B25F904106}" type="datetime1">
              <a:rPr lang="en-US" noProof="0" smtClean="0"/>
              <a:t>10/31/2024</a:t>
            </a:fld>
            <a:endParaRPr lang="en-US" noProof="0"/>
          </a:p>
        </p:txBody>
      </p:sp>
      <p:sp>
        <p:nvSpPr>
          <p:cNvPr id="10" name="Footer Placeholder 9">
            <a:extLst>
              <a:ext uri="{FF2B5EF4-FFF2-40B4-BE49-F238E27FC236}">
                <a16:creationId xmlns:a16="http://schemas.microsoft.com/office/drawing/2014/main" id="{801430C6-6281-7F75-5352-69189AAA02FC}"/>
              </a:ext>
            </a:extLst>
          </p:cNvPr>
          <p:cNvSpPr>
            <a:spLocks noGrp="1"/>
          </p:cNvSpPr>
          <p:nvPr>
            <p:ph type="ftr" sz="quarter" idx="37"/>
          </p:nvPr>
        </p:nvSpPr>
        <p:spPr bwMode="gray"/>
        <p:txBody>
          <a:bodyPr/>
          <a:lstStyle>
            <a:lvl1pPr>
              <a:defRPr>
                <a:solidFill>
                  <a:schemeClr val="bg1"/>
                </a:solidFill>
              </a:defRPr>
            </a:lvl1pPr>
          </a:lstStyle>
          <a:p>
            <a:r>
              <a:rPr lang="en-US" noProof="0"/>
              <a:t>Group Presentation</a:t>
            </a:r>
          </a:p>
        </p:txBody>
      </p:sp>
      <p:sp>
        <p:nvSpPr>
          <p:cNvPr id="15" name="Slide Number Placeholder 14">
            <a:extLst>
              <a:ext uri="{FF2B5EF4-FFF2-40B4-BE49-F238E27FC236}">
                <a16:creationId xmlns:a16="http://schemas.microsoft.com/office/drawing/2014/main" id="{D8DDF6B9-5495-CD14-9690-67A6E4C88F3D}"/>
              </a:ext>
            </a:extLst>
          </p:cNvPr>
          <p:cNvSpPr>
            <a:spLocks noGrp="1"/>
          </p:cNvSpPr>
          <p:nvPr>
            <p:ph type="sldNum" sz="quarter" idx="38"/>
          </p:nvPr>
        </p:nvSpPr>
        <p:spPr bwMode="gray"/>
        <p:txBody>
          <a:bodyPr/>
          <a:lstStyle>
            <a:lvl1pPr>
              <a:defRPr>
                <a:solidFill>
                  <a:schemeClr val="bg1"/>
                </a:solidFill>
              </a:defRPr>
            </a:lvl1pPr>
          </a:lstStyle>
          <a:p>
            <a:fld id="{A115CDC9-74CB-4F6C-8CD3-A6C89F254EE7}" type="slidenum">
              <a:rPr lang="en-US" noProof="0" smtClean="0"/>
              <a:pPr/>
              <a:t>‹#›</a:t>
            </a:fld>
            <a:endParaRPr lang="en-US" noProof="0"/>
          </a:p>
        </p:txBody>
      </p:sp>
      <p:sp>
        <p:nvSpPr>
          <p:cNvPr id="2" name="Bildplatzhalter 19">
            <a:extLst>
              <a:ext uri="{FF2B5EF4-FFF2-40B4-BE49-F238E27FC236}">
                <a16:creationId xmlns:a16="http://schemas.microsoft.com/office/drawing/2014/main" id="{146758F8-CAD7-CECD-D41C-D0679C495549}"/>
              </a:ext>
            </a:extLst>
          </p:cNvPr>
          <p:cNvSpPr>
            <a:spLocks noGrp="1"/>
          </p:cNvSpPr>
          <p:nvPr>
            <p:ph type="pic" sz="quarter" idx="43" hasCustomPrompt="1"/>
          </p:nvPr>
        </p:nvSpPr>
        <p:spPr bwMode="gray">
          <a:xfrm>
            <a:off x="1025514" y="6410506"/>
            <a:ext cx="1062384" cy="103295"/>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43617073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FDBFE1-C2CF-2B27-F8F6-C3D0C25C25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B1FDBFE1-C2CF-2B27-F8F6-C3D0C25C2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C574611-4012-A01A-E2B9-B933791969AA}"/>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a:p>
        </p:txBody>
      </p:sp>
      <p:pic>
        <p:nvPicPr>
          <p:cNvPr id="3" name="Graphic 2">
            <a:extLst>
              <a:ext uri="{FF2B5EF4-FFF2-40B4-BE49-F238E27FC236}">
                <a16:creationId xmlns:a16="http://schemas.microsoft.com/office/drawing/2014/main" id="{819D2950-9D3C-40EE-E8B1-E7004C693D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20925" y="2342758"/>
            <a:ext cx="7550150" cy="2172485"/>
          </a:xfrm>
          <a:prstGeom prst="rect">
            <a:avLst/>
          </a:prstGeom>
        </p:spPr>
      </p:pic>
    </p:spTree>
    <p:extLst>
      <p:ext uri="{BB962C8B-B14F-4D97-AF65-F5344CB8AC3E}">
        <p14:creationId xmlns:p14="http://schemas.microsoft.com/office/powerpoint/2010/main" val="126825828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 Content lar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62CB8F-6A1B-9C5C-8211-8F5DC82C37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ct 1" hidden="1">
                        <a:extLst>
                          <a:ext uri="{FF2B5EF4-FFF2-40B4-BE49-F238E27FC236}">
                            <a16:creationId xmlns:a16="http://schemas.microsoft.com/office/drawing/2014/main" id="{5662CB8F-6A1B-9C5C-8211-8F5DC82C3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04924"/>
            <a:ext cx="11424541" cy="4608513"/>
          </a:xfrm>
        </p:spPr>
        <p:txBody>
          <a:bodyPr>
            <a:noAutofit/>
          </a:bodyPr>
          <a:lstStyle>
            <a:lvl1pPr>
              <a:defRPr sz="1600"/>
            </a:lvl1pPr>
            <a:lvl2pPr>
              <a:defRPr sz="1600"/>
            </a:lvl2pPr>
            <a:lvl3pPr>
              <a:defRPr sz="1600"/>
            </a:lvl3pPr>
            <a:lvl4pPr>
              <a:defRPr sz="1600"/>
            </a:lvl4pPr>
            <a:lvl5pPr>
              <a:defRPr sz="1600"/>
            </a:lvl5pPr>
            <a:lvl6pPr marL="0" indent="0">
              <a:buFontTx/>
              <a:buNone/>
              <a:defRPr sz="1600"/>
            </a:lvl6pPr>
          </a:lstStyle>
          <a:p>
            <a:pPr lvl="0"/>
            <a:r>
              <a:rPr lang="en-GB" noProof="0"/>
              <a:t>16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a:p>
            <a:pPr lvl="0"/>
            <a:r>
              <a:rPr lang="en-GB" sz="1400" noProof="0"/>
              <a:t>Sixth level</a:t>
            </a:r>
            <a:endParaRPr lang="en-GB" noProof="0"/>
          </a:p>
          <a:p>
            <a:pPr lvl="0"/>
            <a:endParaRPr lang="en-US"/>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4" name="Textplatzhalter 3">
            <a:extLst>
              <a:ext uri="{FF2B5EF4-FFF2-40B4-BE49-F238E27FC236}">
                <a16:creationId xmlns:a16="http://schemas.microsoft.com/office/drawing/2014/main" id="{537592A9-6BED-AF0C-E702-4EC8B336A27C}"/>
              </a:ext>
            </a:extLst>
          </p:cNvPr>
          <p:cNvSpPr>
            <a:spLocks noGrp="1"/>
          </p:cNvSpPr>
          <p:nvPr>
            <p:ph type="body" sz="quarter" idx="13"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22" name="Date Placeholder 21">
            <a:extLst>
              <a:ext uri="{FF2B5EF4-FFF2-40B4-BE49-F238E27FC236}">
                <a16:creationId xmlns:a16="http://schemas.microsoft.com/office/drawing/2014/main" id="{411E37CD-AF36-95F6-6ED3-816F4E44326D}"/>
              </a:ext>
            </a:extLst>
          </p:cNvPr>
          <p:cNvSpPr>
            <a:spLocks noGrp="1"/>
          </p:cNvSpPr>
          <p:nvPr>
            <p:ph type="dt" sz="half" idx="14"/>
          </p:nvPr>
        </p:nvSpPr>
        <p:spPr/>
        <p:txBody>
          <a:bodyPr/>
          <a:lstStyle/>
          <a:p>
            <a:fld id="{C92FF0DB-CE7B-4BE8-A374-8D6F6E4FFFF4}" type="datetime1">
              <a:rPr lang="en-US" noProof="0" smtClean="0"/>
              <a:t>10/31/2024</a:t>
            </a:fld>
            <a:endParaRPr lang="en-US" noProof="0"/>
          </a:p>
        </p:txBody>
      </p:sp>
      <p:sp>
        <p:nvSpPr>
          <p:cNvPr id="23" name="Footer Placeholder 22">
            <a:extLst>
              <a:ext uri="{FF2B5EF4-FFF2-40B4-BE49-F238E27FC236}">
                <a16:creationId xmlns:a16="http://schemas.microsoft.com/office/drawing/2014/main" id="{5FE61737-8B11-B32D-F957-796C8D9B7745}"/>
              </a:ext>
            </a:extLst>
          </p:cNvPr>
          <p:cNvSpPr>
            <a:spLocks noGrp="1"/>
          </p:cNvSpPr>
          <p:nvPr>
            <p:ph type="ftr" sz="quarter" idx="15"/>
          </p:nvPr>
        </p:nvSpPr>
        <p:spPr/>
        <p:txBody>
          <a:bodyPr/>
          <a:lstStyle/>
          <a:p>
            <a:r>
              <a:rPr lang="en-US"/>
              <a:t>Group Presentation</a:t>
            </a:r>
          </a:p>
        </p:txBody>
      </p:sp>
      <p:sp>
        <p:nvSpPr>
          <p:cNvPr id="24" name="Slide Number Placeholder 23">
            <a:extLst>
              <a:ext uri="{FF2B5EF4-FFF2-40B4-BE49-F238E27FC236}">
                <a16:creationId xmlns:a16="http://schemas.microsoft.com/office/drawing/2014/main" id="{394DD5CA-BBEB-7A90-8816-D7000113CAFD}"/>
              </a:ext>
            </a:extLst>
          </p:cNvPr>
          <p:cNvSpPr>
            <a:spLocks noGrp="1"/>
          </p:cNvSpPr>
          <p:nvPr>
            <p:ph type="sldNum" sz="quarter" idx="16"/>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41966291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1_Title slid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148992-DA70-DDC1-200A-390558D8D8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F0148992-DA70-DDC1-200A-390558D8D8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bject 4">
            <a:extLst>
              <a:ext uri="{FF2B5EF4-FFF2-40B4-BE49-F238E27FC236}">
                <a16:creationId xmlns:a16="http://schemas.microsoft.com/office/drawing/2014/main" id="{17C69D6A-EDEC-B0F2-E0A6-180B3DF56C0B}"/>
              </a:ext>
            </a:extLst>
          </p:cNvPr>
          <p:cNvSpPr/>
          <p:nvPr/>
        </p:nvSpPr>
        <p:spPr bwMode="gray">
          <a:xfrm>
            <a:off x="382587" y="377825"/>
            <a:ext cx="6607297" cy="3851275"/>
          </a:xfrm>
          <a:custGeom>
            <a:avLst/>
            <a:gdLst/>
            <a:ahLst/>
            <a:cxnLst/>
            <a:rect l="l" t="t" r="r" b="b"/>
            <a:pathLst>
              <a:path w="10845165" h="6324600">
                <a:moveTo>
                  <a:pt x="10844842" y="0"/>
                </a:moveTo>
                <a:lnTo>
                  <a:pt x="0" y="0"/>
                </a:lnTo>
                <a:lnTo>
                  <a:pt x="0" y="6324414"/>
                </a:lnTo>
                <a:lnTo>
                  <a:pt x="8750665" y="6324414"/>
                </a:lnTo>
                <a:lnTo>
                  <a:pt x="8798727" y="6323862"/>
                </a:lnTo>
                <a:lnTo>
                  <a:pt x="8846525" y="6322211"/>
                </a:lnTo>
                <a:lnTo>
                  <a:pt x="8894045" y="6319475"/>
                </a:lnTo>
                <a:lnTo>
                  <a:pt x="8941278" y="6315665"/>
                </a:lnTo>
                <a:lnTo>
                  <a:pt x="8988211" y="6310792"/>
                </a:lnTo>
                <a:lnTo>
                  <a:pt x="9034833" y="6304869"/>
                </a:lnTo>
                <a:lnTo>
                  <a:pt x="9081131" y="6297908"/>
                </a:lnTo>
                <a:lnTo>
                  <a:pt x="9127096" y="6289920"/>
                </a:lnTo>
                <a:lnTo>
                  <a:pt x="9172715" y="6280916"/>
                </a:lnTo>
                <a:lnTo>
                  <a:pt x="9217976" y="6270910"/>
                </a:lnTo>
                <a:lnTo>
                  <a:pt x="9262869" y="6259912"/>
                </a:lnTo>
                <a:lnTo>
                  <a:pt x="9307380" y="6247935"/>
                </a:lnTo>
                <a:lnTo>
                  <a:pt x="9351500" y="6234990"/>
                </a:lnTo>
                <a:lnTo>
                  <a:pt x="9395216" y="6221089"/>
                </a:lnTo>
                <a:lnTo>
                  <a:pt x="9438517" y="6206244"/>
                </a:lnTo>
                <a:lnTo>
                  <a:pt x="9481391" y="6190467"/>
                </a:lnTo>
                <a:lnTo>
                  <a:pt x="9523827" y="6173769"/>
                </a:lnTo>
                <a:lnTo>
                  <a:pt x="9565813" y="6156162"/>
                </a:lnTo>
                <a:lnTo>
                  <a:pt x="9607338" y="6137659"/>
                </a:lnTo>
                <a:lnTo>
                  <a:pt x="9648390" y="6118270"/>
                </a:lnTo>
                <a:lnTo>
                  <a:pt x="9688957" y="6098009"/>
                </a:lnTo>
                <a:lnTo>
                  <a:pt x="9729028" y="6076885"/>
                </a:lnTo>
                <a:lnTo>
                  <a:pt x="9768592" y="6054913"/>
                </a:lnTo>
                <a:lnTo>
                  <a:pt x="9807636" y="6032102"/>
                </a:lnTo>
                <a:lnTo>
                  <a:pt x="9846150" y="6008465"/>
                </a:lnTo>
                <a:lnTo>
                  <a:pt x="9884122" y="5984015"/>
                </a:lnTo>
                <a:lnTo>
                  <a:pt x="9921540" y="5958761"/>
                </a:lnTo>
                <a:lnTo>
                  <a:pt x="9958392" y="5932718"/>
                </a:lnTo>
                <a:lnTo>
                  <a:pt x="9994667" y="5905895"/>
                </a:lnTo>
                <a:lnTo>
                  <a:pt x="10030354" y="5878305"/>
                </a:lnTo>
                <a:lnTo>
                  <a:pt x="10065441" y="5849961"/>
                </a:lnTo>
                <a:lnTo>
                  <a:pt x="10099917" y="5820873"/>
                </a:lnTo>
                <a:lnTo>
                  <a:pt x="10133769" y="5791053"/>
                </a:lnTo>
                <a:lnTo>
                  <a:pt x="10166987" y="5760514"/>
                </a:lnTo>
                <a:lnTo>
                  <a:pt x="10199558" y="5729267"/>
                </a:lnTo>
                <a:lnTo>
                  <a:pt x="10231472" y="5697323"/>
                </a:lnTo>
                <a:lnTo>
                  <a:pt x="10262716" y="5664696"/>
                </a:lnTo>
                <a:lnTo>
                  <a:pt x="10293280" y="5631396"/>
                </a:lnTo>
                <a:lnTo>
                  <a:pt x="10323151" y="5597435"/>
                </a:lnTo>
                <a:lnTo>
                  <a:pt x="10352318" y="5562825"/>
                </a:lnTo>
                <a:lnTo>
                  <a:pt x="10380770" y="5527579"/>
                </a:lnTo>
                <a:lnTo>
                  <a:pt x="10408494" y="5491707"/>
                </a:lnTo>
                <a:lnTo>
                  <a:pt x="10435480" y="5455222"/>
                </a:lnTo>
                <a:lnTo>
                  <a:pt x="10461716" y="5418135"/>
                </a:lnTo>
                <a:lnTo>
                  <a:pt x="10487190" y="5380458"/>
                </a:lnTo>
                <a:lnTo>
                  <a:pt x="10511890" y="5342203"/>
                </a:lnTo>
                <a:lnTo>
                  <a:pt x="10535806" y="5303382"/>
                </a:lnTo>
                <a:lnTo>
                  <a:pt x="10558926" y="5264007"/>
                </a:lnTo>
                <a:lnTo>
                  <a:pt x="10581237" y="5224089"/>
                </a:lnTo>
                <a:lnTo>
                  <a:pt x="10602729" y="5183640"/>
                </a:lnTo>
                <a:lnTo>
                  <a:pt x="10623390" y="5142673"/>
                </a:lnTo>
                <a:lnTo>
                  <a:pt x="10643209" y="5101198"/>
                </a:lnTo>
                <a:lnTo>
                  <a:pt x="10662173" y="5059228"/>
                </a:lnTo>
                <a:lnTo>
                  <a:pt x="10680271" y="5016774"/>
                </a:lnTo>
                <a:lnTo>
                  <a:pt x="10697493" y="4973849"/>
                </a:lnTo>
                <a:lnTo>
                  <a:pt x="10713825" y="4930464"/>
                </a:lnTo>
                <a:lnTo>
                  <a:pt x="10729257" y="4886630"/>
                </a:lnTo>
                <a:lnTo>
                  <a:pt x="10743778" y="4842361"/>
                </a:lnTo>
                <a:lnTo>
                  <a:pt x="10757374" y="4797667"/>
                </a:lnTo>
                <a:lnTo>
                  <a:pt x="10770036" y="4752560"/>
                </a:lnTo>
                <a:lnTo>
                  <a:pt x="10781751" y="4707052"/>
                </a:lnTo>
                <a:lnTo>
                  <a:pt x="10792508" y="4661156"/>
                </a:lnTo>
                <a:lnTo>
                  <a:pt x="10802296" y="4614882"/>
                </a:lnTo>
                <a:lnTo>
                  <a:pt x="10811102" y="4568243"/>
                </a:lnTo>
                <a:lnTo>
                  <a:pt x="10818916" y="4521250"/>
                </a:lnTo>
                <a:lnTo>
                  <a:pt x="10825725" y="4473915"/>
                </a:lnTo>
                <a:lnTo>
                  <a:pt x="10831518" y="4426250"/>
                </a:lnTo>
                <a:lnTo>
                  <a:pt x="10836284" y="4378267"/>
                </a:lnTo>
                <a:lnTo>
                  <a:pt x="10840011" y="4329978"/>
                </a:lnTo>
                <a:lnTo>
                  <a:pt x="10842687" y="4281394"/>
                </a:lnTo>
                <a:lnTo>
                  <a:pt x="10844301" y="4232528"/>
                </a:lnTo>
                <a:lnTo>
                  <a:pt x="10844842" y="4183390"/>
                </a:lnTo>
                <a:lnTo>
                  <a:pt x="10844842" y="0"/>
                </a:lnTo>
                <a:close/>
              </a:path>
            </a:pathLst>
          </a:custGeom>
          <a:solidFill>
            <a:srgbClr val="004D24"/>
          </a:solidFill>
        </p:spPr>
        <p:txBody>
          <a:bodyPr wrap="square" lIns="0" tIns="0" rIns="0" bIns="0" rtlCol="0"/>
          <a:lstStyle/>
          <a:p>
            <a:endParaRPr lang="en-US" noProof="0">
              <a:solidFill>
                <a:schemeClr val="bg1"/>
              </a:solidFill>
            </a:endParaRPr>
          </a:p>
        </p:txBody>
      </p:sp>
      <p:sp>
        <p:nvSpPr>
          <p:cNvPr id="4" name="Bildplatzhalter 3">
            <a:extLst>
              <a:ext uri="{FF2B5EF4-FFF2-40B4-BE49-F238E27FC236}">
                <a16:creationId xmlns:a16="http://schemas.microsoft.com/office/drawing/2014/main" id="{D7945B1D-09B9-ABE6-A56B-52F5A3DFB971}"/>
              </a:ext>
            </a:extLst>
          </p:cNvPr>
          <p:cNvSpPr>
            <a:spLocks noGrp="1"/>
          </p:cNvSpPr>
          <p:nvPr>
            <p:ph type="pic" sz="quarter" idx="10" hasCustomPrompt="1"/>
          </p:nvPr>
        </p:nvSpPr>
        <p:spPr bwMode="gray">
          <a:xfrm>
            <a:off x="0" y="0"/>
            <a:ext cx="12192000" cy="6858000"/>
          </a:xfrm>
          <a:custGeom>
            <a:avLst/>
            <a:gdLst>
              <a:gd name="connsiteX0" fmla="*/ 381796 w 12192000"/>
              <a:gd name="connsiteY0" fmla="*/ 381002 h 6858000"/>
              <a:gd name="connsiteX1" fmla="*/ 381796 w 12192000"/>
              <a:gd name="connsiteY1" fmla="*/ 4216400 h 6858000"/>
              <a:gd name="connsiteX2" fmla="*/ 5688579 w 12192000"/>
              <a:gd name="connsiteY2" fmla="*/ 4216400 h 6858000"/>
              <a:gd name="connsiteX3" fmla="*/ 5717726 w 12192000"/>
              <a:gd name="connsiteY3" fmla="*/ 4216066 h 6858000"/>
              <a:gd name="connsiteX4" fmla="*/ 5746713 w 12192000"/>
              <a:gd name="connsiteY4" fmla="*/ 4215064 h 6858000"/>
              <a:gd name="connsiteX5" fmla="*/ 5775531 w 12192000"/>
              <a:gd name="connsiteY5" fmla="*/ 4213405 h 6858000"/>
              <a:gd name="connsiteX6" fmla="*/ 5804175 w 12192000"/>
              <a:gd name="connsiteY6" fmla="*/ 4211095 h 6858000"/>
              <a:gd name="connsiteX7" fmla="*/ 5832637 w 12192000"/>
              <a:gd name="connsiteY7" fmla="*/ 4208139 h 6858000"/>
              <a:gd name="connsiteX8" fmla="*/ 5860910 w 12192000"/>
              <a:gd name="connsiteY8" fmla="*/ 4204547 h 6858000"/>
              <a:gd name="connsiteX9" fmla="*/ 5888988 w 12192000"/>
              <a:gd name="connsiteY9" fmla="*/ 4200326 h 6858000"/>
              <a:gd name="connsiteX10" fmla="*/ 5916863 w 12192000"/>
              <a:gd name="connsiteY10" fmla="*/ 4195482 h 6858000"/>
              <a:gd name="connsiteX11" fmla="*/ 5944528 w 12192000"/>
              <a:gd name="connsiteY11" fmla="*/ 4190021 h 6858000"/>
              <a:gd name="connsiteX12" fmla="*/ 5971976 w 12192000"/>
              <a:gd name="connsiteY12" fmla="*/ 4183953 h 6858000"/>
              <a:gd name="connsiteX13" fmla="*/ 5999201 w 12192000"/>
              <a:gd name="connsiteY13" fmla="*/ 4177284 h 6858000"/>
              <a:gd name="connsiteX14" fmla="*/ 6026195 w 12192000"/>
              <a:gd name="connsiteY14" fmla="*/ 4170020 h 6858000"/>
              <a:gd name="connsiteX15" fmla="*/ 6052951 w 12192000"/>
              <a:gd name="connsiteY15" fmla="*/ 4162170 h 6858000"/>
              <a:gd name="connsiteX16" fmla="*/ 6079462 w 12192000"/>
              <a:gd name="connsiteY16" fmla="*/ 4153740 h 6858000"/>
              <a:gd name="connsiteX17" fmla="*/ 6105722 w 12192000"/>
              <a:gd name="connsiteY17" fmla="*/ 4144737 h 6858000"/>
              <a:gd name="connsiteX18" fmla="*/ 6131723 w 12192000"/>
              <a:gd name="connsiteY18" fmla="*/ 4135169 h 6858000"/>
              <a:gd name="connsiteX19" fmla="*/ 6157458 w 12192000"/>
              <a:gd name="connsiteY19" fmla="*/ 4125043 h 6858000"/>
              <a:gd name="connsiteX20" fmla="*/ 6182920 w 12192000"/>
              <a:gd name="connsiteY20" fmla="*/ 4114365 h 6858000"/>
              <a:gd name="connsiteX21" fmla="*/ 6208102 w 12192000"/>
              <a:gd name="connsiteY21" fmla="*/ 4103144 h 6858000"/>
              <a:gd name="connsiteX22" fmla="*/ 6232998 w 12192000"/>
              <a:gd name="connsiteY22" fmla="*/ 4091386 h 6858000"/>
              <a:gd name="connsiteX23" fmla="*/ 6257600 w 12192000"/>
              <a:gd name="connsiteY23" fmla="*/ 4079099 h 6858000"/>
              <a:gd name="connsiteX24" fmla="*/ 6281900 w 12192000"/>
              <a:gd name="connsiteY24" fmla="*/ 4066288 h 6858000"/>
              <a:gd name="connsiteX25" fmla="*/ 6305894 w 12192000"/>
              <a:gd name="connsiteY25" fmla="*/ 4052963 h 6858000"/>
              <a:gd name="connsiteX26" fmla="*/ 6329572 w 12192000"/>
              <a:gd name="connsiteY26" fmla="*/ 4039130 h 6858000"/>
              <a:gd name="connsiteX27" fmla="*/ 6352928 w 12192000"/>
              <a:gd name="connsiteY27" fmla="*/ 4024795 h 6858000"/>
              <a:gd name="connsiteX28" fmla="*/ 6375956 w 12192000"/>
              <a:gd name="connsiteY28" fmla="*/ 4009968 h 6858000"/>
              <a:gd name="connsiteX29" fmla="*/ 6398648 w 12192000"/>
              <a:gd name="connsiteY29" fmla="*/ 3994653 h 6858000"/>
              <a:gd name="connsiteX30" fmla="*/ 6420997 w 12192000"/>
              <a:gd name="connsiteY30" fmla="*/ 3978859 h 6858000"/>
              <a:gd name="connsiteX31" fmla="*/ 6442995 w 12192000"/>
              <a:gd name="connsiteY31" fmla="*/ 3962592 h 6858000"/>
              <a:gd name="connsiteX32" fmla="*/ 6464638 w 12192000"/>
              <a:gd name="connsiteY32" fmla="*/ 3945861 h 6858000"/>
              <a:gd name="connsiteX33" fmla="*/ 6485916 w 12192000"/>
              <a:gd name="connsiteY33" fmla="*/ 3928672 h 6858000"/>
              <a:gd name="connsiteX34" fmla="*/ 6506824 w 12192000"/>
              <a:gd name="connsiteY34" fmla="*/ 3911031 h 6858000"/>
              <a:gd name="connsiteX35" fmla="*/ 6527353 w 12192000"/>
              <a:gd name="connsiteY35" fmla="*/ 3892947 h 6858000"/>
              <a:gd name="connsiteX36" fmla="*/ 6547498 w 12192000"/>
              <a:gd name="connsiteY36" fmla="*/ 3874427 h 6858000"/>
              <a:gd name="connsiteX37" fmla="*/ 6567250 w 12192000"/>
              <a:gd name="connsiteY37" fmla="*/ 3855477 h 6858000"/>
              <a:gd name="connsiteX38" fmla="*/ 6586604 w 12192000"/>
              <a:gd name="connsiteY38" fmla="*/ 3836105 h 6858000"/>
              <a:gd name="connsiteX39" fmla="*/ 6605552 w 12192000"/>
              <a:gd name="connsiteY39" fmla="*/ 3816319 h 6858000"/>
              <a:gd name="connsiteX40" fmla="*/ 6624087 w 12192000"/>
              <a:gd name="connsiteY40" fmla="*/ 3796124 h 6858000"/>
              <a:gd name="connsiteX41" fmla="*/ 6642202 w 12192000"/>
              <a:gd name="connsiteY41" fmla="*/ 3775529 h 6858000"/>
              <a:gd name="connsiteX42" fmla="*/ 6659890 w 12192000"/>
              <a:gd name="connsiteY42" fmla="*/ 3754540 h 6858000"/>
              <a:gd name="connsiteX43" fmla="*/ 6677145 w 12192000"/>
              <a:gd name="connsiteY43" fmla="*/ 3733165 h 6858000"/>
              <a:gd name="connsiteX44" fmla="*/ 6693958 w 12192000"/>
              <a:gd name="connsiteY44" fmla="*/ 3711411 h 6858000"/>
              <a:gd name="connsiteX45" fmla="*/ 6710324 w 12192000"/>
              <a:gd name="connsiteY45" fmla="*/ 3689285 h 6858000"/>
              <a:gd name="connsiteX46" fmla="*/ 6726234 w 12192000"/>
              <a:gd name="connsiteY46" fmla="*/ 3666794 h 6858000"/>
              <a:gd name="connsiteX47" fmla="*/ 6741683 w 12192000"/>
              <a:gd name="connsiteY47" fmla="*/ 3643945 h 6858000"/>
              <a:gd name="connsiteX48" fmla="*/ 6756662 w 12192000"/>
              <a:gd name="connsiteY48" fmla="*/ 3620745 h 6858000"/>
              <a:gd name="connsiteX49" fmla="*/ 6771166 w 12192000"/>
              <a:gd name="connsiteY49" fmla="*/ 3597202 h 6858000"/>
              <a:gd name="connsiteX50" fmla="*/ 6785187 w 12192000"/>
              <a:gd name="connsiteY50" fmla="*/ 3573324 h 6858000"/>
              <a:gd name="connsiteX51" fmla="*/ 6798717 w 12192000"/>
              <a:gd name="connsiteY51" fmla="*/ 3549116 h 6858000"/>
              <a:gd name="connsiteX52" fmla="*/ 6811751 w 12192000"/>
              <a:gd name="connsiteY52" fmla="*/ 3524586 h 6858000"/>
              <a:gd name="connsiteX53" fmla="*/ 6824280 w 12192000"/>
              <a:gd name="connsiteY53" fmla="*/ 3499741 h 6858000"/>
              <a:gd name="connsiteX54" fmla="*/ 6836299 w 12192000"/>
              <a:gd name="connsiteY54" fmla="*/ 3474589 h 6858000"/>
              <a:gd name="connsiteX55" fmla="*/ 6847800 w 12192000"/>
              <a:gd name="connsiteY55" fmla="*/ 3449137 h 6858000"/>
              <a:gd name="connsiteX56" fmla="*/ 6858775 w 12192000"/>
              <a:gd name="connsiteY56" fmla="*/ 3423391 h 6858000"/>
              <a:gd name="connsiteX57" fmla="*/ 6869220 w 12192000"/>
              <a:gd name="connsiteY57" fmla="*/ 3397359 h 6858000"/>
              <a:gd name="connsiteX58" fmla="*/ 6879124 w 12192000"/>
              <a:gd name="connsiteY58" fmla="*/ 3371049 h 6858000"/>
              <a:gd name="connsiteX59" fmla="*/ 6888483 w 12192000"/>
              <a:gd name="connsiteY59" fmla="*/ 3344466 h 6858000"/>
              <a:gd name="connsiteX60" fmla="*/ 6897289 w 12192000"/>
              <a:gd name="connsiteY60" fmla="*/ 3317619 h 6858000"/>
              <a:gd name="connsiteX61" fmla="*/ 6905534 w 12192000"/>
              <a:gd name="connsiteY61" fmla="*/ 3290515 h 6858000"/>
              <a:gd name="connsiteX62" fmla="*/ 6913213 w 12192000"/>
              <a:gd name="connsiteY62" fmla="*/ 3263160 h 6858000"/>
              <a:gd name="connsiteX63" fmla="*/ 6920317 w 12192000"/>
              <a:gd name="connsiteY63" fmla="*/ 3235562 h 6858000"/>
              <a:gd name="connsiteX64" fmla="*/ 6926841 w 12192000"/>
              <a:gd name="connsiteY64" fmla="*/ 3207729 h 6858000"/>
              <a:gd name="connsiteX65" fmla="*/ 6932777 w 12192000"/>
              <a:gd name="connsiteY65" fmla="*/ 3179666 h 6858000"/>
              <a:gd name="connsiteX66" fmla="*/ 6938117 w 12192000"/>
              <a:gd name="connsiteY66" fmla="*/ 3151382 h 6858000"/>
              <a:gd name="connsiteX67" fmla="*/ 6942856 w 12192000"/>
              <a:gd name="connsiteY67" fmla="*/ 3122884 h 6858000"/>
              <a:gd name="connsiteX68" fmla="*/ 6946985 w 12192000"/>
              <a:gd name="connsiteY68" fmla="*/ 3094178 h 6858000"/>
              <a:gd name="connsiteX69" fmla="*/ 6950498 w 12192000"/>
              <a:gd name="connsiteY69" fmla="*/ 3065272 h 6858000"/>
              <a:gd name="connsiteX70" fmla="*/ 6953388 w 12192000"/>
              <a:gd name="connsiteY70" fmla="*/ 3036173 h 6858000"/>
              <a:gd name="connsiteX71" fmla="*/ 6955649 w 12192000"/>
              <a:gd name="connsiteY71" fmla="*/ 3006888 h 6858000"/>
              <a:gd name="connsiteX72" fmla="*/ 6957271 w 12192000"/>
              <a:gd name="connsiteY72" fmla="*/ 2977425 h 6858000"/>
              <a:gd name="connsiteX73" fmla="*/ 6958250 w 12192000"/>
              <a:gd name="connsiteY73" fmla="*/ 2947790 h 6858000"/>
              <a:gd name="connsiteX74" fmla="*/ 6958578 w 12192000"/>
              <a:gd name="connsiteY74" fmla="*/ 2917991 h 6858000"/>
              <a:gd name="connsiteX75" fmla="*/ 6958578 w 12192000"/>
              <a:gd name="connsiteY75" fmla="*/ 381002 h 6858000"/>
              <a:gd name="connsiteX76" fmla="*/ 0 w 12192000"/>
              <a:gd name="connsiteY76" fmla="*/ 0 h 6858000"/>
              <a:gd name="connsiteX77" fmla="*/ 12192000 w 12192000"/>
              <a:gd name="connsiteY77" fmla="*/ 0 h 6858000"/>
              <a:gd name="connsiteX78" fmla="*/ 12192000 w 12192000"/>
              <a:gd name="connsiteY78" fmla="*/ 6858000 h 6858000"/>
              <a:gd name="connsiteX79" fmla="*/ 0 w 12192000"/>
              <a:gd name="connsiteY7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192000" h="6858000">
                <a:moveTo>
                  <a:pt x="381796" y="381002"/>
                </a:moveTo>
                <a:lnTo>
                  <a:pt x="381796" y="4216400"/>
                </a:lnTo>
                <a:lnTo>
                  <a:pt x="5688579" y="4216400"/>
                </a:lnTo>
                <a:lnTo>
                  <a:pt x="5717726" y="4216066"/>
                </a:lnTo>
                <a:lnTo>
                  <a:pt x="5746713" y="4215064"/>
                </a:lnTo>
                <a:lnTo>
                  <a:pt x="5775531" y="4213405"/>
                </a:lnTo>
                <a:lnTo>
                  <a:pt x="5804175" y="4211095"/>
                </a:lnTo>
                <a:lnTo>
                  <a:pt x="5832637" y="4208139"/>
                </a:lnTo>
                <a:lnTo>
                  <a:pt x="5860910" y="4204547"/>
                </a:lnTo>
                <a:lnTo>
                  <a:pt x="5888988" y="4200326"/>
                </a:lnTo>
                <a:lnTo>
                  <a:pt x="5916863" y="4195482"/>
                </a:lnTo>
                <a:lnTo>
                  <a:pt x="5944528" y="4190021"/>
                </a:lnTo>
                <a:lnTo>
                  <a:pt x="5971976" y="4183953"/>
                </a:lnTo>
                <a:lnTo>
                  <a:pt x="5999201" y="4177284"/>
                </a:lnTo>
                <a:lnTo>
                  <a:pt x="6026195" y="4170020"/>
                </a:lnTo>
                <a:lnTo>
                  <a:pt x="6052951" y="4162170"/>
                </a:lnTo>
                <a:lnTo>
                  <a:pt x="6079462" y="4153740"/>
                </a:lnTo>
                <a:lnTo>
                  <a:pt x="6105722" y="4144737"/>
                </a:lnTo>
                <a:lnTo>
                  <a:pt x="6131723" y="4135169"/>
                </a:lnTo>
                <a:lnTo>
                  <a:pt x="6157458" y="4125043"/>
                </a:lnTo>
                <a:lnTo>
                  <a:pt x="6182920" y="4114365"/>
                </a:lnTo>
                <a:lnTo>
                  <a:pt x="6208102" y="4103144"/>
                </a:lnTo>
                <a:lnTo>
                  <a:pt x="6232998" y="4091386"/>
                </a:lnTo>
                <a:lnTo>
                  <a:pt x="6257600" y="4079099"/>
                </a:lnTo>
                <a:lnTo>
                  <a:pt x="6281900" y="4066288"/>
                </a:lnTo>
                <a:lnTo>
                  <a:pt x="6305894" y="4052963"/>
                </a:lnTo>
                <a:lnTo>
                  <a:pt x="6329572" y="4039130"/>
                </a:lnTo>
                <a:lnTo>
                  <a:pt x="6352928" y="4024795"/>
                </a:lnTo>
                <a:lnTo>
                  <a:pt x="6375956" y="4009968"/>
                </a:lnTo>
                <a:lnTo>
                  <a:pt x="6398648" y="3994653"/>
                </a:lnTo>
                <a:lnTo>
                  <a:pt x="6420997" y="3978859"/>
                </a:lnTo>
                <a:lnTo>
                  <a:pt x="6442995" y="3962592"/>
                </a:lnTo>
                <a:lnTo>
                  <a:pt x="6464638" y="3945861"/>
                </a:lnTo>
                <a:lnTo>
                  <a:pt x="6485916" y="3928672"/>
                </a:lnTo>
                <a:lnTo>
                  <a:pt x="6506824" y="3911031"/>
                </a:lnTo>
                <a:lnTo>
                  <a:pt x="6527353" y="3892947"/>
                </a:lnTo>
                <a:lnTo>
                  <a:pt x="6547498" y="3874427"/>
                </a:lnTo>
                <a:lnTo>
                  <a:pt x="6567250" y="3855477"/>
                </a:lnTo>
                <a:lnTo>
                  <a:pt x="6586604" y="3836105"/>
                </a:lnTo>
                <a:lnTo>
                  <a:pt x="6605552" y="3816319"/>
                </a:lnTo>
                <a:lnTo>
                  <a:pt x="6624087" y="3796124"/>
                </a:lnTo>
                <a:lnTo>
                  <a:pt x="6642202" y="3775529"/>
                </a:lnTo>
                <a:lnTo>
                  <a:pt x="6659890" y="3754540"/>
                </a:lnTo>
                <a:lnTo>
                  <a:pt x="6677145" y="3733165"/>
                </a:lnTo>
                <a:lnTo>
                  <a:pt x="6693958" y="3711411"/>
                </a:lnTo>
                <a:lnTo>
                  <a:pt x="6710324" y="3689285"/>
                </a:lnTo>
                <a:lnTo>
                  <a:pt x="6726234" y="3666794"/>
                </a:lnTo>
                <a:lnTo>
                  <a:pt x="6741683" y="3643945"/>
                </a:lnTo>
                <a:lnTo>
                  <a:pt x="6756662" y="3620745"/>
                </a:lnTo>
                <a:lnTo>
                  <a:pt x="6771166" y="3597202"/>
                </a:lnTo>
                <a:lnTo>
                  <a:pt x="6785187" y="3573324"/>
                </a:lnTo>
                <a:lnTo>
                  <a:pt x="6798717" y="3549116"/>
                </a:lnTo>
                <a:lnTo>
                  <a:pt x="6811751" y="3524586"/>
                </a:lnTo>
                <a:lnTo>
                  <a:pt x="6824280" y="3499741"/>
                </a:lnTo>
                <a:lnTo>
                  <a:pt x="6836299" y="3474589"/>
                </a:lnTo>
                <a:lnTo>
                  <a:pt x="6847800" y="3449137"/>
                </a:lnTo>
                <a:lnTo>
                  <a:pt x="6858775" y="3423391"/>
                </a:lnTo>
                <a:lnTo>
                  <a:pt x="6869220" y="3397359"/>
                </a:lnTo>
                <a:lnTo>
                  <a:pt x="6879124" y="3371049"/>
                </a:lnTo>
                <a:lnTo>
                  <a:pt x="6888483" y="3344466"/>
                </a:lnTo>
                <a:lnTo>
                  <a:pt x="6897289" y="3317619"/>
                </a:lnTo>
                <a:lnTo>
                  <a:pt x="6905534" y="3290515"/>
                </a:lnTo>
                <a:lnTo>
                  <a:pt x="6913213" y="3263160"/>
                </a:lnTo>
                <a:lnTo>
                  <a:pt x="6920317" y="3235562"/>
                </a:lnTo>
                <a:lnTo>
                  <a:pt x="6926841" y="3207729"/>
                </a:lnTo>
                <a:lnTo>
                  <a:pt x="6932777" y="3179666"/>
                </a:lnTo>
                <a:lnTo>
                  <a:pt x="6938117" y="3151382"/>
                </a:lnTo>
                <a:lnTo>
                  <a:pt x="6942856" y="3122884"/>
                </a:lnTo>
                <a:lnTo>
                  <a:pt x="6946985" y="3094178"/>
                </a:lnTo>
                <a:lnTo>
                  <a:pt x="6950498" y="3065272"/>
                </a:lnTo>
                <a:lnTo>
                  <a:pt x="6953388" y="3036173"/>
                </a:lnTo>
                <a:lnTo>
                  <a:pt x="6955649" y="3006888"/>
                </a:lnTo>
                <a:lnTo>
                  <a:pt x="6957271" y="2977425"/>
                </a:lnTo>
                <a:lnTo>
                  <a:pt x="6958250" y="2947790"/>
                </a:lnTo>
                <a:lnTo>
                  <a:pt x="6958578" y="2917991"/>
                </a:lnTo>
                <a:lnTo>
                  <a:pt x="6958578" y="381002"/>
                </a:lnTo>
                <a:close/>
                <a:moveTo>
                  <a:pt x="0" y="0"/>
                </a:moveTo>
                <a:lnTo>
                  <a:pt x="12192000" y="0"/>
                </a:lnTo>
                <a:lnTo>
                  <a:pt x="12192000" y="6858000"/>
                </a:lnTo>
                <a:lnTo>
                  <a:pt x="0" y="6858000"/>
                </a:lnTo>
                <a:close/>
              </a:path>
            </a:pathLst>
          </a:custGeom>
          <a:solidFill>
            <a:schemeClr val="bg1"/>
          </a:solidFill>
        </p:spPr>
        <p:txBody>
          <a:bodyPr wrap="square">
            <a:noAutofit/>
          </a:bodyPr>
          <a:lstStyle/>
          <a:p>
            <a:r>
              <a:rPr lang="en-US" noProof="0"/>
              <a:t>Add image by clicking on icon and set image in background</a:t>
            </a:r>
            <a:endParaRPr lang="en-GB" noProof="0"/>
          </a:p>
        </p:txBody>
      </p:sp>
      <p:sp>
        <p:nvSpPr>
          <p:cNvPr id="17" name="Titel 16">
            <a:extLst>
              <a:ext uri="{FF2B5EF4-FFF2-40B4-BE49-F238E27FC236}">
                <a16:creationId xmlns:a16="http://schemas.microsoft.com/office/drawing/2014/main" id="{4E0FC179-7CC2-79F2-EE8D-9237AE0B1B05}"/>
              </a:ext>
            </a:extLst>
          </p:cNvPr>
          <p:cNvSpPr>
            <a:spLocks noGrp="1"/>
          </p:cNvSpPr>
          <p:nvPr>
            <p:ph type="title" hasCustomPrompt="1"/>
          </p:nvPr>
        </p:nvSpPr>
        <p:spPr bwMode="gray">
          <a:xfrm>
            <a:off x="760164" y="1105231"/>
            <a:ext cx="5235824" cy="2128507"/>
          </a:xfrm>
        </p:spPr>
        <p:txBody>
          <a:bodyPr vert="horz" anchor="t" anchorCtr="0">
            <a:noAutofit/>
          </a:bodyPr>
          <a:lstStyle>
            <a:lvl1pPr>
              <a:defRPr sz="4000" b="1">
                <a:solidFill>
                  <a:schemeClr val="bg1"/>
                </a:solidFill>
              </a:defRPr>
            </a:lvl1pPr>
          </a:lstStyle>
          <a:p>
            <a:r>
              <a:rPr lang="en-US" noProof="0"/>
              <a:t>Presentation title</a:t>
            </a:r>
          </a:p>
        </p:txBody>
      </p:sp>
      <p:sp>
        <p:nvSpPr>
          <p:cNvPr id="5" name="Datumsplatzhalter 58">
            <a:extLst>
              <a:ext uri="{FF2B5EF4-FFF2-40B4-BE49-F238E27FC236}">
                <a16:creationId xmlns:a16="http://schemas.microsoft.com/office/drawing/2014/main" id="{9C26AB0A-833A-F38E-B779-0B91251A3662}"/>
              </a:ext>
            </a:extLst>
          </p:cNvPr>
          <p:cNvSpPr>
            <a:spLocks noGrp="1"/>
          </p:cNvSpPr>
          <p:nvPr>
            <p:ph type="dt" sz="half" idx="18"/>
          </p:nvPr>
        </p:nvSpPr>
        <p:spPr bwMode="gray">
          <a:xfrm>
            <a:off x="760164" y="3649364"/>
            <a:ext cx="5235824" cy="192897"/>
          </a:xfrm>
          <a:prstGeom prst="rect">
            <a:avLst/>
          </a:prstGeom>
        </p:spPr>
        <p:txBody>
          <a:bodyPr/>
          <a:lstStyle>
            <a:lvl1pPr>
              <a:defRPr sz="1200">
                <a:solidFill>
                  <a:schemeClr val="bg1"/>
                </a:solidFill>
              </a:defRPr>
            </a:lvl1pPr>
          </a:lstStyle>
          <a:p>
            <a:fld id="{A4F29CCC-46AF-4958-9417-ECD5C4DDF559}" type="datetime1">
              <a:rPr lang="en-US" noProof="0" smtClean="0"/>
              <a:t>10/31/2024</a:t>
            </a:fld>
            <a:endParaRPr lang="en-US" noProof="0"/>
          </a:p>
        </p:txBody>
      </p:sp>
      <p:sp>
        <p:nvSpPr>
          <p:cNvPr id="7" name="Fußzeilenplatzhalter 59">
            <a:extLst>
              <a:ext uri="{FF2B5EF4-FFF2-40B4-BE49-F238E27FC236}">
                <a16:creationId xmlns:a16="http://schemas.microsoft.com/office/drawing/2014/main" id="{EDC5C50B-FB82-16E1-DF81-9FE7C54439DE}"/>
              </a:ext>
            </a:extLst>
          </p:cNvPr>
          <p:cNvSpPr>
            <a:spLocks noGrp="1"/>
          </p:cNvSpPr>
          <p:nvPr>
            <p:ph type="ftr" sz="quarter" idx="11"/>
          </p:nvPr>
        </p:nvSpPr>
        <p:spPr bwMode="gray">
          <a:xfrm>
            <a:off x="760164" y="3394367"/>
            <a:ext cx="5235824" cy="192897"/>
          </a:xfrm>
        </p:spPr>
        <p:txBody>
          <a:bodyPr anchor="b"/>
          <a:lstStyle>
            <a:lvl1pPr>
              <a:defRPr sz="1200">
                <a:solidFill>
                  <a:schemeClr val="bg1"/>
                </a:solidFill>
              </a:defRPr>
            </a:lvl1pPr>
          </a:lstStyle>
          <a:p>
            <a:r>
              <a:rPr lang="en-US" noProof="0"/>
              <a:t>Group Presentation</a:t>
            </a:r>
          </a:p>
        </p:txBody>
      </p:sp>
      <p:sp>
        <p:nvSpPr>
          <p:cNvPr id="9" name="Bildplatzhalter 19">
            <a:extLst>
              <a:ext uri="{FF2B5EF4-FFF2-40B4-BE49-F238E27FC236}">
                <a16:creationId xmlns:a16="http://schemas.microsoft.com/office/drawing/2014/main" id="{329F519C-3635-9EE8-3365-B02794F1DC6F}"/>
              </a:ext>
            </a:extLst>
          </p:cNvPr>
          <p:cNvSpPr>
            <a:spLocks noGrp="1"/>
          </p:cNvSpPr>
          <p:nvPr>
            <p:ph type="pic" sz="quarter" idx="17" hasCustomPrompt="1"/>
          </p:nvPr>
        </p:nvSpPr>
        <p:spPr bwMode="gray">
          <a:xfrm>
            <a:off x="384969" y="6372143"/>
            <a:ext cx="1532476" cy="149002"/>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8" name="Text Placeholder 9">
            <a:extLst>
              <a:ext uri="{FF2B5EF4-FFF2-40B4-BE49-F238E27FC236}">
                <a16:creationId xmlns:a16="http://schemas.microsoft.com/office/drawing/2014/main" id="{19005A2F-AF89-0A82-F2C1-1431F42F8E6F}"/>
              </a:ext>
            </a:extLst>
          </p:cNvPr>
          <p:cNvSpPr>
            <a:spLocks noGrp="1"/>
          </p:cNvSpPr>
          <p:nvPr>
            <p:ph type="body" sz="quarter" idx="19" hasCustomPrompt="1"/>
          </p:nvPr>
        </p:nvSpPr>
        <p:spPr>
          <a:xfrm>
            <a:off x="11295111" y="5981426"/>
            <a:ext cx="508274" cy="508274"/>
          </a:xfrm>
          <a:blipFill>
            <a:blip r:embed="rId6">
              <a:extLst>
                <a:ext uri="{96DAC541-7B7A-43D3-8B79-37D633B846F1}">
                  <asvg:svgBlip xmlns:asvg="http://schemas.microsoft.com/office/drawing/2016/SVG/main" r:embed="rId7"/>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31718700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Bullets + 3x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90"/>
            <a:ext cx="5051209"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3FF7AF33-C6C8-E6D0-14B0-5E911481ABF3}"/>
              </a:ext>
            </a:extLst>
          </p:cNvPr>
          <p:cNvSpPr>
            <a:spLocks noGrp="1"/>
          </p:cNvSpPr>
          <p:nvPr>
            <p:ph type="pic" sz="quarter" idx="17"/>
          </p:nvPr>
        </p:nvSpPr>
        <p:spPr>
          <a:xfrm>
            <a:off x="949902" y="4120007"/>
            <a:ext cx="3363756" cy="2392111"/>
          </a:xfrm>
          <a:prstGeom prst="rect">
            <a:avLst/>
          </a:prstGeom>
        </p:spPr>
        <p:txBody>
          <a:bodyPr/>
          <a:lstStyle/>
          <a:p>
            <a:endParaRPr lang="nb-NO"/>
          </a:p>
        </p:txBody>
      </p:sp>
      <p:sp>
        <p:nvSpPr>
          <p:cNvPr id="5" name="Plassholder for bilde 7">
            <a:extLst>
              <a:ext uri="{FF2B5EF4-FFF2-40B4-BE49-F238E27FC236}">
                <a16:creationId xmlns:a16="http://schemas.microsoft.com/office/drawing/2014/main" id="{A1CF9D79-C3DF-EDB5-94E1-D0008C1C917A}"/>
              </a:ext>
            </a:extLst>
          </p:cNvPr>
          <p:cNvSpPr>
            <a:spLocks noGrp="1"/>
          </p:cNvSpPr>
          <p:nvPr>
            <p:ph type="pic" sz="quarter" idx="18"/>
          </p:nvPr>
        </p:nvSpPr>
        <p:spPr>
          <a:xfrm>
            <a:off x="4502382" y="4120006"/>
            <a:ext cx="3363756" cy="2392111"/>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3178568-1602-C101-A65E-EE1E000D2406}"/>
              </a:ext>
            </a:extLst>
          </p:cNvPr>
          <p:cNvSpPr>
            <a:spLocks noGrp="1"/>
          </p:cNvSpPr>
          <p:nvPr>
            <p:ph type="pic" sz="quarter" idx="19"/>
          </p:nvPr>
        </p:nvSpPr>
        <p:spPr>
          <a:xfrm>
            <a:off x="8054862" y="4120006"/>
            <a:ext cx="3363756" cy="2392111"/>
          </a:xfrm>
          <a:prstGeom prst="rect">
            <a:avLst/>
          </a:prstGeom>
        </p:spPr>
        <p:txBody>
          <a:bodyPr/>
          <a:lstStyle/>
          <a:p>
            <a:endParaRPr lang="nb-NO"/>
          </a:p>
        </p:txBody>
      </p:sp>
      <p:sp>
        <p:nvSpPr>
          <p:cNvPr id="8" name="Plassholder for tekst 5">
            <a:extLst>
              <a:ext uri="{FF2B5EF4-FFF2-40B4-BE49-F238E27FC236}">
                <a16:creationId xmlns:a16="http://schemas.microsoft.com/office/drawing/2014/main" id="{20A947F6-38E2-DF01-3BF5-306544EA81C7}"/>
              </a:ext>
            </a:extLst>
          </p:cNvPr>
          <p:cNvSpPr>
            <a:spLocks noGrp="1"/>
          </p:cNvSpPr>
          <p:nvPr>
            <p:ph type="body" sz="quarter" idx="20" hasCustomPrompt="1"/>
          </p:nvPr>
        </p:nvSpPr>
        <p:spPr>
          <a:xfrm>
            <a:off x="6382766" y="2072790"/>
            <a:ext cx="5051209"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579632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bbles with logo">
    <p:spTree>
      <p:nvGrpSpPr>
        <p:cNvPr id="1" name=""/>
        <p:cNvGrpSpPr/>
        <p:nvPr/>
      </p:nvGrpSpPr>
      <p:grpSpPr>
        <a:xfrm>
          <a:off x="0" y="0"/>
          <a:ext cx="0" cy="0"/>
          <a:chOff x="0" y="0"/>
          <a:chExt cx="0" cy="0"/>
        </a:xfrm>
      </p:grpSpPr>
      <p:pic>
        <p:nvPicPr>
          <p:cNvPr id="12" name="Picture 4" descr="Logo, company name&#10;&#10;Description automatically generated">
            <a:extLst>
              <a:ext uri="{FF2B5EF4-FFF2-40B4-BE49-F238E27FC236}">
                <a16:creationId xmlns:a16="http://schemas.microsoft.com/office/drawing/2014/main" id="{48E419A9-5AAA-F780-D314-227194908B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126" y="5617018"/>
            <a:ext cx="3264254" cy="1240982"/>
          </a:xfrm>
          <a:prstGeom prst="rect">
            <a:avLst/>
          </a:prstGeom>
        </p:spPr>
      </p:pic>
      <p:sp>
        <p:nvSpPr>
          <p:cNvPr id="20" name="Ellipse 19">
            <a:extLst>
              <a:ext uri="{FF2B5EF4-FFF2-40B4-BE49-F238E27FC236}">
                <a16:creationId xmlns:a16="http://schemas.microsoft.com/office/drawing/2014/main" id="{5E144B33-9B63-A459-2EAD-A7449C2C3BA5}"/>
              </a:ext>
            </a:extLst>
          </p:cNvPr>
          <p:cNvSpPr/>
          <p:nvPr userDrawn="1"/>
        </p:nvSpPr>
        <p:spPr>
          <a:xfrm>
            <a:off x="2609532" y="1049581"/>
            <a:ext cx="709531" cy="7094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4912E01E-C4CD-DBF6-58A9-26CA3BA46B63}"/>
              </a:ext>
            </a:extLst>
          </p:cNvPr>
          <p:cNvSpPr/>
          <p:nvPr userDrawn="1"/>
        </p:nvSpPr>
        <p:spPr>
          <a:xfrm>
            <a:off x="3644449" y="348928"/>
            <a:ext cx="2691616" cy="26916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Ellipse 21">
            <a:extLst>
              <a:ext uri="{FF2B5EF4-FFF2-40B4-BE49-F238E27FC236}">
                <a16:creationId xmlns:a16="http://schemas.microsoft.com/office/drawing/2014/main" id="{D9B63C64-586C-0FD9-D574-30AAF00B63BA}"/>
              </a:ext>
            </a:extLst>
          </p:cNvPr>
          <p:cNvSpPr/>
          <p:nvPr userDrawn="1"/>
        </p:nvSpPr>
        <p:spPr>
          <a:xfrm>
            <a:off x="836059" y="-418281"/>
            <a:ext cx="1675737" cy="16757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23" name="Ellipse 22">
            <a:extLst>
              <a:ext uri="{FF2B5EF4-FFF2-40B4-BE49-F238E27FC236}">
                <a16:creationId xmlns:a16="http://schemas.microsoft.com/office/drawing/2014/main" id="{3211A6E5-F2FE-99D1-C27E-2264E9EFE097}"/>
              </a:ext>
            </a:extLst>
          </p:cNvPr>
          <p:cNvSpPr/>
          <p:nvPr userDrawn="1"/>
        </p:nvSpPr>
        <p:spPr>
          <a:xfrm>
            <a:off x="6661451" y="-768569"/>
            <a:ext cx="2376311" cy="237631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Ellipse 23">
            <a:extLst>
              <a:ext uri="{FF2B5EF4-FFF2-40B4-BE49-F238E27FC236}">
                <a16:creationId xmlns:a16="http://schemas.microsoft.com/office/drawing/2014/main" id="{D7157149-4933-83A2-33F2-81A338C098C0}"/>
              </a:ext>
            </a:extLst>
          </p:cNvPr>
          <p:cNvSpPr/>
          <p:nvPr userDrawn="1"/>
        </p:nvSpPr>
        <p:spPr>
          <a:xfrm>
            <a:off x="9390596" y="-1619326"/>
            <a:ext cx="3239152" cy="323865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47C69F67-66EE-1721-E30E-E97F8B9B9B48}"/>
              </a:ext>
            </a:extLst>
          </p:cNvPr>
          <p:cNvSpPr/>
          <p:nvPr userDrawn="1"/>
        </p:nvSpPr>
        <p:spPr>
          <a:xfrm>
            <a:off x="2837182" y="-523835"/>
            <a:ext cx="1207735" cy="12077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8653D88D-D623-6FF9-6313-E3B99BFEB004}"/>
              </a:ext>
            </a:extLst>
          </p:cNvPr>
          <p:cNvSpPr/>
          <p:nvPr userDrawn="1"/>
        </p:nvSpPr>
        <p:spPr>
          <a:xfrm>
            <a:off x="2127416" y="1843265"/>
            <a:ext cx="326231" cy="32618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Ellipse 1">
            <a:extLst>
              <a:ext uri="{FF2B5EF4-FFF2-40B4-BE49-F238E27FC236}">
                <a16:creationId xmlns:a16="http://schemas.microsoft.com/office/drawing/2014/main" id="{4046C679-3B94-7727-F549-4209F6584658}"/>
              </a:ext>
            </a:extLst>
          </p:cNvPr>
          <p:cNvSpPr/>
          <p:nvPr userDrawn="1"/>
        </p:nvSpPr>
        <p:spPr>
          <a:xfrm>
            <a:off x="6661451" y="1759002"/>
            <a:ext cx="1038274" cy="10382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4" name="Ellipse 3">
            <a:extLst>
              <a:ext uri="{FF2B5EF4-FFF2-40B4-BE49-F238E27FC236}">
                <a16:creationId xmlns:a16="http://schemas.microsoft.com/office/drawing/2014/main" id="{154EB492-F02F-EAB9-93BA-AD9CD6CCB75D}"/>
              </a:ext>
            </a:extLst>
          </p:cNvPr>
          <p:cNvSpPr/>
          <p:nvPr userDrawn="1"/>
        </p:nvSpPr>
        <p:spPr>
          <a:xfrm>
            <a:off x="10907204" y="2006355"/>
            <a:ext cx="1793680" cy="17936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Ellipse 4">
            <a:extLst>
              <a:ext uri="{FF2B5EF4-FFF2-40B4-BE49-F238E27FC236}">
                <a16:creationId xmlns:a16="http://schemas.microsoft.com/office/drawing/2014/main" id="{31004F8D-E44B-4D8F-50D3-D4B30F73B33B}"/>
              </a:ext>
            </a:extLst>
          </p:cNvPr>
          <p:cNvSpPr/>
          <p:nvPr userDrawn="1"/>
        </p:nvSpPr>
        <p:spPr>
          <a:xfrm>
            <a:off x="8232547" y="1759002"/>
            <a:ext cx="1550358" cy="15501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Ellipse 5">
            <a:extLst>
              <a:ext uri="{FF2B5EF4-FFF2-40B4-BE49-F238E27FC236}">
                <a16:creationId xmlns:a16="http://schemas.microsoft.com/office/drawing/2014/main" id="{ABA7DEF6-F72E-5A51-87FC-96B55C838805}"/>
              </a:ext>
            </a:extLst>
          </p:cNvPr>
          <p:cNvSpPr/>
          <p:nvPr userDrawn="1"/>
        </p:nvSpPr>
        <p:spPr>
          <a:xfrm>
            <a:off x="10064584" y="1759002"/>
            <a:ext cx="606066" cy="60606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Friform 39">
            <a:extLst>
              <a:ext uri="{FF2B5EF4-FFF2-40B4-BE49-F238E27FC236}">
                <a16:creationId xmlns:a16="http://schemas.microsoft.com/office/drawing/2014/main" id="{86EF08E2-1944-7428-50D4-5B7E5232EF63}"/>
              </a:ext>
            </a:extLst>
          </p:cNvPr>
          <p:cNvSpPr/>
          <p:nvPr userDrawn="1"/>
        </p:nvSpPr>
        <p:spPr>
          <a:xfrm>
            <a:off x="0" y="1049580"/>
            <a:ext cx="1380578" cy="2379420"/>
          </a:xfrm>
          <a:custGeom>
            <a:avLst/>
            <a:gdLst>
              <a:gd name="connsiteX0" fmla="*/ 190685 w 1380578"/>
              <a:gd name="connsiteY0" fmla="*/ 0 h 2379420"/>
              <a:gd name="connsiteX1" fmla="*/ 1380578 w 1380578"/>
              <a:gd name="connsiteY1" fmla="*/ 1189710 h 2379420"/>
              <a:gd name="connsiteX2" fmla="*/ 190685 w 1380578"/>
              <a:gd name="connsiteY2" fmla="*/ 2379420 h 2379420"/>
              <a:gd name="connsiteX3" fmla="*/ 69025 w 1380578"/>
              <a:gd name="connsiteY3" fmla="*/ 2373278 h 2379420"/>
              <a:gd name="connsiteX4" fmla="*/ 0 w 1380578"/>
              <a:gd name="connsiteY4" fmla="*/ 2362745 h 2379420"/>
              <a:gd name="connsiteX5" fmla="*/ 0 w 1380578"/>
              <a:gd name="connsiteY5" fmla="*/ 16675 h 2379420"/>
              <a:gd name="connsiteX6" fmla="*/ 69025 w 1380578"/>
              <a:gd name="connsiteY6" fmla="*/ 6142 h 2379420"/>
              <a:gd name="connsiteX7" fmla="*/ 190685 w 1380578"/>
              <a:gd name="connsiteY7" fmla="*/ 0 h 237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0578" h="2379420">
                <a:moveTo>
                  <a:pt x="190685" y="0"/>
                </a:moveTo>
                <a:cubicBezTo>
                  <a:pt x="847845" y="0"/>
                  <a:pt x="1380578" y="532651"/>
                  <a:pt x="1380578" y="1189710"/>
                </a:cubicBezTo>
                <a:cubicBezTo>
                  <a:pt x="1380578" y="1846769"/>
                  <a:pt x="847845" y="2379420"/>
                  <a:pt x="190685" y="2379420"/>
                </a:cubicBezTo>
                <a:cubicBezTo>
                  <a:pt x="149613" y="2379420"/>
                  <a:pt x="109026" y="2377339"/>
                  <a:pt x="69025" y="2373278"/>
                </a:cubicBezTo>
                <a:lnTo>
                  <a:pt x="0" y="2362745"/>
                </a:lnTo>
                <a:lnTo>
                  <a:pt x="0" y="16675"/>
                </a:lnTo>
                <a:lnTo>
                  <a:pt x="69025" y="6142"/>
                </a:lnTo>
                <a:cubicBezTo>
                  <a:pt x="109026" y="2081"/>
                  <a:pt x="149613" y="0"/>
                  <a:pt x="190685"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43" name="Rektangel 42">
            <a:extLst>
              <a:ext uri="{FF2B5EF4-FFF2-40B4-BE49-F238E27FC236}">
                <a16:creationId xmlns:a16="http://schemas.microsoft.com/office/drawing/2014/main" id="{A8638787-4EA9-349C-BD62-5B23425E9EDD}"/>
              </a:ext>
            </a:extLst>
          </p:cNvPr>
          <p:cNvSpPr/>
          <p:nvPr userDrawn="1"/>
        </p:nvSpPr>
        <p:spPr>
          <a:xfrm>
            <a:off x="-572494" y="-1649848"/>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ktangel 43">
            <a:extLst>
              <a:ext uri="{FF2B5EF4-FFF2-40B4-BE49-F238E27FC236}">
                <a16:creationId xmlns:a16="http://schemas.microsoft.com/office/drawing/2014/main" id="{30D2F3A5-7AEC-3BEF-98F1-C802730FEE52}"/>
              </a:ext>
            </a:extLst>
          </p:cNvPr>
          <p:cNvSpPr/>
          <p:nvPr userDrawn="1"/>
        </p:nvSpPr>
        <p:spPr>
          <a:xfrm>
            <a:off x="12197301" y="-333955"/>
            <a:ext cx="2282024" cy="44540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218062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800"/>
                                        <p:tgtEl>
                                          <p:spTgt spid="40"/>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8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800"/>
                                        <p:tgtEl>
                                          <p:spTgt spid="23"/>
                                        </p:tgtEl>
                                      </p:cBhvr>
                                    </p:animEffect>
                                  </p:childTnLst>
                                </p:cTn>
                              </p:par>
                              <p:par>
                                <p:cTn id="14" presetID="10" presetClass="entr" presetSubtype="0" fill="hold" grpId="0" nodeType="withEffect">
                                  <p:stCondLst>
                                    <p:cond delay="80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800"/>
                                        <p:tgtEl>
                                          <p:spTgt spid="24"/>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800"/>
                                        <p:tgtEl>
                                          <p:spTgt spid="5"/>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800"/>
                                        <p:tgtEl>
                                          <p:spTgt spid="26"/>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800"/>
                                        <p:tgtEl>
                                          <p:spTgt spid="2"/>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800"/>
                                        <p:tgtEl>
                                          <p:spTgt spid="6"/>
                                        </p:tgtEl>
                                      </p:cBhvr>
                                    </p:animEffect>
                                  </p:childTnLst>
                                </p:cTn>
                              </p:par>
                              <p:par>
                                <p:cTn id="29" presetID="10" presetClass="entr" presetSubtype="0" fill="hold" grpId="0" nodeType="withEffect">
                                  <p:stCondLst>
                                    <p:cond delay="90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800"/>
                                        <p:tgtEl>
                                          <p:spTgt spid="4"/>
                                        </p:tgtEl>
                                      </p:cBhvr>
                                    </p:animEffect>
                                  </p:childTnLst>
                                </p:cTn>
                              </p:par>
                              <p:par>
                                <p:cTn id="32" presetID="10" presetClass="entr" presetSubtype="0" fill="hold" grpId="0" nodeType="withEffect">
                                  <p:stCondLst>
                                    <p:cond delay="20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800"/>
                                        <p:tgtEl>
                                          <p:spTgt spid="25"/>
                                        </p:tgtEl>
                                      </p:cBhvr>
                                    </p:animEffect>
                                  </p:childTnLst>
                                </p:cTn>
                              </p:par>
                              <p:par>
                                <p:cTn id="35" presetID="10" presetClass="entr" presetSubtype="0" fill="hold" grpId="0" nodeType="withEffect">
                                  <p:stCondLst>
                                    <p:cond delay="6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800"/>
                                        <p:tgtEl>
                                          <p:spTgt spid="22"/>
                                        </p:tgtEl>
                                      </p:cBhvr>
                                    </p:animEffect>
                                  </p:childTnLst>
                                </p:cTn>
                              </p:par>
                              <p:par>
                                <p:cTn id="38" presetID="10" presetClass="entr" presetSubtype="0" fill="hold" grpId="0" nodeType="withEffect">
                                  <p:stCondLst>
                                    <p:cond delay="30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8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 grpId="0" animBg="1"/>
      <p:bldP spid="4" grpId="0" animBg="1"/>
      <p:bldP spid="5" grpId="0" animBg="1"/>
      <p:bldP spid="6" grpId="0" animBg="1"/>
      <p:bldP spid="40" grpId="0" animBg="1"/>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screen image">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F7346AFE-E985-92D2-06C7-B75BE71BCA42}"/>
              </a:ext>
            </a:extLst>
          </p:cNvPr>
          <p:cNvSpPr>
            <a:spLocks noGrp="1"/>
          </p:cNvSpPr>
          <p:nvPr>
            <p:ph type="pic" sz="quarter" idx="10"/>
          </p:nvPr>
        </p:nvSpPr>
        <p:spPr>
          <a:xfrm>
            <a:off x="0" y="0"/>
            <a:ext cx="12192000" cy="6858000"/>
          </a:xfrm>
          <a:prstGeom prst="rect">
            <a:avLst/>
          </a:prstGeom>
        </p:spPr>
        <p:txBody>
          <a:bodyPr/>
          <a:lstStyle/>
          <a:p>
            <a:endParaRPr lang="nb-NO"/>
          </a:p>
        </p:txBody>
      </p:sp>
    </p:spTree>
    <p:extLst>
      <p:ext uri="{BB962C8B-B14F-4D97-AF65-F5344CB8AC3E}">
        <p14:creationId xmlns:p14="http://schemas.microsoft.com/office/powerpoint/2010/main" val="28556636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width image with title bottom">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F7346AFE-E985-92D2-06C7-B75BE71BCA42}"/>
              </a:ext>
            </a:extLst>
          </p:cNvPr>
          <p:cNvSpPr>
            <a:spLocks noGrp="1"/>
          </p:cNvSpPr>
          <p:nvPr>
            <p:ph type="pic" sz="quarter" idx="10"/>
          </p:nvPr>
        </p:nvSpPr>
        <p:spPr>
          <a:xfrm>
            <a:off x="0" y="0"/>
            <a:ext cx="12192000" cy="5836024"/>
          </a:xfrm>
          <a:prstGeom prst="rect">
            <a:avLst/>
          </a:prstGeom>
        </p:spPr>
        <p:txBody>
          <a:bodyPr/>
          <a:lstStyle/>
          <a:p>
            <a:endParaRPr lang="nb-NO"/>
          </a:p>
        </p:txBody>
      </p:sp>
      <p:sp>
        <p:nvSpPr>
          <p:cNvPr id="10" name="Plassholder for tekst 19">
            <a:extLst>
              <a:ext uri="{FF2B5EF4-FFF2-40B4-BE49-F238E27FC236}">
                <a16:creationId xmlns:a16="http://schemas.microsoft.com/office/drawing/2014/main" id="{A5F22576-6EE2-6F1D-BCEB-76166C1B4C77}"/>
              </a:ext>
            </a:extLst>
          </p:cNvPr>
          <p:cNvSpPr>
            <a:spLocks noGrp="1"/>
          </p:cNvSpPr>
          <p:nvPr>
            <p:ph type="body" sz="quarter" idx="11" hasCustomPrompt="1"/>
          </p:nvPr>
        </p:nvSpPr>
        <p:spPr>
          <a:xfrm>
            <a:off x="499110" y="6045761"/>
            <a:ext cx="11132596" cy="602925"/>
          </a:xfrm>
          <a:prstGeom prst="rect">
            <a:avLst/>
          </a:prstGeom>
        </p:spPr>
        <p:txBody>
          <a:bodyPr anchor="b"/>
          <a:lstStyle>
            <a:lvl1pPr marL="0" indent="0">
              <a:lnSpc>
                <a:spcPts val="3800"/>
              </a:lnSpc>
              <a:buNone/>
              <a:defRPr sz="3000">
                <a:solidFill>
                  <a:srgbClr val="022E33"/>
                </a:solidFill>
                <a:latin typeface="Haffer" pitchFamily="2" charset="77"/>
                <a:cs typeface="Haffer" pitchFamily="2" charset="77"/>
              </a:defRPr>
            </a:lvl1pPr>
          </a:lstStyle>
          <a:p>
            <a:pPr lvl="0"/>
            <a:r>
              <a:rPr lang="nb-NO" err="1"/>
              <a:t>Title</a:t>
            </a:r>
            <a:endParaRPr lang="nb-NO"/>
          </a:p>
        </p:txBody>
      </p:sp>
    </p:spTree>
    <p:extLst>
      <p:ext uri="{BB962C8B-B14F-4D97-AF65-F5344CB8AC3E}">
        <p14:creationId xmlns:p14="http://schemas.microsoft.com/office/powerpoint/2010/main" val="10741380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A544B0E9-53E0-BBCC-2570-1021C81E621F}"/>
              </a:ext>
            </a:extLst>
          </p:cNvPr>
          <p:cNvSpPr>
            <a:spLocks noGrp="1"/>
          </p:cNvSpPr>
          <p:nvPr>
            <p:ph type="body" sz="quarter" idx="16" hasCustomPrompt="1"/>
          </p:nvPr>
        </p:nvSpPr>
        <p:spPr>
          <a:xfrm>
            <a:off x="959977" y="2072789"/>
            <a:ext cx="6000221"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F0A02AE8-279A-C287-A2B3-BFA73DA16B73}"/>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2259245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365D3B74-F2A0-F98C-A73F-65F3909E674D}"/>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F1347D3A-AAE8-2B52-5AB3-BBDB174040C8}"/>
              </a:ext>
            </a:extLst>
          </p:cNvPr>
          <p:cNvPicPr>
            <a:picLocks noChangeAspect="1"/>
          </p:cNvPicPr>
          <p:nvPr userDrawn="1"/>
        </p:nvPicPr>
        <p:blipFill>
          <a:blip r:embed="rId2">
            <a:alphaModFix amt="40000"/>
          </a:blip>
          <a:stretch>
            <a:fillRect/>
          </a:stretch>
        </p:blipFill>
        <p:spPr>
          <a:xfrm>
            <a:off x="9982200" y="4899118"/>
            <a:ext cx="2743200" cy="1958882"/>
          </a:xfrm>
          <a:prstGeom prst="rect">
            <a:avLst/>
          </a:prstGeom>
        </p:spPr>
      </p:pic>
      <p:pic>
        <p:nvPicPr>
          <p:cNvPr id="10" name="Bilde 9">
            <a:extLst>
              <a:ext uri="{FF2B5EF4-FFF2-40B4-BE49-F238E27FC236}">
                <a16:creationId xmlns:a16="http://schemas.microsoft.com/office/drawing/2014/main" id="{AFFDAC87-ACCF-ECDD-CA2E-A7D14342D30B}"/>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2" name="TekstSylinder 11">
            <a:extLst>
              <a:ext uri="{FF2B5EF4-FFF2-40B4-BE49-F238E27FC236}">
                <a16:creationId xmlns:a16="http://schemas.microsoft.com/office/drawing/2014/main" id="{EA26B9D8-F334-003A-7658-B00F210D064B}"/>
              </a:ext>
            </a:extLst>
          </p:cNvPr>
          <p:cNvSpPr txBox="1"/>
          <p:nvPr userDrawn="1"/>
        </p:nvSpPr>
        <p:spPr>
          <a:xfrm>
            <a:off x="56335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1402136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30E3C8A0-7CD5-B5E1-A2B9-B053B5F2BC33}"/>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A3AD7066-27D0-085B-5E62-BDE0B72EA81D}"/>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5" name="Bilde 14">
            <a:extLst>
              <a:ext uri="{FF2B5EF4-FFF2-40B4-BE49-F238E27FC236}">
                <a16:creationId xmlns:a16="http://schemas.microsoft.com/office/drawing/2014/main" id="{AB39F9BC-FC56-0F72-EFD7-95DF0B93C072}"/>
              </a:ext>
            </a:extLst>
          </p:cNvPr>
          <p:cNvPicPr>
            <a:picLocks noChangeAspect="1"/>
          </p:cNvPicPr>
          <p:nvPr userDrawn="1"/>
        </p:nvPicPr>
        <p:blipFill>
          <a:blip r:embed="rId5">
            <a:alphaModFix amt="40000"/>
          </a:blip>
          <a:stretch>
            <a:fillRect/>
          </a:stretch>
        </p:blipFill>
        <p:spPr>
          <a:xfrm>
            <a:off x="9982200" y="4899118"/>
            <a:ext cx="2743200" cy="1958882"/>
          </a:xfrm>
          <a:prstGeom prst="rect">
            <a:avLst/>
          </a:prstGeom>
        </p:spPr>
      </p:pic>
      <p:sp>
        <p:nvSpPr>
          <p:cNvPr id="16" name="TekstSylinder 15">
            <a:extLst>
              <a:ext uri="{FF2B5EF4-FFF2-40B4-BE49-F238E27FC236}">
                <a16:creationId xmlns:a16="http://schemas.microsoft.com/office/drawing/2014/main" id="{E0F6F0CB-E1DC-B7B0-1D83-811275FC7252}"/>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2933118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15736A9D-E119-D712-7A6C-6605C559F18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1BF7B944-EFD1-42D5-2F71-8C93423DCE1F}"/>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3012986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Title slid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148992-DA70-DDC1-200A-390558D8D8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F0148992-DA70-DDC1-200A-390558D8D8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bject 4">
            <a:extLst>
              <a:ext uri="{FF2B5EF4-FFF2-40B4-BE49-F238E27FC236}">
                <a16:creationId xmlns:a16="http://schemas.microsoft.com/office/drawing/2014/main" id="{17C69D6A-EDEC-B0F2-E0A6-180B3DF56C0B}"/>
              </a:ext>
            </a:extLst>
          </p:cNvPr>
          <p:cNvSpPr/>
          <p:nvPr/>
        </p:nvSpPr>
        <p:spPr bwMode="gray">
          <a:xfrm>
            <a:off x="382587" y="377825"/>
            <a:ext cx="6607297" cy="3851275"/>
          </a:xfrm>
          <a:custGeom>
            <a:avLst/>
            <a:gdLst/>
            <a:ahLst/>
            <a:cxnLst/>
            <a:rect l="l" t="t" r="r" b="b"/>
            <a:pathLst>
              <a:path w="10845165" h="6324600">
                <a:moveTo>
                  <a:pt x="10844842" y="0"/>
                </a:moveTo>
                <a:lnTo>
                  <a:pt x="0" y="0"/>
                </a:lnTo>
                <a:lnTo>
                  <a:pt x="0" y="6324414"/>
                </a:lnTo>
                <a:lnTo>
                  <a:pt x="8750665" y="6324414"/>
                </a:lnTo>
                <a:lnTo>
                  <a:pt x="8798727" y="6323862"/>
                </a:lnTo>
                <a:lnTo>
                  <a:pt x="8846525" y="6322211"/>
                </a:lnTo>
                <a:lnTo>
                  <a:pt x="8894045" y="6319475"/>
                </a:lnTo>
                <a:lnTo>
                  <a:pt x="8941278" y="6315665"/>
                </a:lnTo>
                <a:lnTo>
                  <a:pt x="8988211" y="6310792"/>
                </a:lnTo>
                <a:lnTo>
                  <a:pt x="9034833" y="6304869"/>
                </a:lnTo>
                <a:lnTo>
                  <a:pt x="9081131" y="6297908"/>
                </a:lnTo>
                <a:lnTo>
                  <a:pt x="9127096" y="6289920"/>
                </a:lnTo>
                <a:lnTo>
                  <a:pt x="9172715" y="6280916"/>
                </a:lnTo>
                <a:lnTo>
                  <a:pt x="9217976" y="6270910"/>
                </a:lnTo>
                <a:lnTo>
                  <a:pt x="9262869" y="6259912"/>
                </a:lnTo>
                <a:lnTo>
                  <a:pt x="9307380" y="6247935"/>
                </a:lnTo>
                <a:lnTo>
                  <a:pt x="9351500" y="6234990"/>
                </a:lnTo>
                <a:lnTo>
                  <a:pt x="9395216" y="6221089"/>
                </a:lnTo>
                <a:lnTo>
                  <a:pt x="9438517" y="6206244"/>
                </a:lnTo>
                <a:lnTo>
                  <a:pt x="9481391" y="6190467"/>
                </a:lnTo>
                <a:lnTo>
                  <a:pt x="9523827" y="6173769"/>
                </a:lnTo>
                <a:lnTo>
                  <a:pt x="9565813" y="6156162"/>
                </a:lnTo>
                <a:lnTo>
                  <a:pt x="9607338" y="6137659"/>
                </a:lnTo>
                <a:lnTo>
                  <a:pt x="9648390" y="6118270"/>
                </a:lnTo>
                <a:lnTo>
                  <a:pt x="9688957" y="6098009"/>
                </a:lnTo>
                <a:lnTo>
                  <a:pt x="9729028" y="6076885"/>
                </a:lnTo>
                <a:lnTo>
                  <a:pt x="9768592" y="6054913"/>
                </a:lnTo>
                <a:lnTo>
                  <a:pt x="9807636" y="6032102"/>
                </a:lnTo>
                <a:lnTo>
                  <a:pt x="9846150" y="6008465"/>
                </a:lnTo>
                <a:lnTo>
                  <a:pt x="9884122" y="5984015"/>
                </a:lnTo>
                <a:lnTo>
                  <a:pt x="9921540" y="5958761"/>
                </a:lnTo>
                <a:lnTo>
                  <a:pt x="9958392" y="5932718"/>
                </a:lnTo>
                <a:lnTo>
                  <a:pt x="9994667" y="5905895"/>
                </a:lnTo>
                <a:lnTo>
                  <a:pt x="10030354" y="5878305"/>
                </a:lnTo>
                <a:lnTo>
                  <a:pt x="10065441" y="5849961"/>
                </a:lnTo>
                <a:lnTo>
                  <a:pt x="10099917" y="5820873"/>
                </a:lnTo>
                <a:lnTo>
                  <a:pt x="10133769" y="5791053"/>
                </a:lnTo>
                <a:lnTo>
                  <a:pt x="10166987" y="5760514"/>
                </a:lnTo>
                <a:lnTo>
                  <a:pt x="10199558" y="5729267"/>
                </a:lnTo>
                <a:lnTo>
                  <a:pt x="10231472" y="5697323"/>
                </a:lnTo>
                <a:lnTo>
                  <a:pt x="10262716" y="5664696"/>
                </a:lnTo>
                <a:lnTo>
                  <a:pt x="10293280" y="5631396"/>
                </a:lnTo>
                <a:lnTo>
                  <a:pt x="10323151" y="5597435"/>
                </a:lnTo>
                <a:lnTo>
                  <a:pt x="10352318" y="5562825"/>
                </a:lnTo>
                <a:lnTo>
                  <a:pt x="10380770" y="5527579"/>
                </a:lnTo>
                <a:lnTo>
                  <a:pt x="10408494" y="5491707"/>
                </a:lnTo>
                <a:lnTo>
                  <a:pt x="10435480" y="5455222"/>
                </a:lnTo>
                <a:lnTo>
                  <a:pt x="10461716" y="5418135"/>
                </a:lnTo>
                <a:lnTo>
                  <a:pt x="10487190" y="5380458"/>
                </a:lnTo>
                <a:lnTo>
                  <a:pt x="10511890" y="5342203"/>
                </a:lnTo>
                <a:lnTo>
                  <a:pt x="10535806" y="5303382"/>
                </a:lnTo>
                <a:lnTo>
                  <a:pt x="10558926" y="5264007"/>
                </a:lnTo>
                <a:lnTo>
                  <a:pt x="10581237" y="5224089"/>
                </a:lnTo>
                <a:lnTo>
                  <a:pt x="10602729" y="5183640"/>
                </a:lnTo>
                <a:lnTo>
                  <a:pt x="10623390" y="5142673"/>
                </a:lnTo>
                <a:lnTo>
                  <a:pt x="10643209" y="5101198"/>
                </a:lnTo>
                <a:lnTo>
                  <a:pt x="10662173" y="5059228"/>
                </a:lnTo>
                <a:lnTo>
                  <a:pt x="10680271" y="5016774"/>
                </a:lnTo>
                <a:lnTo>
                  <a:pt x="10697493" y="4973849"/>
                </a:lnTo>
                <a:lnTo>
                  <a:pt x="10713825" y="4930464"/>
                </a:lnTo>
                <a:lnTo>
                  <a:pt x="10729257" y="4886630"/>
                </a:lnTo>
                <a:lnTo>
                  <a:pt x="10743778" y="4842361"/>
                </a:lnTo>
                <a:lnTo>
                  <a:pt x="10757374" y="4797667"/>
                </a:lnTo>
                <a:lnTo>
                  <a:pt x="10770036" y="4752560"/>
                </a:lnTo>
                <a:lnTo>
                  <a:pt x="10781751" y="4707052"/>
                </a:lnTo>
                <a:lnTo>
                  <a:pt x="10792508" y="4661156"/>
                </a:lnTo>
                <a:lnTo>
                  <a:pt x="10802296" y="4614882"/>
                </a:lnTo>
                <a:lnTo>
                  <a:pt x="10811102" y="4568243"/>
                </a:lnTo>
                <a:lnTo>
                  <a:pt x="10818916" y="4521250"/>
                </a:lnTo>
                <a:lnTo>
                  <a:pt x="10825725" y="4473915"/>
                </a:lnTo>
                <a:lnTo>
                  <a:pt x="10831518" y="4426250"/>
                </a:lnTo>
                <a:lnTo>
                  <a:pt x="10836284" y="4378267"/>
                </a:lnTo>
                <a:lnTo>
                  <a:pt x="10840011" y="4329978"/>
                </a:lnTo>
                <a:lnTo>
                  <a:pt x="10842687" y="4281394"/>
                </a:lnTo>
                <a:lnTo>
                  <a:pt x="10844301" y="4232528"/>
                </a:lnTo>
                <a:lnTo>
                  <a:pt x="10844842" y="4183390"/>
                </a:lnTo>
                <a:lnTo>
                  <a:pt x="10844842" y="0"/>
                </a:lnTo>
                <a:close/>
              </a:path>
            </a:pathLst>
          </a:custGeom>
          <a:solidFill>
            <a:srgbClr val="004D24"/>
          </a:solidFill>
        </p:spPr>
        <p:txBody>
          <a:bodyPr wrap="square" lIns="0" tIns="0" rIns="0" bIns="0" rtlCol="0"/>
          <a:lstStyle/>
          <a:p>
            <a:endParaRPr lang="en-US" noProof="0">
              <a:solidFill>
                <a:schemeClr val="bg1"/>
              </a:solidFill>
            </a:endParaRPr>
          </a:p>
        </p:txBody>
      </p:sp>
      <p:sp>
        <p:nvSpPr>
          <p:cNvPr id="4" name="Bildplatzhalter 3">
            <a:extLst>
              <a:ext uri="{FF2B5EF4-FFF2-40B4-BE49-F238E27FC236}">
                <a16:creationId xmlns:a16="http://schemas.microsoft.com/office/drawing/2014/main" id="{D7945B1D-09B9-ABE6-A56B-52F5A3DFB971}"/>
              </a:ext>
            </a:extLst>
          </p:cNvPr>
          <p:cNvSpPr>
            <a:spLocks noGrp="1"/>
          </p:cNvSpPr>
          <p:nvPr>
            <p:ph type="pic" sz="quarter" idx="10" hasCustomPrompt="1"/>
          </p:nvPr>
        </p:nvSpPr>
        <p:spPr bwMode="gray">
          <a:xfrm>
            <a:off x="0" y="0"/>
            <a:ext cx="12192000" cy="6858000"/>
          </a:xfrm>
          <a:custGeom>
            <a:avLst/>
            <a:gdLst>
              <a:gd name="connsiteX0" fmla="*/ 381796 w 12192000"/>
              <a:gd name="connsiteY0" fmla="*/ 381002 h 6858000"/>
              <a:gd name="connsiteX1" fmla="*/ 381796 w 12192000"/>
              <a:gd name="connsiteY1" fmla="*/ 4216400 h 6858000"/>
              <a:gd name="connsiteX2" fmla="*/ 5688579 w 12192000"/>
              <a:gd name="connsiteY2" fmla="*/ 4216400 h 6858000"/>
              <a:gd name="connsiteX3" fmla="*/ 5717726 w 12192000"/>
              <a:gd name="connsiteY3" fmla="*/ 4216066 h 6858000"/>
              <a:gd name="connsiteX4" fmla="*/ 5746713 w 12192000"/>
              <a:gd name="connsiteY4" fmla="*/ 4215064 h 6858000"/>
              <a:gd name="connsiteX5" fmla="*/ 5775531 w 12192000"/>
              <a:gd name="connsiteY5" fmla="*/ 4213405 h 6858000"/>
              <a:gd name="connsiteX6" fmla="*/ 5804175 w 12192000"/>
              <a:gd name="connsiteY6" fmla="*/ 4211095 h 6858000"/>
              <a:gd name="connsiteX7" fmla="*/ 5832637 w 12192000"/>
              <a:gd name="connsiteY7" fmla="*/ 4208139 h 6858000"/>
              <a:gd name="connsiteX8" fmla="*/ 5860910 w 12192000"/>
              <a:gd name="connsiteY8" fmla="*/ 4204547 h 6858000"/>
              <a:gd name="connsiteX9" fmla="*/ 5888988 w 12192000"/>
              <a:gd name="connsiteY9" fmla="*/ 4200326 h 6858000"/>
              <a:gd name="connsiteX10" fmla="*/ 5916863 w 12192000"/>
              <a:gd name="connsiteY10" fmla="*/ 4195482 h 6858000"/>
              <a:gd name="connsiteX11" fmla="*/ 5944528 w 12192000"/>
              <a:gd name="connsiteY11" fmla="*/ 4190021 h 6858000"/>
              <a:gd name="connsiteX12" fmla="*/ 5971976 w 12192000"/>
              <a:gd name="connsiteY12" fmla="*/ 4183953 h 6858000"/>
              <a:gd name="connsiteX13" fmla="*/ 5999201 w 12192000"/>
              <a:gd name="connsiteY13" fmla="*/ 4177284 h 6858000"/>
              <a:gd name="connsiteX14" fmla="*/ 6026195 w 12192000"/>
              <a:gd name="connsiteY14" fmla="*/ 4170020 h 6858000"/>
              <a:gd name="connsiteX15" fmla="*/ 6052951 w 12192000"/>
              <a:gd name="connsiteY15" fmla="*/ 4162170 h 6858000"/>
              <a:gd name="connsiteX16" fmla="*/ 6079462 w 12192000"/>
              <a:gd name="connsiteY16" fmla="*/ 4153740 h 6858000"/>
              <a:gd name="connsiteX17" fmla="*/ 6105722 w 12192000"/>
              <a:gd name="connsiteY17" fmla="*/ 4144737 h 6858000"/>
              <a:gd name="connsiteX18" fmla="*/ 6131723 w 12192000"/>
              <a:gd name="connsiteY18" fmla="*/ 4135169 h 6858000"/>
              <a:gd name="connsiteX19" fmla="*/ 6157458 w 12192000"/>
              <a:gd name="connsiteY19" fmla="*/ 4125043 h 6858000"/>
              <a:gd name="connsiteX20" fmla="*/ 6182920 w 12192000"/>
              <a:gd name="connsiteY20" fmla="*/ 4114365 h 6858000"/>
              <a:gd name="connsiteX21" fmla="*/ 6208102 w 12192000"/>
              <a:gd name="connsiteY21" fmla="*/ 4103144 h 6858000"/>
              <a:gd name="connsiteX22" fmla="*/ 6232998 w 12192000"/>
              <a:gd name="connsiteY22" fmla="*/ 4091386 h 6858000"/>
              <a:gd name="connsiteX23" fmla="*/ 6257600 w 12192000"/>
              <a:gd name="connsiteY23" fmla="*/ 4079099 h 6858000"/>
              <a:gd name="connsiteX24" fmla="*/ 6281900 w 12192000"/>
              <a:gd name="connsiteY24" fmla="*/ 4066288 h 6858000"/>
              <a:gd name="connsiteX25" fmla="*/ 6305894 w 12192000"/>
              <a:gd name="connsiteY25" fmla="*/ 4052963 h 6858000"/>
              <a:gd name="connsiteX26" fmla="*/ 6329572 w 12192000"/>
              <a:gd name="connsiteY26" fmla="*/ 4039130 h 6858000"/>
              <a:gd name="connsiteX27" fmla="*/ 6352928 w 12192000"/>
              <a:gd name="connsiteY27" fmla="*/ 4024795 h 6858000"/>
              <a:gd name="connsiteX28" fmla="*/ 6375956 w 12192000"/>
              <a:gd name="connsiteY28" fmla="*/ 4009968 h 6858000"/>
              <a:gd name="connsiteX29" fmla="*/ 6398648 w 12192000"/>
              <a:gd name="connsiteY29" fmla="*/ 3994653 h 6858000"/>
              <a:gd name="connsiteX30" fmla="*/ 6420997 w 12192000"/>
              <a:gd name="connsiteY30" fmla="*/ 3978859 h 6858000"/>
              <a:gd name="connsiteX31" fmla="*/ 6442995 w 12192000"/>
              <a:gd name="connsiteY31" fmla="*/ 3962592 h 6858000"/>
              <a:gd name="connsiteX32" fmla="*/ 6464638 w 12192000"/>
              <a:gd name="connsiteY32" fmla="*/ 3945861 h 6858000"/>
              <a:gd name="connsiteX33" fmla="*/ 6485916 w 12192000"/>
              <a:gd name="connsiteY33" fmla="*/ 3928672 h 6858000"/>
              <a:gd name="connsiteX34" fmla="*/ 6506824 w 12192000"/>
              <a:gd name="connsiteY34" fmla="*/ 3911031 h 6858000"/>
              <a:gd name="connsiteX35" fmla="*/ 6527353 w 12192000"/>
              <a:gd name="connsiteY35" fmla="*/ 3892947 h 6858000"/>
              <a:gd name="connsiteX36" fmla="*/ 6547498 w 12192000"/>
              <a:gd name="connsiteY36" fmla="*/ 3874427 h 6858000"/>
              <a:gd name="connsiteX37" fmla="*/ 6567250 w 12192000"/>
              <a:gd name="connsiteY37" fmla="*/ 3855477 h 6858000"/>
              <a:gd name="connsiteX38" fmla="*/ 6586604 w 12192000"/>
              <a:gd name="connsiteY38" fmla="*/ 3836105 h 6858000"/>
              <a:gd name="connsiteX39" fmla="*/ 6605552 w 12192000"/>
              <a:gd name="connsiteY39" fmla="*/ 3816319 h 6858000"/>
              <a:gd name="connsiteX40" fmla="*/ 6624087 w 12192000"/>
              <a:gd name="connsiteY40" fmla="*/ 3796124 h 6858000"/>
              <a:gd name="connsiteX41" fmla="*/ 6642202 w 12192000"/>
              <a:gd name="connsiteY41" fmla="*/ 3775529 h 6858000"/>
              <a:gd name="connsiteX42" fmla="*/ 6659890 w 12192000"/>
              <a:gd name="connsiteY42" fmla="*/ 3754540 h 6858000"/>
              <a:gd name="connsiteX43" fmla="*/ 6677145 w 12192000"/>
              <a:gd name="connsiteY43" fmla="*/ 3733165 h 6858000"/>
              <a:gd name="connsiteX44" fmla="*/ 6693958 w 12192000"/>
              <a:gd name="connsiteY44" fmla="*/ 3711411 h 6858000"/>
              <a:gd name="connsiteX45" fmla="*/ 6710324 w 12192000"/>
              <a:gd name="connsiteY45" fmla="*/ 3689285 h 6858000"/>
              <a:gd name="connsiteX46" fmla="*/ 6726234 w 12192000"/>
              <a:gd name="connsiteY46" fmla="*/ 3666794 h 6858000"/>
              <a:gd name="connsiteX47" fmla="*/ 6741683 w 12192000"/>
              <a:gd name="connsiteY47" fmla="*/ 3643945 h 6858000"/>
              <a:gd name="connsiteX48" fmla="*/ 6756662 w 12192000"/>
              <a:gd name="connsiteY48" fmla="*/ 3620745 h 6858000"/>
              <a:gd name="connsiteX49" fmla="*/ 6771166 w 12192000"/>
              <a:gd name="connsiteY49" fmla="*/ 3597202 h 6858000"/>
              <a:gd name="connsiteX50" fmla="*/ 6785187 w 12192000"/>
              <a:gd name="connsiteY50" fmla="*/ 3573324 h 6858000"/>
              <a:gd name="connsiteX51" fmla="*/ 6798717 w 12192000"/>
              <a:gd name="connsiteY51" fmla="*/ 3549116 h 6858000"/>
              <a:gd name="connsiteX52" fmla="*/ 6811751 w 12192000"/>
              <a:gd name="connsiteY52" fmla="*/ 3524586 h 6858000"/>
              <a:gd name="connsiteX53" fmla="*/ 6824280 w 12192000"/>
              <a:gd name="connsiteY53" fmla="*/ 3499741 h 6858000"/>
              <a:gd name="connsiteX54" fmla="*/ 6836299 w 12192000"/>
              <a:gd name="connsiteY54" fmla="*/ 3474589 h 6858000"/>
              <a:gd name="connsiteX55" fmla="*/ 6847800 w 12192000"/>
              <a:gd name="connsiteY55" fmla="*/ 3449137 h 6858000"/>
              <a:gd name="connsiteX56" fmla="*/ 6858775 w 12192000"/>
              <a:gd name="connsiteY56" fmla="*/ 3423391 h 6858000"/>
              <a:gd name="connsiteX57" fmla="*/ 6869220 w 12192000"/>
              <a:gd name="connsiteY57" fmla="*/ 3397359 h 6858000"/>
              <a:gd name="connsiteX58" fmla="*/ 6879124 w 12192000"/>
              <a:gd name="connsiteY58" fmla="*/ 3371049 h 6858000"/>
              <a:gd name="connsiteX59" fmla="*/ 6888483 w 12192000"/>
              <a:gd name="connsiteY59" fmla="*/ 3344466 h 6858000"/>
              <a:gd name="connsiteX60" fmla="*/ 6897289 w 12192000"/>
              <a:gd name="connsiteY60" fmla="*/ 3317619 h 6858000"/>
              <a:gd name="connsiteX61" fmla="*/ 6905534 w 12192000"/>
              <a:gd name="connsiteY61" fmla="*/ 3290515 h 6858000"/>
              <a:gd name="connsiteX62" fmla="*/ 6913213 w 12192000"/>
              <a:gd name="connsiteY62" fmla="*/ 3263160 h 6858000"/>
              <a:gd name="connsiteX63" fmla="*/ 6920317 w 12192000"/>
              <a:gd name="connsiteY63" fmla="*/ 3235562 h 6858000"/>
              <a:gd name="connsiteX64" fmla="*/ 6926841 w 12192000"/>
              <a:gd name="connsiteY64" fmla="*/ 3207729 h 6858000"/>
              <a:gd name="connsiteX65" fmla="*/ 6932777 w 12192000"/>
              <a:gd name="connsiteY65" fmla="*/ 3179666 h 6858000"/>
              <a:gd name="connsiteX66" fmla="*/ 6938117 w 12192000"/>
              <a:gd name="connsiteY66" fmla="*/ 3151382 h 6858000"/>
              <a:gd name="connsiteX67" fmla="*/ 6942856 w 12192000"/>
              <a:gd name="connsiteY67" fmla="*/ 3122884 h 6858000"/>
              <a:gd name="connsiteX68" fmla="*/ 6946985 w 12192000"/>
              <a:gd name="connsiteY68" fmla="*/ 3094178 h 6858000"/>
              <a:gd name="connsiteX69" fmla="*/ 6950498 w 12192000"/>
              <a:gd name="connsiteY69" fmla="*/ 3065272 h 6858000"/>
              <a:gd name="connsiteX70" fmla="*/ 6953388 w 12192000"/>
              <a:gd name="connsiteY70" fmla="*/ 3036173 h 6858000"/>
              <a:gd name="connsiteX71" fmla="*/ 6955649 w 12192000"/>
              <a:gd name="connsiteY71" fmla="*/ 3006888 h 6858000"/>
              <a:gd name="connsiteX72" fmla="*/ 6957271 w 12192000"/>
              <a:gd name="connsiteY72" fmla="*/ 2977425 h 6858000"/>
              <a:gd name="connsiteX73" fmla="*/ 6958250 w 12192000"/>
              <a:gd name="connsiteY73" fmla="*/ 2947790 h 6858000"/>
              <a:gd name="connsiteX74" fmla="*/ 6958578 w 12192000"/>
              <a:gd name="connsiteY74" fmla="*/ 2917991 h 6858000"/>
              <a:gd name="connsiteX75" fmla="*/ 6958578 w 12192000"/>
              <a:gd name="connsiteY75" fmla="*/ 381002 h 6858000"/>
              <a:gd name="connsiteX76" fmla="*/ 0 w 12192000"/>
              <a:gd name="connsiteY76" fmla="*/ 0 h 6858000"/>
              <a:gd name="connsiteX77" fmla="*/ 12192000 w 12192000"/>
              <a:gd name="connsiteY77" fmla="*/ 0 h 6858000"/>
              <a:gd name="connsiteX78" fmla="*/ 12192000 w 12192000"/>
              <a:gd name="connsiteY78" fmla="*/ 6858000 h 6858000"/>
              <a:gd name="connsiteX79" fmla="*/ 0 w 12192000"/>
              <a:gd name="connsiteY7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192000" h="6858000">
                <a:moveTo>
                  <a:pt x="381796" y="381002"/>
                </a:moveTo>
                <a:lnTo>
                  <a:pt x="381796" y="4216400"/>
                </a:lnTo>
                <a:lnTo>
                  <a:pt x="5688579" y="4216400"/>
                </a:lnTo>
                <a:lnTo>
                  <a:pt x="5717726" y="4216066"/>
                </a:lnTo>
                <a:lnTo>
                  <a:pt x="5746713" y="4215064"/>
                </a:lnTo>
                <a:lnTo>
                  <a:pt x="5775531" y="4213405"/>
                </a:lnTo>
                <a:lnTo>
                  <a:pt x="5804175" y="4211095"/>
                </a:lnTo>
                <a:lnTo>
                  <a:pt x="5832637" y="4208139"/>
                </a:lnTo>
                <a:lnTo>
                  <a:pt x="5860910" y="4204547"/>
                </a:lnTo>
                <a:lnTo>
                  <a:pt x="5888988" y="4200326"/>
                </a:lnTo>
                <a:lnTo>
                  <a:pt x="5916863" y="4195482"/>
                </a:lnTo>
                <a:lnTo>
                  <a:pt x="5944528" y="4190021"/>
                </a:lnTo>
                <a:lnTo>
                  <a:pt x="5971976" y="4183953"/>
                </a:lnTo>
                <a:lnTo>
                  <a:pt x="5999201" y="4177284"/>
                </a:lnTo>
                <a:lnTo>
                  <a:pt x="6026195" y="4170020"/>
                </a:lnTo>
                <a:lnTo>
                  <a:pt x="6052951" y="4162170"/>
                </a:lnTo>
                <a:lnTo>
                  <a:pt x="6079462" y="4153740"/>
                </a:lnTo>
                <a:lnTo>
                  <a:pt x="6105722" y="4144737"/>
                </a:lnTo>
                <a:lnTo>
                  <a:pt x="6131723" y="4135169"/>
                </a:lnTo>
                <a:lnTo>
                  <a:pt x="6157458" y="4125043"/>
                </a:lnTo>
                <a:lnTo>
                  <a:pt x="6182920" y="4114365"/>
                </a:lnTo>
                <a:lnTo>
                  <a:pt x="6208102" y="4103144"/>
                </a:lnTo>
                <a:lnTo>
                  <a:pt x="6232998" y="4091386"/>
                </a:lnTo>
                <a:lnTo>
                  <a:pt x="6257600" y="4079099"/>
                </a:lnTo>
                <a:lnTo>
                  <a:pt x="6281900" y="4066288"/>
                </a:lnTo>
                <a:lnTo>
                  <a:pt x="6305894" y="4052963"/>
                </a:lnTo>
                <a:lnTo>
                  <a:pt x="6329572" y="4039130"/>
                </a:lnTo>
                <a:lnTo>
                  <a:pt x="6352928" y="4024795"/>
                </a:lnTo>
                <a:lnTo>
                  <a:pt x="6375956" y="4009968"/>
                </a:lnTo>
                <a:lnTo>
                  <a:pt x="6398648" y="3994653"/>
                </a:lnTo>
                <a:lnTo>
                  <a:pt x="6420997" y="3978859"/>
                </a:lnTo>
                <a:lnTo>
                  <a:pt x="6442995" y="3962592"/>
                </a:lnTo>
                <a:lnTo>
                  <a:pt x="6464638" y="3945861"/>
                </a:lnTo>
                <a:lnTo>
                  <a:pt x="6485916" y="3928672"/>
                </a:lnTo>
                <a:lnTo>
                  <a:pt x="6506824" y="3911031"/>
                </a:lnTo>
                <a:lnTo>
                  <a:pt x="6527353" y="3892947"/>
                </a:lnTo>
                <a:lnTo>
                  <a:pt x="6547498" y="3874427"/>
                </a:lnTo>
                <a:lnTo>
                  <a:pt x="6567250" y="3855477"/>
                </a:lnTo>
                <a:lnTo>
                  <a:pt x="6586604" y="3836105"/>
                </a:lnTo>
                <a:lnTo>
                  <a:pt x="6605552" y="3816319"/>
                </a:lnTo>
                <a:lnTo>
                  <a:pt x="6624087" y="3796124"/>
                </a:lnTo>
                <a:lnTo>
                  <a:pt x="6642202" y="3775529"/>
                </a:lnTo>
                <a:lnTo>
                  <a:pt x="6659890" y="3754540"/>
                </a:lnTo>
                <a:lnTo>
                  <a:pt x="6677145" y="3733165"/>
                </a:lnTo>
                <a:lnTo>
                  <a:pt x="6693958" y="3711411"/>
                </a:lnTo>
                <a:lnTo>
                  <a:pt x="6710324" y="3689285"/>
                </a:lnTo>
                <a:lnTo>
                  <a:pt x="6726234" y="3666794"/>
                </a:lnTo>
                <a:lnTo>
                  <a:pt x="6741683" y="3643945"/>
                </a:lnTo>
                <a:lnTo>
                  <a:pt x="6756662" y="3620745"/>
                </a:lnTo>
                <a:lnTo>
                  <a:pt x="6771166" y="3597202"/>
                </a:lnTo>
                <a:lnTo>
                  <a:pt x="6785187" y="3573324"/>
                </a:lnTo>
                <a:lnTo>
                  <a:pt x="6798717" y="3549116"/>
                </a:lnTo>
                <a:lnTo>
                  <a:pt x="6811751" y="3524586"/>
                </a:lnTo>
                <a:lnTo>
                  <a:pt x="6824280" y="3499741"/>
                </a:lnTo>
                <a:lnTo>
                  <a:pt x="6836299" y="3474589"/>
                </a:lnTo>
                <a:lnTo>
                  <a:pt x="6847800" y="3449137"/>
                </a:lnTo>
                <a:lnTo>
                  <a:pt x="6858775" y="3423391"/>
                </a:lnTo>
                <a:lnTo>
                  <a:pt x="6869220" y="3397359"/>
                </a:lnTo>
                <a:lnTo>
                  <a:pt x="6879124" y="3371049"/>
                </a:lnTo>
                <a:lnTo>
                  <a:pt x="6888483" y="3344466"/>
                </a:lnTo>
                <a:lnTo>
                  <a:pt x="6897289" y="3317619"/>
                </a:lnTo>
                <a:lnTo>
                  <a:pt x="6905534" y="3290515"/>
                </a:lnTo>
                <a:lnTo>
                  <a:pt x="6913213" y="3263160"/>
                </a:lnTo>
                <a:lnTo>
                  <a:pt x="6920317" y="3235562"/>
                </a:lnTo>
                <a:lnTo>
                  <a:pt x="6926841" y="3207729"/>
                </a:lnTo>
                <a:lnTo>
                  <a:pt x="6932777" y="3179666"/>
                </a:lnTo>
                <a:lnTo>
                  <a:pt x="6938117" y="3151382"/>
                </a:lnTo>
                <a:lnTo>
                  <a:pt x="6942856" y="3122884"/>
                </a:lnTo>
                <a:lnTo>
                  <a:pt x="6946985" y="3094178"/>
                </a:lnTo>
                <a:lnTo>
                  <a:pt x="6950498" y="3065272"/>
                </a:lnTo>
                <a:lnTo>
                  <a:pt x="6953388" y="3036173"/>
                </a:lnTo>
                <a:lnTo>
                  <a:pt x="6955649" y="3006888"/>
                </a:lnTo>
                <a:lnTo>
                  <a:pt x="6957271" y="2977425"/>
                </a:lnTo>
                <a:lnTo>
                  <a:pt x="6958250" y="2947790"/>
                </a:lnTo>
                <a:lnTo>
                  <a:pt x="6958578" y="2917991"/>
                </a:lnTo>
                <a:lnTo>
                  <a:pt x="6958578" y="381002"/>
                </a:lnTo>
                <a:close/>
                <a:moveTo>
                  <a:pt x="0" y="0"/>
                </a:moveTo>
                <a:lnTo>
                  <a:pt x="12192000" y="0"/>
                </a:lnTo>
                <a:lnTo>
                  <a:pt x="12192000" y="6858000"/>
                </a:lnTo>
                <a:lnTo>
                  <a:pt x="0" y="6858000"/>
                </a:lnTo>
                <a:close/>
              </a:path>
            </a:pathLst>
          </a:custGeom>
          <a:solidFill>
            <a:schemeClr val="bg1"/>
          </a:solidFill>
        </p:spPr>
        <p:txBody>
          <a:bodyPr wrap="square">
            <a:noAutofit/>
          </a:bodyPr>
          <a:lstStyle/>
          <a:p>
            <a:r>
              <a:rPr lang="en-US" noProof="0"/>
              <a:t>Add image by clicking on icon and set image in background</a:t>
            </a:r>
            <a:endParaRPr lang="en-GB" noProof="0"/>
          </a:p>
        </p:txBody>
      </p:sp>
      <p:sp>
        <p:nvSpPr>
          <p:cNvPr id="17" name="Titel 16">
            <a:extLst>
              <a:ext uri="{FF2B5EF4-FFF2-40B4-BE49-F238E27FC236}">
                <a16:creationId xmlns:a16="http://schemas.microsoft.com/office/drawing/2014/main" id="{4E0FC179-7CC2-79F2-EE8D-9237AE0B1B05}"/>
              </a:ext>
            </a:extLst>
          </p:cNvPr>
          <p:cNvSpPr>
            <a:spLocks noGrp="1"/>
          </p:cNvSpPr>
          <p:nvPr>
            <p:ph type="title" hasCustomPrompt="1"/>
          </p:nvPr>
        </p:nvSpPr>
        <p:spPr bwMode="gray">
          <a:xfrm>
            <a:off x="760164" y="1105231"/>
            <a:ext cx="5235824" cy="2128507"/>
          </a:xfrm>
        </p:spPr>
        <p:txBody>
          <a:bodyPr vert="horz" anchor="t" anchorCtr="0">
            <a:noAutofit/>
          </a:bodyPr>
          <a:lstStyle>
            <a:lvl1pPr>
              <a:defRPr sz="4000" b="1">
                <a:solidFill>
                  <a:schemeClr val="bg1"/>
                </a:solidFill>
              </a:defRPr>
            </a:lvl1pPr>
          </a:lstStyle>
          <a:p>
            <a:r>
              <a:rPr lang="en-US" noProof="0"/>
              <a:t>Presentation title</a:t>
            </a:r>
          </a:p>
        </p:txBody>
      </p:sp>
      <p:sp>
        <p:nvSpPr>
          <p:cNvPr id="5" name="Datumsplatzhalter 58">
            <a:extLst>
              <a:ext uri="{FF2B5EF4-FFF2-40B4-BE49-F238E27FC236}">
                <a16:creationId xmlns:a16="http://schemas.microsoft.com/office/drawing/2014/main" id="{9C26AB0A-833A-F38E-B779-0B91251A3662}"/>
              </a:ext>
            </a:extLst>
          </p:cNvPr>
          <p:cNvSpPr>
            <a:spLocks noGrp="1"/>
          </p:cNvSpPr>
          <p:nvPr>
            <p:ph type="dt" sz="half" idx="18"/>
          </p:nvPr>
        </p:nvSpPr>
        <p:spPr bwMode="gray">
          <a:xfrm>
            <a:off x="760164" y="3649364"/>
            <a:ext cx="5235824" cy="192897"/>
          </a:xfrm>
          <a:prstGeom prst="rect">
            <a:avLst/>
          </a:prstGeom>
        </p:spPr>
        <p:txBody>
          <a:bodyPr/>
          <a:lstStyle>
            <a:lvl1pPr>
              <a:defRPr sz="1200">
                <a:solidFill>
                  <a:schemeClr val="bg1"/>
                </a:solidFill>
              </a:defRPr>
            </a:lvl1pPr>
          </a:lstStyle>
          <a:p>
            <a:fld id="{A4F29CCC-46AF-4958-9417-ECD5C4DDF559}" type="datetime1">
              <a:rPr lang="en-US" noProof="0" smtClean="0"/>
              <a:t>10/31/2024</a:t>
            </a:fld>
            <a:endParaRPr lang="en-US" noProof="0"/>
          </a:p>
        </p:txBody>
      </p:sp>
      <p:sp>
        <p:nvSpPr>
          <p:cNvPr id="7" name="Fußzeilenplatzhalter 59">
            <a:extLst>
              <a:ext uri="{FF2B5EF4-FFF2-40B4-BE49-F238E27FC236}">
                <a16:creationId xmlns:a16="http://schemas.microsoft.com/office/drawing/2014/main" id="{EDC5C50B-FB82-16E1-DF81-9FE7C54439DE}"/>
              </a:ext>
            </a:extLst>
          </p:cNvPr>
          <p:cNvSpPr>
            <a:spLocks noGrp="1"/>
          </p:cNvSpPr>
          <p:nvPr>
            <p:ph type="ftr" sz="quarter" idx="11"/>
          </p:nvPr>
        </p:nvSpPr>
        <p:spPr bwMode="gray">
          <a:xfrm>
            <a:off x="760164" y="3394367"/>
            <a:ext cx="5235824" cy="192897"/>
          </a:xfrm>
        </p:spPr>
        <p:txBody>
          <a:bodyPr anchor="b"/>
          <a:lstStyle>
            <a:lvl1pPr>
              <a:defRPr sz="1200">
                <a:solidFill>
                  <a:schemeClr val="bg1"/>
                </a:solidFill>
              </a:defRPr>
            </a:lvl1pPr>
          </a:lstStyle>
          <a:p>
            <a:r>
              <a:rPr lang="en-US" noProof="0"/>
              <a:t>Group Presentation</a:t>
            </a:r>
          </a:p>
        </p:txBody>
      </p:sp>
      <p:sp>
        <p:nvSpPr>
          <p:cNvPr id="9" name="Bildplatzhalter 19">
            <a:extLst>
              <a:ext uri="{FF2B5EF4-FFF2-40B4-BE49-F238E27FC236}">
                <a16:creationId xmlns:a16="http://schemas.microsoft.com/office/drawing/2014/main" id="{329F519C-3635-9EE8-3365-B02794F1DC6F}"/>
              </a:ext>
            </a:extLst>
          </p:cNvPr>
          <p:cNvSpPr>
            <a:spLocks noGrp="1"/>
          </p:cNvSpPr>
          <p:nvPr>
            <p:ph type="pic" sz="quarter" idx="17" hasCustomPrompt="1"/>
          </p:nvPr>
        </p:nvSpPr>
        <p:spPr bwMode="gray">
          <a:xfrm>
            <a:off x="384969" y="6372143"/>
            <a:ext cx="1532476" cy="149002"/>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8" name="Text Placeholder 9">
            <a:extLst>
              <a:ext uri="{FF2B5EF4-FFF2-40B4-BE49-F238E27FC236}">
                <a16:creationId xmlns:a16="http://schemas.microsoft.com/office/drawing/2014/main" id="{19005A2F-AF89-0A82-F2C1-1431F42F8E6F}"/>
              </a:ext>
            </a:extLst>
          </p:cNvPr>
          <p:cNvSpPr>
            <a:spLocks noGrp="1"/>
          </p:cNvSpPr>
          <p:nvPr>
            <p:ph type="body" sz="quarter" idx="19" hasCustomPrompt="1"/>
          </p:nvPr>
        </p:nvSpPr>
        <p:spPr>
          <a:xfrm>
            <a:off x="11295111" y="5981426"/>
            <a:ext cx="508274" cy="508274"/>
          </a:xfrm>
          <a:blipFill>
            <a:blip r:embed="rId6">
              <a:extLst>
                <a:ext uri="{96DAC541-7B7A-43D3-8B79-37D633B846F1}">
                  <asvg:svgBlip xmlns:asvg="http://schemas.microsoft.com/office/drawing/2016/SVG/main" r:embed="rId7"/>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15960186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ottom Picture and Text">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F39FA74-0166-8C94-DB61-09725ECB42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14" name="Object 13" hidden="1">
                        <a:extLst>
                          <a:ext uri="{FF2B5EF4-FFF2-40B4-BE49-F238E27FC236}">
                            <a16:creationId xmlns:a16="http://schemas.microsoft.com/office/drawing/2014/main" id="{1F39FA74-0166-8C94-DB61-09725ECB42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3">
            <a:extLst>
              <a:ext uri="{FF2B5EF4-FFF2-40B4-BE49-F238E27FC236}">
                <a16:creationId xmlns:a16="http://schemas.microsoft.com/office/drawing/2014/main" id="{860B7CEC-0563-34E6-837C-B1F3CC84237B}"/>
              </a:ext>
            </a:extLst>
          </p:cNvPr>
          <p:cNvSpPr>
            <a:spLocks noGrp="1"/>
          </p:cNvSpPr>
          <p:nvPr>
            <p:ph type="pic" sz="quarter" idx="15" hasCustomPrompt="1"/>
          </p:nvPr>
        </p:nvSpPr>
        <p:spPr>
          <a:xfrm>
            <a:off x="-1" y="3429000"/>
            <a:ext cx="12192000" cy="3429000"/>
          </a:xfrm>
          <a:solidFill>
            <a:schemeClr val="bg1"/>
          </a:solidFill>
        </p:spPr>
        <p:txBody>
          <a:bodyPr/>
          <a:lstStyle/>
          <a:p>
            <a:r>
              <a:rPr lang="en-US" noProof="0"/>
              <a:t>Add image by clicking on icon and set image in background</a:t>
            </a:r>
            <a:endParaRPr lang="en-GB" noProof="0"/>
          </a:p>
        </p:txBody>
      </p:sp>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45995"/>
            <a:ext cx="5609529" cy="1470208"/>
          </a:xfrm>
        </p:spPr>
        <p:txBody>
          <a:bodyPr>
            <a:noAutofit/>
          </a:bodyPr>
          <a:lstStyle>
            <a:lvl5pPr>
              <a:defRPr/>
            </a:lvl5pPr>
            <a:lvl6pPr marL="0" indent="0">
              <a:buFontTx/>
              <a:buNone/>
              <a:defRPr sz="1400"/>
            </a:lvl6pPr>
          </a:lstStyle>
          <a:p>
            <a:pPr lvl="0"/>
            <a:r>
              <a:rPr lang="en-GB" noProof="0"/>
              <a:t>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6192839" y="1348470"/>
            <a:ext cx="5618162" cy="1470208"/>
          </a:xfrm>
        </p:spPr>
        <p:txBody>
          <a:bodyPr>
            <a:noAutofit/>
          </a:bodyPr>
          <a:lstStyle>
            <a:lvl5pPr>
              <a:defRPr/>
            </a:lvl5pPr>
            <a:lvl6pPr marL="0" indent="0">
              <a:buFontTx/>
              <a:buNone/>
              <a:defRPr sz="1400"/>
            </a:lvl6pPr>
          </a:lstStyle>
          <a:p>
            <a:pPr lvl="0"/>
            <a:r>
              <a:rPr lang="en-GB" noProof="0"/>
              <a:t>Edit text forma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Textplatzhalter 3">
            <a:extLst>
              <a:ext uri="{FF2B5EF4-FFF2-40B4-BE49-F238E27FC236}">
                <a16:creationId xmlns:a16="http://schemas.microsoft.com/office/drawing/2014/main" id="{56CB2845-29EF-A433-7282-343B47161539}"/>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0" name="Date Placeholder 9">
            <a:extLst>
              <a:ext uri="{FF2B5EF4-FFF2-40B4-BE49-F238E27FC236}">
                <a16:creationId xmlns:a16="http://schemas.microsoft.com/office/drawing/2014/main" id="{6101AC69-FD34-6DA3-4C0E-349B03EA7A3A}"/>
              </a:ext>
            </a:extLst>
          </p:cNvPr>
          <p:cNvSpPr>
            <a:spLocks noGrp="1"/>
          </p:cNvSpPr>
          <p:nvPr>
            <p:ph type="dt" sz="half" idx="17"/>
          </p:nvPr>
        </p:nvSpPr>
        <p:spPr/>
        <p:txBody>
          <a:bodyPr/>
          <a:lstStyle>
            <a:lvl1pPr>
              <a:defRPr>
                <a:solidFill>
                  <a:schemeClr val="bg1"/>
                </a:solidFill>
              </a:defRPr>
            </a:lvl1pPr>
          </a:lstStyle>
          <a:p>
            <a:fld id="{7BF05C7C-DDD4-4E4D-801C-4C6297EE8476}" type="datetime1">
              <a:rPr lang="en-US" smtClean="0"/>
              <a:t>10/31/2024</a:t>
            </a:fld>
            <a:endParaRPr lang="en-US"/>
          </a:p>
        </p:txBody>
      </p:sp>
      <p:sp>
        <p:nvSpPr>
          <p:cNvPr id="16" name="Footer Placeholder 15">
            <a:extLst>
              <a:ext uri="{FF2B5EF4-FFF2-40B4-BE49-F238E27FC236}">
                <a16:creationId xmlns:a16="http://schemas.microsoft.com/office/drawing/2014/main" id="{6CF7E9E1-45F2-A093-242B-ABA0EFA4EA9F}"/>
              </a:ext>
            </a:extLst>
          </p:cNvPr>
          <p:cNvSpPr>
            <a:spLocks noGrp="1"/>
          </p:cNvSpPr>
          <p:nvPr>
            <p:ph type="ftr" sz="quarter" idx="18"/>
          </p:nvPr>
        </p:nvSpPr>
        <p:spPr/>
        <p:txBody>
          <a:bodyPr/>
          <a:lstStyle>
            <a:lvl1pPr>
              <a:defRPr>
                <a:solidFill>
                  <a:schemeClr val="bg1"/>
                </a:solidFill>
              </a:defRPr>
            </a:lvl1pPr>
          </a:lstStyle>
          <a:p>
            <a:r>
              <a:rPr lang="en-US"/>
              <a:t>Group Presentation</a:t>
            </a:r>
          </a:p>
        </p:txBody>
      </p:sp>
      <p:sp>
        <p:nvSpPr>
          <p:cNvPr id="17" name="Slide Number Placeholder 16">
            <a:extLst>
              <a:ext uri="{FF2B5EF4-FFF2-40B4-BE49-F238E27FC236}">
                <a16:creationId xmlns:a16="http://schemas.microsoft.com/office/drawing/2014/main" id="{39260DF3-311C-5B40-05A3-43AEDD7D6941}"/>
              </a:ext>
            </a:extLst>
          </p:cNvPr>
          <p:cNvSpPr>
            <a:spLocks noGrp="1"/>
          </p:cNvSpPr>
          <p:nvPr>
            <p:ph type="sldNum" sz="quarter" idx="19"/>
          </p:nvPr>
        </p:nvSpPr>
        <p:spPr/>
        <p:txBody>
          <a:bodyPr/>
          <a:lstStyle>
            <a:lvl1pPr>
              <a:defRPr>
                <a:solidFill>
                  <a:schemeClr val="bg1"/>
                </a:solidFill>
              </a:defRPr>
            </a:lvl1pPr>
          </a:lstStyle>
          <a:p>
            <a:fld id="{A115CDC9-74CB-4F6C-8CD3-A6C89F254EE7}" type="slidenum">
              <a:rPr lang="en-US" smtClean="0"/>
              <a:pPr/>
              <a:t>‹#›</a:t>
            </a:fld>
            <a:endParaRPr lang="en-US"/>
          </a:p>
        </p:txBody>
      </p:sp>
      <p:sp>
        <p:nvSpPr>
          <p:cNvPr id="4" name="Bildplatzhalter 19">
            <a:extLst>
              <a:ext uri="{FF2B5EF4-FFF2-40B4-BE49-F238E27FC236}">
                <a16:creationId xmlns:a16="http://schemas.microsoft.com/office/drawing/2014/main" id="{685DA2B1-FCB3-6D34-693B-2498A687E29D}"/>
              </a:ext>
            </a:extLst>
          </p:cNvPr>
          <p:cNvSpPr>
            <a:spLocks noGrp="1"/>
          </p:cNvSpPr>
          <p:nvPr>
            <p:ph type="pic" sz="quarter" idx="36" hasCustomPrompt="1"/>
          </p:nvPr>
        </p:nvSpPr>
        <p:spPr bwMode="gray">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6" name="Text Placeholder 7">
            <a:extLst>
              <a:ext uri="{FF2B5EF4-FFF2-40B4-BE49-F238E27FC236}">
                <a16:creationId xmlns:a16="http://schemas.microsoft.com/office/drawing/2014/main" id="{4FEBA41B-ECC8-664F-FC66-E7D0361A9833}"/>
              </a:ext>
            </a:extLst>
          </p:cNvPr>
          <p:cNvSpPr>
            <a:spLocks noGrp="1" noChangeAspect="1"/>
          </p:cNvSpPr>
          <p:nvPr>
            <p:ph type="body" sz="quarter" idx="35" hasCustomPrompt="1"/>
          </p:nvPr>
        </p:nvSpPr>
        <p:spPr>
          <a:xfrm>
            <a:off x="11523000" y="6201700"/>
            <a:ext cx="288000" cy="288000"/>
          </a:xfrm>
          <a:blipFill>
            <a:blip r:embed="rId6"/>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2264956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A8EB7E7-44AB-1CC0-2E66-F4064B8D9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7" name="Object 6" hidden="1">
                        <a:extLst>
                          <a:ext uri="{FF2B5EF4-FFF2-40B4-BE49-F238E27FC236}">
                            <a16:creationId xmlns:a16="http://schemas.microsoft.com/office/drawing/2014/main" id="{7A8EB7E7-44AB-1CC0-2E66-F4064B8D9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CF9C23E-BE04-F971-692A-7BB38E039615}"/>
              </a:ext>
            </a:extLst>
          </p:cNvPr>
          <p:cNvSpPr>
            <a:spLocks noGrp="1"/>
          </p:cNvSpPr>
          <p:nvPr>
            <p:ph type="title" hasCustomPrompt="1"/>
          </p:nvPr>
        </p:nvSpPr>
        <p:spPr/>
        <p:txBody>
          <a:bodyPr vert="horz"/>
          <a:lstStyle>
            <a:lvl1pPr>
              <a:defRPr/>
            </a:lvl1pPr>
          </a:lstStyle>
          <a:p>
            <a:r>
              <a:rPr lang="en-US" noProof="0"/>
              <a:t>Slide heading</a:t>
            </a:r>
          </a:p>
        </p:txBody>
      </p:sp>
      <p:sp>
        <p:nvSpPr>
          <p:cNvPr id="8" name="Textplatzhalter 3">
            <a:extLst>
              <a:ext uri="{FF2B5EF4-FFF2-40B4-BE49-F238E27FC236}">
                <a16:creationId xmlns:a16="http://schemas.microsoft.com/office/drawing/2014/main" id="{4D62F9FA-9E38-665C-01B6-A879502664C8}"/>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17" name="Date Placeholder 16">
            <a:extLst>
              <a:ext uri="{FF2B5EF4-FFF2-40B4-BE49-F238E27FC236}">
                <a16:creationId xmlns:a16="http://schemas.microsoft.com/office/drawing/2014/main" id="{7FFB19FE-7131-7451-8A2F-E57E3CA78C71}"/>
              </a:ext>
            </a:extLst>
          </p:cNvPr>
          <p:cNvSpPr>
            <a:spLocks noGrp="1"/>
          </p:cNvSpPr>
          <p:nvPr>
            <p:ph type="dt" sz="half" idx="15"/>
          </p:nvPr>
        </p:nvSpPr>
        <p:spPr/>
        <p:txBody>
          <a:bodyPr/>
          <a:lstStyle/>
          <a:p>
            <a:fld id="{E5320BD2-4B69-4414-80FF-E20912743A0D}" type="datetime1">
              <a:rPr lang="en-US" noProof="0" smtClean="0"/>
              <a:t>10/31/2024</a:t>
            </a:fld>
            <a:endParaRPr lang="en-US" noProof="0"/>
          </a:p>
        </p:txBody>
      </p:sp>
      <p:sp>
        <p:nvSpPr>
          <p:cNvPr id="18" name="Footer Placeholder 17">
            <a:extLst>
              <a:ext uri="{FF2B5EF4-FFF2-40B4-BE49-F238E27FC236}">
                <a16:creationId xmlns:a16="http://schemas.microsoft.com/office/drawing/2014/main" id="{7C7085E5-A282-BD93-CF05-4029127F1FE9}"/>
              </a:ext>
            </a:extLst>
          </p:cNvPr>
          <p:cNvSpPr>
            <a:spLocks noGrp="1"/>
          </p:cNvSpPr>
          <p:nvPr>
            <p:ph type="ftr" sz="quarter" idx="16"/>
          </p:nvPr>
        </p:nvSpPr>
        <p:spPr/>
        <p:txBody>
          <a:bodyPr/>
          <a:lstStyle/>
          <a:p>
            <a:r>
              <a:rPr lang="en-US"/>
              <a:t>Group Presentation</a:t>
            </a:r>
          </a:p>
        </p:txBody>
      </p:sp>
      <p:sp>
        <p:nvSpPr>
          <p:cNvPr id="19" name="Slide Number Placeholder 18">
            <a:extLst>
              <a:ext uri="{FF2B5EF4-FFF2-40B4-BE49-F238E27FC236}">
                <a16:creationId xmlns:a16="http://schemas.microsoft.com/office/drawing/2014/main" id="{3D5AD9F3-58E0-83DA-AC42-9B48A8D0B4E2}"/>
              </a:ext>
            </a:extLst>
          </p:cNvPr>
          <p:cNvSpPr>
            <a:spLocks noGrp="1"/>
          </p:cNvSpPr>
          <p:nvPr>
            <p:ph type="sldNum" sz="quarter" idx="17"/>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40159391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9016ED-28CA-C732-AD0E-BA08925040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ct 4" hidden="1">
                        <a:extLst>
                          <a:ext uri="{FF2B5EF4-FFF2-40B4-BE49-F238E27FC236}">
                            <a16:creationId xmlns:a16="http://schemas.microsoft.com/office/drawing/2014/main" id="{189016ED-28CA-C732-AD0E-BA08925040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A1D5B910-75C9-549F-449C-8043F0B8646D}"/>
              </a:ext>
            </a:extLst>
          </p:cNvPr>
          <p:cNvSpPr>
            <a:spLocks noGrp="1"/>
          </p:cNvSpPr>
          <p:nvPr>
            <p:ph idx="1" hasCustomPrompt="1"/>
          </p:nvPr>
        </p:nvSpPr>
        <p:spPr>
          <a:xfrm>
            <a:off x="386459" y="1341438"/>
            <a:ext cx="5609529" cy="4571999"/>
          </a:xfrm>
        </p:spPr>
        <p:txBody>
          <a:bodyPr>
            <a:noAutofit/>
          </a:bodyPr>
          <a:lstStyle>
            <a:lvl5pPr>
              <a:defRPr/>
            </a:lvl5pPr>
            <a:lvl6pPr marL="0" indent="0">
              <a:buFontTx/>
              <a:buNone/>
              <a:defRPr sz="1400"/>
            </a:lvl6p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a:p>
            <a:pPr lvl="0"/>
            <a:r>
              <a:rPr lang="en-GB" sz="1400" noProof="0"/>
              <a:t>Sixth level</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p:txBody>
          <a:bodyPr vert="horz"/>
          <a:lstStyle>
            <a:lvl1pPr>
              <a:defRPr/>
            </a:lvl1pPr>
          </a:lstStyle>
          <a:p>
            <a:r>
              <a:rPr lang="en-US" noProof="0"/>
              <a:t>Slide heading</a:t>
            </a:r>
          </a:p>
        </p:txBody>
      </p:sp>
      <p:sp>
        <p:nvSpPr>
          <p:cNvPr id="2" name="Inhaltsplatzhalter 2">
            <a:extLst>
              <a:ext uri="{FF2B5EF4-FFF2-40B4-BE49-F238E27FC236}">
                <a16:creationId xmlns:a16="http://schemas.microsoft.com/office/drawing/2014/main" id="{183AABB5-CBBF-C15A-963B-4292191EA454}"/>
              </a:ext>
            </a:extLst>
          </p:cNvPr>
          <p:cNvSpPr>
            <a:spLocks noGrp="1"/>
          </p:cNvSpPr>
          <p:nvPr>
            <p:ph idx="13" hasCustomPrompt="1"/>
          </p:nvPr>
        </p:nvSpPr>
        <p:spPr>
          <a:xfrm>
            <a:off x="6201471" y="1341438"/>
            <a:ext cx="5609529" cy="4574474"/>
          </a:xfrm>
        </p:spPr>
        <p:txBody>
          <a:bodyPr>
            <a:noAutofit/>
          </a:bodyPr>
          <a:lstStyle>
            <a:lvl5pPr>
              <a:defRPr/>
            </a:lvl5pPr>
            <a:lvl6pPr marL="0" indent="0">
              <a:buFontTx/>
              <a:buNone/>
              <a:defRPr sz="1400"/>
            </a:lvl6p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a:t>
            </a:r>
          </a:p>
          <a:p>
            <a:pPr lvl="4"/>
            <a:r>
              <a:rPr lang="en-GB" noProof="0"/>
              <a:t>Fifth level</a:t>
            </a:r>
          </a:p>
          <a:p>
            <a:pPr lvl="0"/>
            <a:r>
              <a:rPr lang="en-GB" sz="1400" noProof="0"/>
              <a:t>Sixth level</a:t>
            </a:r>
            <a:endParaRPr lang="en-GB" noProof="0"/>
          </a:p>
        </p:txBody>
      </p:sp>
      <p:sp>
        <p:nvSpPr>
          <p:cNvPr id="8" name="Textplatzhalter 3">
            <a:extLst>
              <a:ext uri="{FF2B5EF4-FFF2-40B4-BE49-F238E27FC236}">
                <a16:creationId xmlns:a16="http://schemas.microsoft.com/office/drawing/2014/main" id="{EEAF1444-D87B-9A2C-4132-42B1FF6E8046}"/>
              </a:ext>
            </a:extLst>
          </p:cNvPr>
          <p:cNvSpPr>
            <a:spLocks noGrp="1"/>
          </p:cNvSpPr>
          <p:nvPr>
            <p:ph type="body" sz="quarter" idx="14" hasCustomPrompt="1"/>
          </p:nvPr>
        </p:nvSpPr>
        <p:spPr>
          <a:xfrm>
            <a:off x="382588" y="265541"/>
            <a:ext cx="11419082" cy="136525"/>
          </a:xfrm>
        </p:spPr>
        <p:txBody>
          <a:bodyPr anchor="b" anchorCtr="0">
            <a:noAutofit/>
          </a:bodyPr>
          <a:lstStyle>
            <a:lvl1pPr marL="0" indent="0">
              <a:buNone/>
              <a:defRPr sz="1000">
                <a:solidFill>
                  <a:schemeClr val="tx2"/>
                </a:solidFill>
              </a:defRPr>
            </a:lvl1pPr>
          </a:lstStyle>
          <a:p>
            <a:pPr lvl="0"/>
            <a:r>
              <a:rPr lang="en-US"/>
              <a:t>Topline</a:t>
            </a:r>
          </a:p>
        </p:txBody>
      </p:sp>
      <p:sp>
        <p:nvSpPr>
          <p:cNvPr id="21" name="Date Placeholder 20">
            <a:extLst>
              <a:ext uri="{FF2B5EF4-FFF2-40B4-BE49-F238E27FC236}">
                <a16:creationId xmlns:a16="http://schemas.microsoft.com/office/drawing/2014/main" id="{F1E4091A-C06D-7292-52B3-512D09B7A391}"/>
              </a:ext>
            </a:extLst>
          </p:cNvPr>
          <p:cNvSpPr>
            <a:spLocks noGrp="1"/>
          </p:cNvSpPr>
          <p:nvPr>
            <p:ph type="dt" sz="half" idx="15"/>
          </p:nvPr>
        </p:nvSpPr>
        <p:spPr/>
        <p:txBody>
          <a:bodyPr/>
          <a:lstStyle/>
          <a:p>
            <a:fld id="{161895A0-2148-42B8-A959-9F82B7B407BD}" type="datetime1">
              <a:rPr lang="en-US" noProof="0" smtClean="0"/>
              <a:t>10/31/2024</a:t>
            </a:fld>
            <a:endParaRPr lang="en-US" noProof="0"/>
          </a:p>
        </p:txBody>
      </p:sp>
      <p:sp>
        <p:nvSpPr>
          <p:cNvPr id="22" name="Footer Placeholder 21">
            <a:extLst>
              <a:ext uri="{FF2B5EF4-FFF2-40B4-BE49-F238E27FC236}">
                <a16:creationId xmlns:a16="http://schemas.microsoft.com/office/drawing/2014/main" id="{A16DD943-987E-34EB-F2AB-12339C3E09AE}"/>
              </a:ext>
            </a:extLst>
          </p:cNvPr>
          <p:cNvSpPr>
            <a:spLocks noGrp="1"/>
          </p:cNvSpPr>
          <p:nvPr>
            <p:ph type="ftr" sz="quarter" idx="16"/>
          </p:nvPr>
        </p:nvSpPr>
        <p:spPr/>
        <p:txBody>
          <a:bodyPr/>
          <a:lstStyle/>
          <a:p>
            <a:r>
              <a:rPr lang="en-US"/>
              <a:t>Group Presentation</a:t>
            </a:r>
          </a:p>
        </p:txBody>
      </p:sp>
      <p:sp>
        <p:nvSpPr>
          <p:cNvPr id="23" name="Slide Number Placeholder 22">
            <a:extLst>
              <a:ext uri="{FF2B5EF4-FFF2-40B4-BE49-F238E27FC236}">
                <a16:creationId xmlns:a16="http://schemas.microsoft.com/office/drawing/2014/main" id="{DA54DAF6-6A97-80EA-6021-9696B2C19ABF}"/>
              </a:ext>
            </a:extLst>
          </p:cNvPr>
          <p:cNvSpPr>
            <a:spLocks noGrp="1"/>
          </p:cNvSpPr>
          <p:nvPr>
            <p:ph type="sldNum" sz="quarter" idx="17"/>
          </p:nvPr>
        </p:nvSpPr>
        <p:spPr/>
        <p:txBody>
          <a:bodyPr/>
          <a:lstStyle/>
          <a:p>
            <a:fld id="{A115CDC9-74CB-4F6C-8CD3-A6C89F254EE7}" type="slidenum">
              <a:rPr lang="en-US" smtClean="0"/>
              <a:pPr/>
              <a:t>‹#›</a:t>
            </a:fld>
            <a:endParaRPr lang="en-US"/>
          </a:p>
        </p:txBody>
      </p:sp>
    </p:spTree>
    <p:extLst>
      <p:ext uri="{BB962C8B-B14F-4D97-AF65-F5344CB8AC3E}">
        <p14:creationId xmlns:p14="http://schemas.microsoft.com/office/powerpoint/2010/main" val="360559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tle + subtitle - green backgroun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BC0A55C6-8A4D-DF9D-1DA6-C64D98C92571}"/>
              </a:ext>
            </a:extLst>
          </p:cNvPr>
          <p:cNvPicPr>
            <a:picLocks noChangeAspect="1"/>
          </p:cNvPicPr>
          <p:nvPr userDrawn="1"/>
        </p:nvPicPr>
        <p:blipFill rotWithShape="1">
          <a:blip r:embed="rId2"/>
          <a:srcRect t="6932"/>
          <a:stretch/>
        </p:blipFill>
        <p:spPr>
          <a:xfrm>
            <a:off x="0" y="0"/>
            <a:ext cx="12262337" cy="6858000"/>
          </a:xfrm>
          <a:prstGeom prst="rect">
            <a:avLst/>
          </a:prstGeom>
        </p:spPr>
      </p:pic>
      <p:grpSp>
        <p:nvGrpSpPr>
          <p:cNvPr id="5" name="Graphic 10">
            <a:extLst>
              <a:ext uri="{FF2B5EF4-FFF2-40B4-BE49-F238E27FC236}">
                <a16:creationId xmlns:a16="http://schemas.microsoft.com/office/drawing/2014/main" id="{FD5784AF-26F9-73A8-0162-44DAEB45C30D}"/>
              </a:ext>
            </a:extLst>
          </p:cNvPr>
          <p:cNvGrpSpPr/>
          <p:nvPr userDrawn="1"/>
        </p:nvGrpSpPr>
        <p:grpSpPr>
          <a:xfrm>
            <a:off x="10156640" y="561169"/>
            <a:ext cx="1498921" cy="256736"/>
            <a:chOff x="1869557" y="3038867"/>
            <a:chExt cx="4569287" cy="782630"/>
          </a:xfrm>
          <a:solidFill>
            <a:schemeClr val="bg1"/>
          </a:solidFill>
        </p:grpSpPr>
        <p:sp>
          <p:nvSpPr>
            <p:cNvPr id="6" name="Freeform: Shape 12">
              <a:extLst>
                <a:ext uri="{FF2B5EF4-FFF2-40B4-BE49-F238E27FC236}">
                  <a16:creationId xmlns:a16="http://schemas.microsoft.com/office/drawing/2014/main" id="{392A124E-C2A9-A2D4-2102-5D014E85032B}"/>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7" name="Freeform: Shape 13">
              <a:extLst>
                <a:ext uri="{FF2B5EF4-FFF2-40B4-BE49-F238E27FC236}">
                  <a16:creationId xmlns:a16="http://schemas.microsoft.com/office/drawing/2014/main" id="{19A32EFA-96B1-A59B-B049-E73D5587AE40}"/>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8" name="Freeform: Shape 14">
              <a:extLst>
                <a:ext uri="{FF2B5EF4-FFF2-40B4-BE49-F238E27FC236}">
                  <a16:creationId xmlns:a16="http://schemas.microsoft.com/office/drawing/2014/main" id="{66000DB6-94F7-CF84-F2C9-18D67E6CE17D}"/>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9" name="Freeform: Shape 15">
              <a:extLst>
                <a:ext uri="{FF2B5EF4-FFF2-40B4-BE49-F238E27FC236}">
                  <a16:creationId xmlns:a16="http://schemas.microsoft.com/office/drawing/2014/main" id="{B325851D-D7DB-A89B-71B6-B11356B0572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E8EBE1A0-4D6B-61D6-64E0-901817BEDB77}"/>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BCAAE52F-9A1A-7B57-637E-E1A538390102}"/>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sp>
        <p:nvSpPr>
          <p:cNvPr id="20" name="Plassholder for tekst 19">
            <a:extLst>
              <a:ext uri="{FF2B5EF4-FFF2-40B4-BE49-F238E27FC236}">
                <a16:creationId xmlns:a16="http://schemas.microsoft.com/office/drawing/2014/main" id="{B56A677A-4599-FE37-6CC6-61F08D43165D}"/>
              </a:ext>
            </a:extLst>
          </p:cNvPr>
          <p:cNvSpPr>
            <a:spLocks noGrp="1"/>
          </p:cNvSpPr>
          <p:nvPr>
            <p:ph type="body" sz="quarter" idx="10"/>
          </p:nvPr>
        </p:nvSpPr>
        <p:spPr>
          <a:xfrm>
            <a:off x="1436071" y="2342928"/>
            <a:ext cx="8471189" cy="1700081"/>
          </a:xfrm>
          <a:prstGeom prst="rect">
            <a:avLst/>
          </a:prstGeom>
        </p:spPr>
        <p:txBody>
          <a:bodyPr anchor="b"/>
          <a:lstStyle>
            <a:lvl1pPr marL="0" indent="0">
              <a:buNone/>
              <a:defRPr sz="5000">
                <a:solidFill>
                  <a:schemeClr val="bg1"/>
                </a:solidFill>
                <a:latin typeface="Haffer" pitchFamily="2" charset="77"/>
                <a:cs typeface="Haffer" pitchFamily="2" charset="77"/>
              </a:defRPr>
            </a:lvl1pPr>
          </a:lstStyle>
          <a:p>
            <a:pPr lvl="0"/>
            <a:r>
              <a:rPr lang="nb-NO"/>
              <a:t>Klikk for å redigere tekststiler i malen</a:t>
            </a:r>
          </a:p>
          <a:p>
            <a:pPr lvl="1"/>
            <a:r>
              <a:rPr lang="nb-NO"/>
              <a:t>Andre nivå</a:t>
            </a:r>
          </a:p>
        </p:txBody>
      </p:sp>
      <p:sp>
        <p:nvSpPr>
          <p:cNvPr id="21" name="Plassholder for tekst 19">
            <a:extLst>
              <a:ext uri="{FF2B5EF4-FFF2-40B4-BE49-F238E27FC236}">
                <a16:creationId xmlns:a16="http://schemas.microsoft.com/office/drawing/2014/main" id="{3EB3F4BB-33E8-B7A7-C733-4AC6AA42F6D8}"/>
              </a:ext>
            </a:extLst>
          </p:cNvPr>
          <p:cNvSpPr>
            <a:spLocks noGrp="1"/>
          </p:cNvSpPr>
          <p:nvPr>
            <p:ph type="body" sz="quarter" idx="11" hasCustomPrompt="1"/>
          </p:nvPr>
        </p:nvSpPr>
        <p:spPr>
          <a:xfrm>
            <a:off x="1436071" y="4269969"/>
            <a:ext cx="8471189" cy="1700081"/>
          </a:xfrm>
          <a:prstGeom prst="rect">
            <a:avLst/>
          </a:prstGeom>
        </p:spPr>
        <p:txBody>
          <a:bodyPr anchor="t"/>
          <a:lstStyle>
            <a:lvl1pPr marL="0" indent="0">
              <a:buNone/>
              <a:defRPr sz="2500" b="0" i="0">
                <a:solidFill>
                  <a:schemeClr val="bg1"/>
                </a:solidFill>
                <a:latin typeface="Haffer Light" pitchFamily="2" charset="77"/>
                <a:cs typeface="Haffer Light" pitchFamily="2" charset="77"/>
              </a:defRPr>
            </a:lvl1pPr>
          </a:lstStyle>
          <a:p>
            <a:pPr lvl="0"/>
            <a:r>
              <a:rPr lang="nb-NO" err="1"/>
              <a:t>Subtitle</a:t>
            </a:r>
            <a:endParaRPr lang="nb-NO"/>
          </a:p>
        </p:txBody>
      </p:sp>
    </p:spTree>
    <p:extLst>
      <p:ext uri="{BB962C8B-B14F-4D97-AF65-F5344CB8AC3E}">
        <p14:creationId xmlns:p14="http://schemas.microsoft.com/office/powerpoint/2010/main" val="36440085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FDBFE1-C2CF-2B27-F8F6-C3D0C25C25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B1FDBFE1-C2CF-2B27-F8F6-C3D0C25C2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C574611-4012-A01A-E2B9-B933791969AA}"/>
              </a:ext>
            </a:extLst>
          </p:cNvPr>
          <p:cNvSpPr/>
          <p:nvPr/>
        </p:nvSpPr>
        <p:spPr bwMode="gray">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noProof="0"/>
          </a:p>
        </p:txBody>
      </p:sp>
      <p:sp>
        <p:nvSpPr>
          <p:cNvPr id="7" name="Bildplatzhalter 16">
            <a:extLst>
              <a:ext uri="{FF2B5EF4-FFF2-40B4-BE49-F238E27FC236}">
                <a16:creationId xmlns:a16="http://schemas.microsoft.com/office/drawing/2014/main" id="{3245D409-780A-120B-1682-BA5F0D374CFF}"/>
              </a:ext>
            </a:extLst>
          </p:cNvPr>
          <p:cNvSpPr>
            <a:spLocks noGrp="1"/>
          </p:cNvSpPr>
          <p:nvPr>
            <p:ph type="pic" sz="quarter" idx="16" hasCustomPrompt="1"/>
          </p:nvPr>
        </p:nvSpPr>
        <p:spPr bwMode="gray">
          <a:xfrm>
            <a:off x="11490432" y="6170720"/>
            <a:ext cx="318980" cy="31898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a:lvl1pPr>
          </a:lstStyle>
          <a:p>
            <a:r>
              <a:rPr lang="en-US" noProof="0"/>
              <a:t> </a:t>
            </a:r>
          </a:p>
        </p:txBody>
      </p:sp>
      <p:sp>
        <p:nvSpPr>
          <p:cNvPr id="9" name="Text Placeholder 8">
            <a:extLst>
              <a:ext uri="{FF2B5EF4-FFF2-40B4-BE49-F238E27FC236}">
                <a16:creationId xmlns:a16="http://schemas.microsoft.com/office/drawing/2014/main" id="{17605212-4C08-B347-F6E8-8925E265895F}"/>
              </a:ext>
            </a:extLst>
          </p:cNvPr>
          <p:cNvSpPr>
            <a:spLocks noGrp="1"/>
          </p:cNvSpPr>
          <p:nvPr>
            <p:ph type="body" sz="quarter" idx="17" hasCustomPrompt="1"/>
          </p:nvPr>
        </p:nvSpPr>
        <p:spPr bwMode="gray">
          <a:xfrm>
            <a:off x="2320925" y="2282825"/>
            <a:ext cx="7550150" cy="2292350"/>
          </a:xfrm>
        </p:spPr>
        <p:txBody>
          <a:bodyPr anchor="ctr" anchorCtr="0"/>
          <a:lstStyle>
            <a:lvl1pPr marL="0" indent="0" algn="ctr">
              <a:buNone/>
              <a:defRPr sz="4000" b="1">
                <a:solidFill>
                  <a:schemeClr val="bg1"/>
                </a:solidFill>
                <a:latin typeface="+mj-lt"/>
              </a:defRPr>
            </a:lvl1pPr>
          </a:lstStyle>
          <a:p>
            <a:pPr lvl="0"/>
            <a:r>
              <a:rPr lang="en-US" noProof="0"/>
              <a:t>Thank You.</a:t>
            </a:r>
          </a:p>
        </p:txBody>
      </p:sp>
      <p:sp>
        <p:nvSpPr>
          <p:cNvPr id="8" name="Date Placeholder 7">
            <a:extLst>
              <a:ext uri="{FF2B5EF4-FFF2-40B4-BE49-F238E27FC236}">
                <a16:creationId xmlns:a16="http://schemas.microsoft.com/office/drawing/2014/main" id="{EE9320FC-E493-5E52-AC0C-534DC25DB746}"/>
              </a:ext>
            </a:extLst>
          </p:cNvPr>
          <p:cNvSpPr>
            <a:spLocks noGrp="1"/>
          </p:cNvSpPr>
          <p:nvPr>
            <p:ph type="dt" sz="half" idx="36"/>
          </p:nvPr>
        </p:nvSpPr>
        <p:spPr bwMode="gray"/>
        <p:txBody>
          <a:bodyPr/>
          <a:lstStyle>
            <a:lvl1pPr>
              <a:defRPr>
                <a:solidFill>
                  <a:schemeClr val="bg1"/>
                </a:solidFill>
              </a:defRPr>
            </a:lvl1pPr>
          </a:lstStyle>
          <a:p>
            <a:fld id="{8F4B4F38-692E-4459-9BBB-28B25F904106}" type="datetime1">
              <a:rPr lang="en-US" noProof="0" smtClean="0"/>
              <a:t>10/31/2024</a:t>
            </a:fld>
            <a:endParaRPr lang="en-US" noProof="0"/>
          </a:p>
        </p:txBody>
      </p:sp>
      <p:sp>
        <p:nvSpPr>
          <p:cNvPr id="10" name="Footer Placeholder 9">
            <a:extLst>
              <a:ext uri="{FF2B5EF4-FFF2-40B4-BE49-F238E27FC236}">
                <a16:creationId xmlns:a16="http://schemas.microsoft.com/office/drawing/2014/main" id="{801430C6-6281-7F75-5352-69189AAA02FC}"/>
              </a:ext>
            </a:extLst>
          </p:cNvPr>
          <p:cNvSpPr>
            <a:spLocks noGrp="1"/>
          </p:cNvSpPr>
          <p:nvPr>
            <p:ph type="ftr" sz="quarter" idx="37"/>
          </p:nvPr>
        </p:nvSpPr>
        <p:spPr bwMode="gray"/>
        <p:txBody>
          <a:bodyPr/>
          <a:lstStyle>
            <a:lvl1pPr>
              <a:defRPr>
                <a:solidFill>
                  <a:schemeClr val="bg1"/>
                </a:solidFill>
              </a:defRPr>
            </a:lvl1pPr>
          </a:lstStyle>
          <a:p>
            <a:r>
              <a:rPr lang="en-US" noProof="0"/>
              <a:t>Group Presentation</a:t>
            </a:r>
          </a:p>
        </p:txBody>
      </p:sp>
      <p:sp>
        <p:nvSpPr>
          <p:cNvPr id="15" name="Slide Number Placeholder 14">
            <a:extLst>
              <a:ext uri="{FF2B5EF4-FFF2-40B4-BE49-F238E27FC236}">
                <a16:creationId xmlns:a16="http://schemas.microsoft.com/office/drawing/2014/main" id="{D8DDF6B9-5495-CD14-9690-67A6E4C88F3D}"/>
              </a:ext>
            </a:extLst>
          </p:cNvPr>
          <p:cNvSpPr>
            <a:spLocks noGrp="1"/>
          </p:cNvSpPr>
          <p:nvPr>
            <p:ph type="sldNum" sz="quarter" idx="38"/>
          </p:nvPr>
        </p:nvSpPr>
        <p:spPr bwMode="gray"/>
        <p:txBody>
          <a:bodyPr/>
          <a:lstStyle>
            <a:lvl1pPr>
              <a:defRPr>
                <a:solidFill>
                  <a:schemeClr val="bg1"/>
                </a:solidFill>
              </a:defRPr>
            </a:lvl1pPr>
          </a:lstStyle>
          <a:p>
            <a:fld id="{A115CDC9-74CB-4F6C-8CD3-A6C89F254EE7}" type="slidenum">
              <a:rPr lang="en-US" noProof="0" smtClean="0"/>
              <a:pPr/>
              <a:t>‹#›</a:t>
            </a:fld>
            <a:endParaRPr lang="en-US" noProof="0"/>
          </a:p>
        </p:txBody>
      </p:sp>
      <p:sp>
        <p:nvSpPr>
          <p:cNvPr id="2" name="Bildplatzhalter 19">
            <a:extLst>
              <a:ext uri="{FF2B5EF4-FFF2-40B4-BE49-F238E27FC236}">
                <a16:creationId xmlns:a16="http://schemas.microsoft.com/office/drawing/2014/main" id="{146758F8-CAD7-CECD-D41C-D0679C495549}"/>
              </a:ext>
            </a:extLst>
          </p:cNvPr>
          <p:cNvSpPr>
            <a:spLocks noGrp="1"/>
          </p:cNvSpPr>
          <p:nvPr>
            <p:ph type="pic" sz="quarter" idx="43" hasCustomPrompt="1"/>
          </p:nvPr>
        </p:nvSpPr>
        <p:spPr bwMode="gray">
          <a:xfrm>
            <a:off x="1025514" y="6410506"/>
            <a:ext cx="1062384" cy="103295"/>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4134270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FDBFE1-C2CF-2B27-F8F6-C3D0C25C25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B1FDBFE1-C2CF-2B27-F8F6-C3D0C25C2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C574611-4012-A01A-E2B9-B933791969AA}"/>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0"/>
          </a:p>
        </p:txBody>
      </p:sp>
      <p:pic>
        <p:nvPicPr>
          <p:cNvPr id="3" name="Graphic 2">
            <a:extLst>
              <a:ext uri="{FF2B5EF4-FFF2-40B4-BE49-F238E27FC236}">
                <a16:creationId xmlns:a16="http://schemas.microsoft.com/office/drawing/2014/main" id="{819D2950-9D3C-40EE-E8B1-E7004C693D2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320925" y="2342758"/>
            <a:ext cx="7550150" cy="2172485"/>
          </a:xfrm>
          <a:prstGeom prst="rect">
            <a:avLst/>
          </a:prstGeom>
        </p:spPr>
      </p:pic>
    </p:spTree>
    <p:extLst>
      <p:ext uri="{BB962C8B-B14F-4D97-AF65-F5344CB8AC3E}">
        <p14:creationId xmlns:p14="http://schemas.microsoft.com/office/powerpoint/2010/main" val="6821053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phics 1 light">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rgbClr val="022E33"/>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5" name="Plassholder for tekst 14">
            <a:extLst>
              <a:ext uri="{FF2B5EF4-FFF2-40B4-BE49-F238E27FC236}">
                <a16:creationId xmlns:a16="http://schemas.microsoft.com/office/drawing/2014/main" id="{3127F087-7F5B-7F3B-1E63-D9EA3730F18B}"/>
              </a:ext>
            </a:extLst>
          </p:cNvPr>
          <p:cNvSpPr>
            <a:spLocks noGrp="1"/>
          </p:cNvSpPr>
          <p:nvPr>
            <p:ph type="body" sz="quarter" idx="13" hasCustomPrompt="1"/>
          </p:nvPr>
        </p:nvSpPr>
        <p:spPr>
          <a:xfrm>
            <a:off x="5039359" y="209830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6" name="Plassholder for tekst 14">
            <a:extLst>
              <a:ext uri="{FF2B5EF4-FFF2-40B4-BE49-F238E27FC236}">
                <a16:creationId xmlns:a16="http://schemas.microsoft.com/office/drawing/2014/main" id="{9D4561B3-C82B-5912-800B-8E10D1C407DD}"/>
              </a:ext>
            </a:extLst>
          </p:cNvPr>
          <p:cNvSpPr>
            <a:spLocks noGrp="1"/>
          </p:cNvSpPr>
          <p:nvPr>
            <p:ph type="body" sz="quarter" idx="14" hasCustomPrompt="1"/>
          </p:nvPr>
        </p:nvSpPr>
        <p:spPr>
          <a:xfrm>
            <a:off x="5007012" y="5444513"/>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7" name="Plassholder for tekst 14">
            <a:extLst>
              <a:ext uri="{FF2B5EF4-FFF2-40B4-BE49-F238E27FC236}">
                <a16:creationId xmlns:a16="http://schemas.microsoft.com/office/drawing/2014/main" id="{69D9C83F-87D3-BB04-36C0-B11758A403A0}"/>
              </a:ext>
            </a:extLst>
          </p:cNvPr>
          <p:cNvSpPr>
            <a:spLocks noGrp="1"/>
          </p:cNvSpPr>
          <p:nvPr>
            <p:ph type="body" sz="quarter" idx="15" hasCustomPrompt="1"/>
          </p:nvPr>
        </p:nvSpPr>
        <p:spPr>
          <a:xfrm>
            <a:off x="2986442" y="428698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8" name="Plassholder for tekst 14">
            <a:extLst>
              <a:ext uri="{FF2B5EF4-FFF2-40B4-BE49-F238E27FC236}">
                <a16:creationId xmlns:a16="http://schemas.microsoft.com/office/drawing/2014/main" id="{4DCC6BE3-DE2A-4CE0-5212-7920B4C93808}"/>
              </a:ext>
            </a:extLst>
          </p:cNvPr>
          <p:cNvSpPr>
            <a:spLocks noGrp="1"/>
          </p:cNvSpPr>
          <p:nvPr>
            <p:ph type="body" sz="quarter" idx="16" hasCustomPrompt="1"/>
          </p:nvPr>
        </p:nvSpPr>
        <p:spPr>
          <a:xfrm>
            <a:off x="2986442" y="3270984"/>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9" name="Plassholder for tekst 14">
            <a:extLst>
              <a:ext uri="{FF2B5EF4-FFF2-40B4-BE49-F238E27FC236}">
                <a16:creationId xmlns:a16="http://schemas.microsoft.com/office/drawing/2014/main" id="{42F09E14-4DC2-4E22-D1BB-D94C1B66E876}"/>
              </a:ext>
            </a:extLst>
          </p:cNvPr>
          <p:cNvSpPr>
            <a:spLocks noGrp="1"/>
          </p:cNvSpPr>
          <p:nvPr>
            <p:ph type="body" sz="quarter" idx="17" hasCustomPrompt="1"/>
          </p:nvPr>
        </p:nvSpPr>
        <p:spPr>
          <a:xfrm>
            <a:off x="7059332" y="3270984"/>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0" name="Plassholder for tekst 14">
            <a:extLst>
              <a:ext uri="{FF2B5EF4-FFF2-40B4-BE49-F238E27FC236}">
                <a16:creationId xmlns:a16="http://schemas.microsoft.com/office/drawing/2014/main" id="{608EA897-11A2-9A4F-A755-E59603E31F05}"/>
              </a:ext>
            </a:extLst>
          </p:cNvPr>
          <p:cNvSpPr>
            <a:spLocks noGrp="1"/>
          </p:cNvSpPr>
          <p:nvPr>
            <p:ph type="body" sz="quarter" idx="18" hasCustomPrompt="1"/>
          </p:nvPr>
        </p:nvSpPr>
        <p:spPr>
          <a:xfrm>
            <a:off x="7059332" y="429714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1" name="Plassholder for tekst 14">
            <a:extLst>
              <a:ext uri="{FF2B5EF4-FFF2-40B4-BE49-F238E27FC236}">
                <a16:creationId xmlns:a16="http://schemas.microsoft.com/office/drawing/2014/main" id="{CA41BE10-96DA-069F-ECFF-BFACFC814C27}"/>
              </a:ext>
            </a:extLst>
          </p:cNvPr>
          <p:cNvSpPr>
            <a:spLocks noGrp="1"/>
          </p:cNvSpPr>
          <p:nvPr>
            <p:ph type="body" sz="quarter" idx="19" hasCustomPrompt="1"/>
          </p:nvPr>
        </p:nvSpPr>
        <p:spPr>
          <a:xfrm>
            <a:off x="435012" y="3727340"/>
            <a:ext cx="2386800" cy="756875"/>
          </a:xfrm>
          <a:prstGeom prst="roundRect">
            <a:avLst/>
          </a:prstGeom>
          <a:solidFill>
            <a:schemeClr val="accent2"/>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2" name="Plassholder for tekst 14">
            <a:extLst>
              <a:ext uri="{FF2B5EF4-FFF2-40B4-BE49-F238E27FC236}">
                <a16:creationId xmlns:a16="http://schemas.microsoft.com/office/drawing/2014/main" id="{5D25C683-7829-FED0-9A95-30CBA15C526F}"/>
              </a:ext>
            </a:extLst>
          </p:cNvPr>
          <p:cNvSpPr>
            <a:spLocks noGrp="1"/>
          </p:cNvSpPr>
          <p:nvPr>
            <p:ph type="body" sz="quarter" idx="20" hasCustomPrompt="1"/>
          </p:nvPr>
        </p:nvSpPr>
        <p:spPr>
          <a:xfrm>
            <a:off x="9594129" y="3727340"/>
            <a:ext cx="2386800" cy="756875"/>
          </a:xfrm>
          <a:prstGeom prst="roundRect">
            <a:avLst/>
          </a:prstGeom>
          <a:solidFill>
            <a:schemeClr val="accent2"/>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48" name="Plassholder for tekst 46">
            <a:extLst>
              <a:ext uri="{FF2B5EF4-FFF2-40B4-BE49-F238E27FC236}">
                <a16:creationId xmlns:a16="http://schemas.microsoft.com/office/drawing/2014/main" id="{F5FF7358-D3E0-9FA0-520B-4688DB0CB5C4}"/>
              </a:ext>
            </a:extLst>
          </p:cNvPr>
          <p:cNvSpPr>
            <a:spLocks noGrp="1"/>
          </p:cNvSpPr>
          <p:nvPr>
            <p:ph type="body" sz="quarter" idx="26" hasCustomPrompt="1"/>
          </p:nvPr>
        </p:nvSpPr>
        <p:spPr>
          <a:xfrm>
            <a:off x="5274613" y="4088036"/>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0" name="Plassholder for tekst 46">
            <a:extLst>
              <a:ext uri="{FF2B5EF4-FFF2-40B4-BE49-F238E27FC236}">
                <a16:creationId xmlns:a16="http://schemas.microsoft.com/office/drawing/2014/main" id="{ED2AFA19-C59B-BC26-1B37-5EEE6F7BA407}"/>
              </a:ext>
            </a:extLst>
          </p:cNvPr>
          <p:cNvSpPr>
            <a:spLocks noGrp="1"/>
          </p:cNvSpPr>
          <p:nvPr>
            <p:ph type="body" sz="quarter" idx="27" hasCustomPrompt="1"/>
          </p:nvPr>
        </p:nvSpPr>
        <p:spPr>
          <a:xfrm flipV="1">
            <a:off x="5274613" y="3504229"/>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7" name="Plassholder for tekst 56">
            <a:extLst>
              <a:ext uri="{FF2B5EF4-FFF2-40B4-BE49-F238E27FC236}">
                <a16:creationId xmlns:a16="http://schemas.microsoft.com/office/drawing/2014/main" id="{937C2E78-5978-DF87-32CF-17848D80E2C7}"/>
              </a:ext>
            </a:extLst>
          </p:cNvPr>
          <p:cNvSpPr>
            <a:spLocks noGrp="1"/>
          </p:cNvSpPr>
          <p:nvPr>
            <p:ph type="body" sz="quarter" idx="28" hasCustomPrompt="1"/>
          </p:nvPr>
        </p:nvSpPr>
        <p:spPr>
          <a:xfrm>
            <a:off x="2821813" y="4088036"/>
            <a:ext cx="2921974"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58" name="Plassholder for tekst 46">
            <a:extLst>
              <a:ext uri="{FF2B5EF4-FFF2-40B4-BE49-F238E27FC236}">
                <a16:creationId xmlns:a16="http://schemas.microsoft.com/office/drawing/2014/main" id="{A6BF029E-F839-F21B-24A5-1EB9EA877301}"/>
              </a:ext>
            </a:extLst>
          </p:cNvPr>
          <p:cNvSpPr>
            <a:spLocks noGrp="1"/>
          </p:cNvSpPr>
          <p:nvPr>
            <p:ph type="body" sz="quarter" idx="29" hasCustomPrompt="1"/>
          </p:nvPr>
        </p:nvSpPr>
        <p:spPr>
          <a:xfrm flipH="1">
            <a:off x="6664761" y="4092074"/>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9" name="Plassholder for tekst 46">
            <a:extLst>
              <a:ext uri="{FF2B5EF4-FFF2-40B4-BE49-F238E27FC236}">
                <a16:creationId xmlns:a16="http://schemas.microsoft.com/office/drawing/2014/main" id="{D50AFF4C-EDA1-4244-7E4D-9119B33CA93D}"/>
              </a:ext>
            </a:extLst>
          </p:cNvPr>
          <p:cNvSpPr>
            <a:spLocks noGrp="1"/>
          </p:cNvSpPr>
          <p:nvPr>
            <p:ph type="body" sz="quarter" idx="30" hasCustomPrompt="1"/>
          </p:nvPr>
        </p:nvSpPr>
        <p:spPr>
          <a:xfrm flipH="1" flipV="1">
            <a:off x="6664761" y="3508267"/>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60" name="Plassholder for tekst 56">
            <a:extLst>
              <a:ext uri="{FF2B5EF4-FFF2-40B4-BE49-F238E27FC236}">
                <a16:creationId xmlns:a16="http://schemas.microsoft.com/office/drawing/2014/main" id="{A6B3452B-D249-8F85-DDE1-224992981260}"/>
              </a:ext>
            </a:extLst>
          </p:cNvPr>
          <p:cNvSpPr>
            <a:spLocks noGrp="1"/>
          </p:cNvSpPr>
          <p:nvPr>
            <p:ph type="body" sz="quarter" idx="31" hasCustomPrompt="1"/>
          </p:nvPr>
        </p:nvSpPr>
        <p:spPr>
          <a:xfrm flipH="1">
            <a:off x="6674459" y="4092074"/>
            <a:ext cx="2919669"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23" name="Plassholder for tekst 14">
            <a:extLst>
              <a:ext uri="{FF2B5EF4-FFF2-40B4-BE49-F238E27FC236}">
                <a16:creationId xmlns:a16="http://schemas.microsoft.com/office/drawing/2014/main" id="{F983920B-911C-1317-51A0-9DAFDFC53ABF}"/>
              </a:ext>
            </a:extLst>
          </p:cNvPr>
          <p:cNvSpPr>
            <a:spLocks noGrp="1"/>
          </p:cNvSpPr>
          <p:nvPr>
            <p:ph type="body" sz="quarter" idx="21" hasCustomPrompt="1"/>
          </p:nvPr>
        </p:nvSpPr>
        <p:spPr>
          <a:xfrm>
            <a:off x="5694900" y="3639706"/>
            <a:ext cx="1037002" cy="1037002"/>
          </a:xfrm>
          <a:prstGeom prst="ellipse">
            <a:avLst/>
          </a:prstGeom>
          <a:solidFill>
            <a:schemeClr val="accent4"/>
          </a:solidFill>
        </p:spPr>
        <p:txBody>
          <a:bodyPr anchor="ctr"/>
          <a:lstStyle>
            <a:lvl1pPr marL="0" indent="0" algn="ctr">
              <a:buFontTx/>
              <a:buNone/>
              <a:defRPr sz="1400" b="0" i="0">
                <a:solidFill>
                  <a:schemeClr val="tx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err="1"/>
              <a:t>Title</a:t>
            </a:r>
            <a:endParaRPr lang="nb-NO"/>
          </a:p>
        </p:txBody>
      </p:sp>
      <p:sp>
        <p:nvSpPr>
          <p:cNvPr id="62" name="Plassholder for tekst 56">
            <a:extLst>
              <a:ext uri="{FF2B5EF4-FFF2-40B4-BE49-F238E27FC236}">
                <a16:creationId xmlns:a16="http://schemas.microsoft.com/office/drawing/2014/main" id="{CE8D23F3-6671-5574-B7AC-17A123158976}"/>
              </a:ext>
            </a:extLst>
          </p:cNvPr>
          <p:cNvSpPr>
            <a:spLocks noGrp="1"/>
          </p:cNvSpPr>
          <p:nvPr>
            <p:ph type="body" sz="quarter" idx="33" hasCustomPrompt="1"/>
          </p:nvPr>
        </p:nvSpPr>
        <p:spPr>
          <a:xfrm rot="5400000">
            <a:off x="5837846" y="4981163"/>
            <a:ext cx="756876"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63" name="Plassholder for tekst 56">
            <a:extLst>
              <a:ext uri="{FF2B5EF4-FFF2-40B4-BE49-F238E27FC236}">
                <a16:creationId xmlns:a16="http://schemas.microsoft.com/office/drawing/2014/main" id="{2DEE9EB4-8A8A-23C1-D771-956C42EE9F73}"/>
              </a:ext>
            </a:extLst>
          </p:cNvPr>
          <p:cNvSpPr>
            <a:spLocks noGrp="1"/>
          </p:cNvSpPr>
          <p:nvPr>
            <p:ph type="body" sz="quarter" idx="34" hasCustomPrompt="1"/>
          </p:nvPr>
        </p:nvSpPr>
        <p:spPr>
          <a:xfrm rot="5400000">
            <a:off x="5837846" y="3198572"/>
            <a:ext cx="756876"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Tree>
    <p:extLst>
      <p:ext uri="{BB962C8B-B14F-4D97-AF65-F5344CB8AC3E}">
        <p14:creationId xmlns:p14="http://schemas.microsoft.com/office/powerpoint/2010/main" val="29220297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phics 1 Dark">
    <p:bg>
      <p:bgRef idx="1001">
        <a:schemeClr val="bg2"/>
      </p:bgRef>
    </p:bg>
    <p:spTree>
      <p:nvGrpSpPr>
        <p:cNvPr id="1" name=""/>
        <p:cNvGrpSpPr/>
        <p:nvPr/>
      </p:nvGrpSpPr>
      <p:grpSpPr>
        <a:xfrm>
          <a:off x="0" y="0"/>
          <a:ext cx="0" cy="0"/>
          <a:chOff x="0" y="0"/>
          <a:chExt cx="0" cy="0"/>
        </a:xfrm>
      </p:grpSpPr>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chemeClr val="tx1"/>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chemeClr val="tx1"/>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5" name="Plassholder for tekst 14">
            <a:extLst>
              <a:ext uri="{FF2B5EF4-FFF2-40B4-BE49-F238E27FC236}">
                <a16:creationId xmlns:a16="http://schemas.microsoft.com/office/drawing/2014/main" id="{3127F087-7F5B-7F3B-1E63-D9EA3730F18B}"/>
              </a:ext>
            </a:extLst>
          </p:cNvPr>
          <p:cNvSpPr>
            <a:spLocks noGrp="1"/>
          </p:cNvSpPr>
          <p:nvPr>
            <p:ph type="body" sz="quarter" idx="13" hasCustomPrompt="1"/>
          </p:nvPr>
        </p:nvSpPr>
        <p:spPr>
          <a:xfrm>
            <a:off x="5039359" y="209830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6" name="Plassholder for tekst 14">
            <a:extLst>
              <a:ext uri="{FF2B5EF4-FFF2-40B4-BE49-F238E27FC236}">
                <a16:creationId xmlns:a16="http://schemas.microsoft.com/office/drawing/2014/main" id="{9D4561B3-C82B-5912-800B-8E10D1C407DD}"/>
              </a:ext>
            </a:extLst>
          </p:cNvPr>
          <p:cNvSpPr>
            <a:spLocks noGrp="1"/>
          </p:cNvSpPr>
          <p:nvPr>
            <p:ph type="body" sz="quarter" idx="14" hasCustomPrompt="1"/>
          </p:nvPr>
        </p:nvSpPr>
        <p:spPr>
          <a:xfrm>
            <a:off x="5007012" y="5444513"/>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7" name="Plassholder for tekst 14">
            <a:extLst>
              <a:ext uri="{FF2B5EF4-FFF2-40B4-BE49-F238E27FC236}">
                <a16:creationId xmlns:a16="http://schemas.microsoft.com/office/drawing/2014/main" id="{69D9C83F-87D3-BB04-36C0-B11758A403A0}"/>
              </a:ext>
            </a:extLst>
          </p:cNvPr>
          <p:cNvSpPr>
            <a:spLocks noGrp="1"/>
          </p:cNvSpPr>
          <p:nvPr>
            <p:ph type="body" sz="quarter" idx="15" hasCustomPrompt="1"/>
          </p:nvPr>
        </p:nvSpPr>
        <p:spPr>
          <a:xfrm>
            <a:off x="2986442" y="428698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8" name="Plassholder for tekst 14">
            <a:extLst>
              <a:ext uri="{FF2B5EF4-FFF2-40B4-BE49-F238E27FC236}">
                <a16:creationId xmlns:a16="http://schemas.microsoft.com/office/drawing/2014/main" id="{4DCC6BE3-DE2A-4CE0-5212-7920B4C93808}"/>
              </a:ext>
            </a:extLst>
          </p:cNvPr>
          <p:cNvSpPr>
            <a:spLocks noGrp="1"/>
          </p:cNvSpPr>
          <p:nvPr>
            <p:ph type="body" sz="quarter" idx="16" hasCustomPrompt="1"/>
          </p:nvPr>
        </p:nvSpPr>
        <p:spPr>
          <a:xfrm>
            <a:off x="2986442" y="3270984"/>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9" name="Plassholder for tekst 14">
            <a:extLst>
              <a:ext uri="{FF2B5EF4-FFF2-40B4-BE49-F238E27FC236}">
                <a16:creationId xmlns:a16="http://schemas.microsoft.com/office/drawing/2014/main" id="{42F09E14-4DC2-4E22-D1BB-D94C1B66E876}"/>
              </a:ext>
            </a:extLst>
          </p:cNvPr>
          <p:cNvSpPr>
            <a:spLocks noGrp="1"/>
          </p:cNvSpPr>
          <p:nvPr>
            <p:ph type="body" sz="quarter" idx="17" hasCustomPrompt="1"/>
          </p:nvPr>
        </p:nvSpPr>
        <p:spPr>
          <a:xfrm>
            <a:off x="7059332" y="3270984"/>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0" name="Plassholder for tekst 14">
            <a:extLst>
              <a:ext uri="{FF2B5EF4-FFF2-40B4-BE49-F238E27FC236}">
                <a16:creationId xmlns:a16="http://schemas.microsoft.com/office/drawing/2014/main" id="{608EA897-11A2-9A4F-A755-E59603E31F05}"/>
              </a:ext>
            </a:extLst>
          </p:cNvPr>
          <p:cNvSpPr>
            <a:spLocks noGrp="1"/>
          </p:cNvSpPr>
          <p:nvPr>
            <p:ph type="body" sz="quarter" idx="18" hasCustomPrompt="1"/>
          </p:nvPr>
        </p:nvSpPr>
        <p:spPr>
          <a:xfrm>
            <a:off x="7059332" y="429714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1" name="Plassholder for tekst 14">
            <a:extLst>
              <a:ext uri="{FF2B5EF4-FFF2-40B4-BE49-F238E27FC236}">
                <a16:creationId xmlns:a16="http://schemas.microsoft.com/office/drawing/2014/main" id="{CA41BE10-96DA-069F-ECFF-BFACFC814C27}"/>
              </a:ext>
            </a:extLst>
          </p:cNvPr>
          <p:cNvSpPr>
            <a:spLocks noGrp="1"/>
          </p:cNvSpPr>
          <p:nvPr>
            <p:ph type="body" sz="quarter" idx="19" hasCustomPrompt="1"/>
          </p:nvPr>
        </p:nvSpPr>
        <p:spPr>
          <a:xfrm>
            <a:off x="435012" y="3727340"/>
            <a:ext cx="2386800" cy="756875"/>
          </a:xfrm>
          <a:prstGeom prst="roundRect">
            <a:avLst/>
          </a:prstGeom>
          <a:solidFill>
            <a:schemeClr val="accent2"/>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2" name="Plassholder for tekst 14">
            <a:extLst>
              <a:ext uri="{FF2B5EF4-FFF2-40B4-BE49-F238E27FC236}">
                <a16:creationId xmlns:a16="http://schemas.microsoft.com/office/drawing/2014/main" id="{5D25C683-7829-FED0-9A95-30CBA15C526F}"/>
              </a:ext>
            </a:extLst>
          </p:cNvPr>
          <p:cNvSpPr>
            <a:spLocks noGrp="1"/>
          </p:cNvSpPr>
          <p:nvPr>
            <p:ph type="body" sz="quarter" idx="20" hasCustomPrompt="1"/>
          </p:nvPr>
        </p:nvSpPr>
        <p:spPr>
          <a:xfrm>
            <a:off x="9594129" y="3727340"/>
            <a:ext cx="2386800" cy="756875"/>
          </a:xfrm>
          <a:prstGeom prst="roundRect">
            <a:avLst/>
          </a:prstGeom>
          <a:solidFill>
            <a:schemeClr val="accent2"/>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48" name="Plassholder for tekst 46">
            <a:extLst>
              <a:ext uri="{FF2B5EF4-FFF2-40B4-BE49-F238E27FC236}">
                <a16:creationId xmlns:a16="http://schemas.microsoft.com/office/drawing/2014/main" id="{F5FF7358-D3E0-9FA0-520B-4688DB0CB5C4}"/>
              </a:ext>
            </a:extLst>
          </p:cNvPr>
          <p:cNvSpPr>
            <a:spLocks noGrp="1"/>
          </p:cNvSpPr>
          <p:nvPr>
            <p:ph type="body" sz="quarter" idx="26" hasCustomPrompt="1"/>
          </p:nvPr>
        </p:nvSpPr>
        <p:spPr>
          <a:xfrm>
            <a:off x="5274613" y="4088036"/>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0" name="Plassholder for tekst 46">
            <a:extLst>
              <a:ext uri="{FF2B5EF4-FFF2-40B4-BE49-F238E27FC236}">
                <a16:creationId xmlns:a16="http://schemas.microsoft.com/office/drawing/2014/main" id="{ED2AFA19-C59B-BC26-1B37-5EEE6F7BA407}"/>
              </a:ext>
            </a:extLst>
          </p:cNvPr>
          <p:cNvSpPr>
            <a:spLocks noGrp="1"/>
          </p:cNvSpPr>
          <p:nvPr>
            <p:ph type="body" sz="quarter" idx="27" hasCustomPrompt="1"/>
          </p:nvPr>
        </p:nvSpPr>
        <p:spPr>
          <a:xfrm flipV="1">
            <a:off x="5274613" y="3504229"/>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7" name="Plassholder for tekst 56">
            <a:extLst>
              <a:ext uri="{FF2B5EF4-FFF2-40B4-BE49-F238E27FC236}">
                <a16:creationId xmlns:a16="http://schemas.microsoft.com/office/drawing/2014/main" id="{937C2E78-5978-DF87-32CF-17848D80E2C7}"/>
              </a:ext>
            </a:extLst>
          </p:cNvPr>
          <p:cNvSpPr>
            <a:spLocks noGrp="1"/>
          </p:cNvSpPr>
          <p:nvPr>
            <p:ph type="body" sz="quarter" idx="28" hasCustomPrompt="1"/>
          </p:nvPr>
        </p:nvSpPr>
        <p:spPr>
          <a:xfrm>
            <a:off x="2821813" y="4088036"/>
            <a:ext cx="2921974"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58" name="Plassholder for tekst 46">
            <a:extLst>
              <a:ext uri="{FF2B5EF4-FFF2-40B4-BE49-F238E27FC236}">
                <a16:creationId xmlns:a16="http://schemas.microsoft.com/office/drawing/2014/main" id="{A6BF029E-F839-F21B-24A5-1EB9EA877301}"/>
              </a:ext>
            </a:extLst>
          </p:cNvPr>
          <p:cNvSpPr>
            <a:spLocks noGrp="1"/>
          </p:cNvSpPr>
          <p:nvPr>
            <p:ph type="body" sz="quarter" idx="29" hasCustomPrompt="1"/>
          </p:nvPr>
        </p:nvSpPr>
        <p:spPr>
          <a:xfrm flipH="1">
            <a:off x="6664761" y="4092074"/>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9" name="Plassholder for tekst 46">
            <a:extLst>
              <a:ext uri="{FF2B5EF4-FFF2-40B4-BE49-F238E27FC236}">
                <a16:creationId xmlns:a16="http://schemas.microsoft.com/office/drawing/2014/main" id="{D50AFF4C-EDA1-4244-7E4D-9119B33CA93D}"/>
              </a:ext>
            </a:extLst>
          </p:cNvPr>
          <p:cNvSpPr>
            <a:spLocks noGrp="1"/>
          </p:cNvSpPr>
          <p:nvPr>
            <p:ph type="body" sz="quarter" idx="30" hasCustomPrompt="1"/>
          </p:nvPr>
        </p:nvSpPr>
        <p:spPr>
          <a:xfrm flipH="1" flipV="1">
            <a:off x="6664761" y="3508267"/>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60" name="Plassholder for tekst 56">
            <a:extLst>
              <a:ext uri="{FF2B5EF4-FFF2-40B4-BE49-F238E27FC236}">
                <a16:creationId xmlns:a16="http://schemas.microsoft.com/office/drawing/2014/main" id="{A6B3452B-D249-8F85-DDE1-224992981260}"/>
              </a:ext>
            </a:extLst>
          </p:cNvPr>
          <p:cNvSpPr>
            <a:spLocks noGrp="1"/>
          </p:cNvSpPr>
          <p:nvPr>
            <p:ph type="body" sz="quarter" idx="31" hasCustomPrompt="1"/>
          </p:nvPr>
        </p:nvSpPr>
        <p:spPr>
          <a:xfrm flipH="1">
            <a:off x="6674459" y="4092074"/>
            <a:ext cx="2919669"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23" name="Plassholder for tekst 14">
            <a:extLst>
              <a:ext uri="{FF2B5EF4-FFF2-40B4-BE49-F238E27FC236}">
                <a16:creationId xmlns:a16="http://schemas.microsoft.com/office/drawing/2014/main" id="{F983920B-911C-1317-51A0-9DAFDFC53ABF}"/>
              </a:ext>
            </a:extLst>
          </p:cNvPr>
          <p:cNvSpPr>
            <a:spLocks noGrp="1"/>
          </p:cNvSpPr>
          <p:nvPr>
            <p:ph type="body" sz="quarter" idx="21" hasCustomPrompt="1"/>
          </p:nvPr>
        </p:nvSpPr>
        <p:spPr>
          <a:xfrm>
            <a:off x="5694900" y="3639706"/>
            <a:ext cx="1037002" cy="1037002"/>
          </a:xfrm>
          <a:prstGeom prst="ellipse">
            <a:avLst/>
          </a:prstGeom>
          <a:solidFill>
            <a:schemeClr val="tx1"/>
          </a:solidFill>
        </p:spPr>
        <p:txBody>
          <a:bodyPr anchor="ctr"/>
          <a:lstStyle>
            <a:lvl1pPr marL="0" indent="0" algn="ctr">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err="1"/>
              <a:t>Title</a:t>
            </a:r>
            <a:endParaRPr lang="nb-NO"/>
          </a:p>
        </p:txBody>
      </p:sp>
      <p:sp>
        <p:nvSpPr>
          <p:cNvPr id="62" name="Plassholder for tekst 56">
            <a:extLst>
              <a:ext uri="{FF2B5EF4-FFF2-40B4-BE49-F238E27FC236}">
                <a16:creationId xmlns:a16="http://schemas.microsoft.com/office/drawing/2014/main" id="{CE8D23F3-6671-5574-B7AC-17A123158976}"/>
              </a:ext>
            </a:extLst>
          </p:cNvPr>
          <p:cNvSpPr>
            <a:spLocks noGrp="1"/>
          </p:cNvSpPr>
          <p:nvPr>
            <p:ph type="body" sz="quarter" idx="33" hasCustomPrompt="1"/>
          </p:nvPr>
        </p:nvSpPr>
        <p:spPr>
          <a:xfrm rot="5400000">
            <a:off x="5837846" y="4981163"/>
            <a:ext cx="756876"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63" name="Plassholder for tekst 56">
            <a:extLst>
              <a:ext uri="{FF2B5EF4-FFF2-40B4-BE49-F238E27FC236}">
                <a16:creationId xmlns:a16="http://schemas.microsoft.com/office/drawing/2014/main" id="{2DEE9EB4-8A8A-23C1-D771-956C42EE9F73}"/>
              </a:ext>
            </a:extLst>
          </p:cNvPr>
          <p:cNvSpPr>
            <a:spLocks noGrp="1"/>
          </p:cNvSpPr>
          <p:nvPr>
            <p:ph type="body" sz="quarter" idx="34" hasCustomPrompt="1"/>
          </p:nvPr>
        </p:nvSpPr>
        <p:spPr>
          <a:xfrm rot="5400000">
            <a:off x="5837846" y="3198572"/>
            <a:ext cx="756876"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pic>
        <p:nvPicPr>
          <p:cNvPr id="2" name="Grafikk 1">
            <a:extLst>
              <a:ext uri="{FF2B5EF4-FFF2-40B4-BE49-F238E27FC236}">
                <a16:creationId xmlns:a16="http://schemas.microsoft.com/office/drawing/2014/main" id="{1B1389E9-0708-8A9F-4DE2-BB6537DF5F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3568457721"/>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phics 2 dark">
    <p:bg>
      <p:bgRef idx="1001">
        <a:schemeClr val="bg2"/>
      </p:bgRef>
    </p:bg>
    <p:spTree>
      <p:nvGrpSpPr>
        <p:cNvPr id="1" name=""/>
        <p:cNvGrpSpPr/>
        <p:nvPr/>
      </p:nvGrpSpPr>
      <p:grpSpPr>
        <a:xfrm>
          <a:off x="0" y="0"/>
          <a:ext cx="0" cy="0"/>
          <a:chOff x="0" y="0"/>
          <a:chExt cx="0" cy="0"/>
        </a:xfrm>
      </p:grpSpPr>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chemeClr val="tx1"/>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chemeClr val="tx1"/>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5" name="Plassholder for tekst 84">
            <a:extLst>
              <a:ext uri="{FF2B5EF4-FFF2-40B4-BE49-F238E27FC236}">
                <a16:creationId xmlns:a16="http://schemas.microsoft.com/office/drawing/2014/main" id="{EF413E8B-300C-0E52-82E8-1A8DB914DBBB}"/>
              </a:ext>
            </a:extLst>
          </p:cNvPr>
          <p:cNvSpPr>
            <a:spLocks noGrp="1"/>
          </p:cNvSpPr>
          <p:nvPr>
            <p:ph type="body" sz="quarter" idx="21" hasCustomPrompt="1"/>
          </p:nvPr>
        </p:nvSpPr>
        <p:spPr>
          <a:xfrm>
            <a:off x="2957884" y="4158532"/>
            <a:ext cx="2464905"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6" name="Plassholder for tekst 84">
            <a:extLst>
              <a:ext uri="{FF2B5EF4-FFF2-40B4-BE49-F238E27FC236}">
                <a16:creationId xmlns:a16="http://schemas.microsoft.com/office/drawing/2014/main" id="{FE0FA6FD-6025-496B-6236-AC64BCAE6C35}"/>
              </a:ext>
            </a:extLst>
          </p:cNvPr>
          <p:cNvSpPr>
            <a:spLocks noGrp="1"/>
          </p:cNvSpPr>
          <p:nvPr>
            <p:ph type="body" sz="quarter" idx="22" hasCustomPrompt="1"/>
          </p:nvPr>
        </p:nvSpPr>
        <p:spPr>
          <a:xfrm>
            <a:off x="1294120" y="4158532"/>
            <a:ext cx="2355530"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7" name="Plassholder for tekst 84">
            <a:extLst>
              <a:ext uri="{FF2B5EF4-FFF2-40B4-BE49-F238E27FC236}">
                <a16:creationId xmlns:a16="http://schemas.microsoft.com/office/drawing/2014/main" id="{BDCF82ED-D14D-534F-899C-5A1C1C5F029F}"/>
              </a:ext>
            </a:extLst>
          </p:cNvPr>
          <p:cNvSpPr>
            <a:spLocks noGrp="1"/>
          </p:cNvSpPr>
          <p:nvPr>
            <p:ph type="body" sz="quarter" idx="23" hasCustomPrompt="1"/>
          </p:nvPr>
        </p:nvSpPr>
        <p:spPr>
          <a:xfrm flipH="1">
            <a:off x="8412711" y="4158532"/>
            <a:ext cx="2464905"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8" name="Plassholder for tekst 84">
            <a:extLst>
              <a:ext uri="{FF2B5EF4-FFF2-40B4-BE49-F238E27FC236}">
                <a16:creationId xmlns:a16="http://schemas.microsoft.com/office/drawing/2014/main" id="{34F03D9D-1CE7-DD3B-F66C-BFD35C16775A}"/>
              </a:ext>
            </a:extLst>
          </p:cNvPr>
          <p:cNvSpPr>
            <a:spLocks noGrp="1"/>
          </p:cNvSpPr>
          <p:nvPr>
            <p:ph type="body" sz="quarter" idx="24" hasCustomPrompt="1"/>
          </p:nvPr>
        </p:nvSpPr>
        <p:spPr>
          <a:xfrm flipH="1">
            <a:off x="6740996" y="4158532"/>
            <a:ext cx="2355530"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90" name="Plassholder for tekst 84">
            <a:extLst>
              <a:ext uri="{FF2B5EF4-FFF2-40B4-BE49-F238E27FC236}">
                <a16:creationId xmlns:a16="http://schemas.microsoft.com/office/drawing/2014/main" id="{D821DFED-78A8-0BD6-ABB7-8E5D9C78CA2B}"/>
              </a:ext>
            </a:extLst>
          </p:cNvPr>
          <p:cNvSpPr>
            <a:spLocks noGrp="1"/>
          </p:cNvSpPr>
          <p:nvPr>
            <p:ph type="body" sz="quarter" idx="25" hasCustomPrompt="1"/>
          </p:nvPr>
        </p:nvSpPr>
        <p:spPr>
          <a:xfrm>
            <a:off x="4801313" y="4158533"/>
            <a:ext cx="693705" cy="1343770"/>
          </a:xfrm>
          <a:prstGeom prst="rect">
            <a:avLst/>
          </a:prstGeom>
          <a:blipFill>
            <a:blip r:embed="rId3"/>
            <a:stretch>
              <a:fillRect/>
            </a:stretch>
          </a:blipFill>
        </p:spPr>
        <p:txBody>
          <a:bodyPr/>
          <a:lstStyle>
            <a:lvl1pPr marL="0" indent="0">
              <a:buNone/>
              <a:defRPr/>
            </a:lvl1pPr>
          </a:lstStyle>
          <a:p>
            <a:pPr lvl="0"/>
            <a:r>
              <a:rPr lang="nb-NO"/>
              <a:t> </a:t>
            </a:r>
          </a:p>
        </p:txBody>
      </p:sp>
      <p:sp>
        <p:nvSpPr>
          <p:cNvPr id="91" name="Plassholder for tekst 84">
            <a:extLst>
              <a:ext uri="{FF2B5EF4-FFF2-40B4-BE49-F238E27FC236}">
                <a16:creationId xmlns:a16="http://schemas.microsoft.com/office/drawing/2014/main" id="{CAE6143E-86F9-B0C7-317D-B5CE4306FDEF}"/>
              </a:ext>
            </a:extLst>
          </p:cNvPr>
          <p:cNvSpPr>
            <a:spLocks noGrp="1"/>
          </p:cNvSpPr>
          <p:nvPr>
            <p:ph type="body" sz="quarter" idx="26" hasCustomPrompt="1"/>
          </p:nvPr>
        </p:nvSpPr>
        <p:spPr>
          <a:xfrm flipH="1">
            <a:off x="6593361" y="4158533"/>
            <a:ext cx="693705" cy="1343770"/>
          </a:xfrm>
          <a:prstGeom prst="rect">
            <a:avLst/>
          </a:prstGeom>
          <a:blipFill>
            <a:blip r:embed="rId3"/>
            <a:stretch>
              <a:fillRect/>
            </a:stretch>
          </a:blipFill>
        </p:spPr>
        <p:txBody>
          <a:bodyPr/>
          <a:lstStyle>
            <a:lvl1pPr marL="0" indent="0">
              <a:buNone/>
              <a:defRPr/>
            </a:lvl1pPr>
          </a:lstStyle>
          <a:p>
            <a:pPr lvl="0"/>
            <a:r>
              <a:rPr lang="nb-NO"/>
              <a:t> </a:t>
            </a:r>
          </a:p>
        </p:txBody>
      </p:sp>
      <p:sp>
        <p:nvSpPr>
          <p:cNvPr id="67" name="Plassholder for tekst 66">
            <a:extLst>
              <a:ext uri="{FF2B5EF4-FFF2-40B4-BE49-F238E27FC236}">
                <a16:creationId xmlns:a16="http://schemas.microsoft.com/office/drawing/2014/main" id="{72399FEF-9F0F-76CE-CE91-DA4CBD2B13FB}"/>
              </a:ext>
            </a:extLst>
          </p:cNvPr>
          <p:cNvSpPr>
            <a:spLocks noGrp="1"/>
          </p:cNvSpPr>
          <p:nvPr>
            <p:ph type="body" sz="quarter" idx="13" hasCustomPrompt="1"/>
          </p:nvPr>
        </p:nvSpPr>
        <p:spPr>
          <a:xfrm>
            <a:off x="5105097" y="4630555"/>
            <a:ext cx="1844216" cy="1844216"/>
          </a:xfrm>
          <a:prstGeom prst="ellipse">
            <a:avLst/>
          </a:prstGeom>
          <a:solidFill>
            <a:schemeClr val="tx1"/>
          </a:solidFill>
        </p:spPr>
        <p:txBody>
          <a:bodyPr anchor="ctr"/>
          <a:lstStyle>
            <a:lvl1pPr marL="0" indent="0" algn="ctr">
              <a:buNone/>
              <a:defRPr sz="1600" b="0" i="0">
                <a:solidFill>
                  <a:schemeClr val="bg2"/>
                </a:solidFill>
                <a:latin typeface="Haffer Light" pitchFamily="2" charset="77"/>
                <a:cs typeface="Haffer Light" pitchFamily="2" charset="77"/>
              </a:defRPr>
            </a:lvl1pPr>
          </a:lstStyle>
          <a:p>
            <a:pPr lvl="0"/>
            <a:r>
              <a:rPr lang="nb-NO" err="1"/>
              <a:t>Title</a:t>
            </a:r>
            <a:endParaRPr lang="nb-NO"/>
          </a:p>
        </p:txBody>
      </p:sp>
      <p:sp>
        <p:nvSpPr>
          <p:cNvPr id="72" name="Plassholder for tekst 71">
            <a:extLst>
              <a:ext uri="{FF2B5EF4-FFF2-40B4-BE49-F238E27FC236}">
                <a16:creationId xmlns:a16="http://schemas.microsoft.com/office/drawing/2014/main" id="{08E8C2C1-3CA8-75FA-D5EB-3389CD5D0FD1}"/>
              </a:ext>
            </a:extLst>
          </p:cNvPr>
          <p:cNvSpPr>
            <a:spLocks noGrp="1"/>
          </p:cNvSpPr>
          <p:nvPr>
            <p:ph type="body" sz="quarter" idx="15" hasCustomPrompt="1"/>
          </p:nvPr>
        </p:nvSpPr>
        <p:spPr>
          <a:xfrm>
            <a:off x="95997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tx1"/>
                </a:solidFill>
                <a:latin typeface="Haffer Light" pitchFamily="2" charset="77"/>
                <a:cs typeface="Haffer Light" pitchFamily="2" charset="77"/>
              </a:defRPr>
            </a:lvl1pPr>
          </a:lstStyle>
          <a:p>
            <a:pPr lvl="0"/>
            <a:r>
              <a:rPr lang="nb-NO"/>
              <a:t>Tekst her</a:t>
            </a:r>
          </a:p>
        </p:txBody>
      </p:sp>
      <p:sp>
        <p:nvSpPr>
          <p:cNvPr id="77" name="Plassholder for tekst 76">
            <a:extLst>
              <a:ext uri="{FF2B5EF4-FFF2-40B4-BE49-F238E27FC236}">
                <a16:creationId xmlns:a16="http://schemas.microsoft.com/office/drawing/2014/main" id="{CA644793-3478-5F1C-661C-D5EE3C028C77}"/>
              </a:ext>
            </a:extLst>
          </p:cNvPr>
          <p:cNvSpPr>
            <a:spLocks noGrp="1"/>
          </p:cNvSpPr>
          <p:nvPr>
            <p:ph type="body" sz="quarter" idx="16" hasCustomPrompt="1"/>
          </p:nvPr>
        </p:nvSpPr>
        <p:spPr>
          <a:xfrm>
            <a:off x="263770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bg2"/>
                </a:solidFill>
                <a:latin typeface="Haffer Light" pitchFamily="2" charset="77"/>
                <a:cs typeface="Haffer Light" pitchFamily="2" charset="77"/>
              </a:defRPr>
            </a:lvl1pPr>
          </a:lstStyle>
          <a:p>
            <a:pPr lvl="0"/>
            <a:r>
              <a:rPr lang="nb-NO"/>
              <a:t>Tekst her</a:t>
            </a:r>
          </a:p>
        </p:txBody>
      </p:sp>
      <p:sp>
        <p:nvSpPr>
          <p:cNvPr id="78" name="Plassholder for tekst 77">
            <a:extLst>
              <a:ext uri="{FF2B5EF4-FFF2-40B4-BE49-F238E27FC236}">
                <a16:creationId xmlns:a16="http://schemas.microsoft.com/office/drawing/2014/main" id="{2C6A16C1-4381-1069-D81F-47085E1CDEC1}"/>
              </a:ext>
            </a:extLst>
          </p:cNvPr>
          <p:cNvSpPr>
            <a:spLocks noGrp="1"/>
          </p:cNvSpPr>
          <p:nvPr>
            <p:ph type="body" sz="quarter" idx="17" hasCustomPrompt="1"/>
          </p:nvPr>
        </p:nvSpPr>
        <p:spPr>
          <a:xfrm>
            <a:off x="4386991"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9" name="Plassholder for tekst 78">
            <a:extLst>
              <a:ext uri="{FF2B5EF4-FFF2-40B4-BE49-F238E27FC236}">
                <a16:creationId xmlns:a16="http://schemas.microsoft.com/office/drawing/2014/main" id="{43023B48-D4E5-FC46-687C-A3212CBF5DD1}"/>
              </a:ext>
            </a:extLst>
          </p:cNvPr>
          <p:cNvSpPr>
            <a:spLocks noGrp="1"/>
          </p:cNvSpPr>
          <p:nvPr>
            <p:ph type="body" sz="quarter" idx="18" hasCustomPrompt="1"/>
          </p:nvPr>
        </p:nvSpPr>
        <p:spPr>
          <a:xfrm>
            <a:off x="614422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
        <p:nvSpPr>
          <p:cNvPr id="80" name="Plassholder for tekst 79">
            <a:extLst>
              <a:ext uri="{FF2B5EF4-FFF2-40B4-BE49-F238E27FC236}">
                <a16:creationId xmlns:a16="http://schemas.microsoft.com/office/drawing/2014/main" id="{809FFEDF-1D02-0305-3219-665060FD9D98}"/>
              </a:ext>
            </a:extLst>
          </p:cNvPr>
          <p:cNvSpPr>
            <a:spLocks noGrp="1"/>
          </p:cNvSpPr>
          <p:nvPr>
            <p:ph type="body" sz="quarter" idx="19" hasCustomPrompt="1"/>
          </p:nvPr>
        </p:nvSpPr>
        <p:spPr>
          <a:xfrm>
            <a:off x="7893516"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1"/>
          </a:solidFill>
          <a:ln>
            <a:noFill/>
          </a:ln>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1" name="Plassholder for tekst 80">
            <a:extLst>
              <a:ext uri="{FF2B5EF4-FFF2-40B4-BE49-F238E27FC236}">
                <a16:creationId xmlns:a16="http://schemas.microsoft.com/office/drawing/2014/main" id="{8C693893-89CF-A3CB-0C1D-E5E0D9FF6F2E}"/>
              </a:ext>
            </a:extLst>
          </p:cNvPr>
          <p:cNvSpPr>
            <a:spLocks noGrp="1"/>
          </p:cNvSpPr>
          <p:nvPr>
            <p:ph type="body" sz="quarter" idx="20" hasCustomPrompt="1"/>
          </p:nvPr>
        </p:nvSpPr>
        <p:spPr>
          <a:xfrm>
            <a:off x="965075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bg2"/>
                </a:solidFill>
                <a:latin typeface="Haffer Light" pitchFamily="2" charset="77"/>
                <a:cs typeface="Haffer Light" pitchFamily="2" charset="77"/>
              </a:defRPr>
            </a:lvl1pPr>
          </a:lstStyle>
          <a:p>
            <a:pPr lvl="0"/>
            <a:r>
              <a:rPr lang="nb-NO"/>
              <a:t>Tekst her</a:t>
            </a:r>
          </a:p>
        </p:txBody>
      </p:sp>
      <p:pic>
        <p:nvPicPr>
          <p:cNvPr id="2" name="Grafikk 1">
            <a:extLst>
              <a:ext uri="{FF2B5EF4-FFF2-40B4-BE49-F238E27FC236}">
                <a16:creationId xmlns:a16="http://schemas.microsoft.com/office/drawing/2014/main" id="{DDAC66EB-1870-300A-7B82-89C7D68BB5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3294044814"/>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phics 2 Light">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rgbClr val="022E33"/>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5" name="Plassholder for tekst 84">
            <a:extLst>
              <a:ext uri="{FF2B5EF4-FFF2-40B4-BE49-F238E27FC236}">
                <a16:creationId xmlns:a16="http://schemas.microsoft.com/office/drawing/2014/main" id="{EF413E8B-300C-0E52-82E8-1A8DB914DBBB}"/>
              </a:ext>
            </a:extLst>
          </p:cNvPr>
          <p:cNvSpPr>
            <a:spLocks noGrp="1"/>
          </p:cNvSpPr>
          <p:nvPr>
            <p:ph type="body" sz="quarter" idx="21" hasCustomPrompt="1"/>
          </p:nvPr>
        </p:nvSpPr>
        <p:spPr>
          <a:xfrm>
            <a:off x="2957884" y="4158532"/>
            <a:ext cx="2464905"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6" name="Plassholder for tekst 84">
            <a:extLst>
              <a:ext uri="{FF2B5EF4-FFF2-40B4-BE49-F238E27FC236}">
                <a16:creationId xmlns:a16="http://schemas.microsoft.com/office/drawing/2014/main" id="{FE0FA6FD-6025-496B-6236-AC64BCAE6C35}"/>
              </a:ext>
            </a:extLst>
          </p:cNvPr>
          <p:cNvSpPr>
            <a:spLocks noGrp="1"/>
          </p:cNvSpPr>
          <p:nvPr>
            <p:ph type="body" sz="quarter" idx="22" hasCustomPrompt="1"/>
          </p:nvPr>
        </p:nvSpPr>
        <p:spPr>
          <a:xfrm>
            <a:off x="1294120" y="4158532"/>
            <a:ext cx="2355530"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7" name="Plassholder for tekst 84">
            <a:extLst>
              <a:ext uri="{FF2B5EF4-FFF2-40B4-BE49-F238E27FC236}">
                <a16:creationId xmlns:a16="http://schemas.microsoft.com/office/drawing/2014/main" id="{BDCF82ED-D14D-534F-899C-5A1C1C5F029F}"/>
              </a:ext>
            </a:extLst>
          </p:cNvPr>
          <p:cNvSpPr>
            <a:spLocks noGrp="1"/>
          </p:cNvSpPr>
          <p:nvPr>
            <p:ph type="body" sz="quarter" idx="23" hasCustomPrompt="1"/>
          </p:nvPr>
        </p:nvSpPr>
        <p:spPr>
          <a:xfrm flipH="1">
            <a:off x="8412711" y="4158532"/>
            <a:ext cx="2464905"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8" name="Plassholder for tekst 84">
            <a:extLst>
              <a:ext uri="{FF2B5EF4-FFF2-40B4-BE49-F238E27FC236}">
                <a16:creationId xmlns:a16="http://schemas.microsoft.com/office/drawing/2014/main" id="{34F03D9D-1CE7-DD3B-F66C-BFD35C16775A}"/>
              </a:ext>
            </a:extLst>
          </p:cNvPr>
          <p:cNvSpPr>
            <a:spLocks noGrp="1"/>
          </p:cNvSpPr>
          <p:nvPr>
            <p:ph type="body" sz="quarter" idx="24" hasCustomPrompt="1"/>
          </p:nvPr>
        </p:nvSpPr>
        <p:spPr>
          <a:xfrm flipH="1">
            <a:off x="6740996" y="4158532"/>
            <a:ext cx="2355530"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90" name="Plassholder for tekst 84">
            <a:extLst>
              <a:ext uri="{FF2B5EF4-FFF2-40B4-BE49-F238E27FC236}">
                <a16:creationId xmlns:a16="http://schemas.microsoft.com/office/drawing/2014/main" id="{D821DFED-78A8-0BD6-ABB7-8E5D9C78CA2B}"/>
              </a:ext>
            </a:extLst>
          </p:cNvPr>
          <p:cNvSpPr>
            <a:spLocks noGrp="1"/>
          </p:cNvSpPr>
          <p:nvPr>
            <p:ph type="body" sz="quarter" idx="25" hasCustomPrompt="1"/>
          </p:nvPr>
        </p:nvSpPr>
        <p:spPr>
          <a:xfrm>
            <a:off x="4801313" y="4158533"/>
            <a:ext cx="693705" cy="1343770"/>
          </a:xfrm>
          <a:prstGeom prst="rect">
            <a:avLst/>
          </a:prstGeom>
          <a:blipFill>
            <a:blip r:embed="rId4"/>
            <a:stretch>
              <a:fillRect/>
            </a:stretch>
          </a:blipFill>
        </p:spPr>
        <p:txBody>
          <a:bodyPr/>
          <a:lstStyle>
            <a:lvl1pPr marL="0" indent="0">
              <a:buNone/>
              <a:defRPr/>
            </a:lvl1pPr>
          </a:lstStyle>
          <a:p>
            <a:pPr lvl="0"/>
            <a:r>
              <a:rPr lang="nb-NO"/>
              <a:t> </a:t>
            </a:r>
          </a:p>
        </p:txBody>
      </p:sp>
      <p:sp>
        <p:nvSpPr>
          <p:cNvPr id="91" name="Plassholder for tekst 84">
            <a:extLst>
              <a:ext uri="{FF2B5EF4-FFF2-40B4-BE49-F238E27FC236}">
                <a16:creationId xmlns:a16="http://schemas.microsoft.com/office/drawing/2014/main" id="{CAE6143E-86F9-B0C7-317D-B5CE4306FDEF}"/>
              </a:ext>
            </a:extLst>
          </p:cNvPr>
          <p:cNvSpPr>
            <a:spLocks noGrp="1"/>
          </p:cNvSpPr>
          <p:nvPr>
            <p:ph type="body" sz="quarter" idx="26" hasCustomPrompt="1"/>
          </p:nvPr>
        </p:nvSpPr>
        <p:spPr>
          <a:xfrm flipH="1">
            <a:off x="6593361" y="4158533"/>
            <a:ext cx="693705" cy="1343770"/>
          </a:xfrm>
          <a:prstGeom prst="rect">
            <a:avLst/>
          </a:prstGeom>
          <a:blipFill>
            <a:blip r:embed="rId4"/>
            <a:stretch>
              <a:fillRect/>
            </a:stretch>
          </a:blipFill>
        </p:spPr>
        <p:txBody>
          <a:bodyPr/>
          <a:lstStyle>
            <a:lvl1pPr marL="0" indent="0">
              <a:buNone/>
              <a:defRPr/>
            </a:lvl1pPr>
          </a:lstStyle>
          <a:p>
            <a:pPr lvl="0"/>
            <a:r>
              <a:rPr lang="nb-NO"/>
              <a:t> </a:t>
            </a:r>
          </a:p>
        </p:txBody>
      </p:sp>
      <p:sp>
        <p:nvSpPr>
          <p:cNvPr id="67" name="Plassholder for tekst 66">
            <a:extLst>
              <a:ext uri="{FF2B5EF4-FFF2-40B4-BE49-F238E27FC236}">
                <a16:creationId xmlns:a16="http://schemas.microsoft.com/office/drawing/2014/main" id="{72399FEF-9F0F-76CE-CE91-DA4CBD2B13FB}"/>
              </a:ext>
            </a:extLst>
          </p:cNvPr>
          <p:cNvSpPr>
            <a:spLocks noGrp="1"/>
          </p:cNvSpPr>
          <p:nvPr>
            <p:ph type="body" sz="quarter" idx="13" hasCustomPrompt="1"/>
          </p:nvPr>
        </p:nvSpPr>
        <p:spPr>
          <a:xfrm>
            <a:off x="5105097" y="4630555"/>
            <a:ext cx="1844216" cy="1844216"/>
          </a:xfrm>
          <a:prstGeom prst="ellipse">
            <a:avLst/>
          </a:prstGeom>
          <a:solidFill>
            <a:schemeClr val="accent4"/>
          </a:solidFill>
        </p:spPr>
        <p:txBody>
          <a:bodyPr anchor="ctr"/>
          <a:lstStyle>
            <a:lvl1pPr marL="0" indent="0" algn="ctr">
              <a:buNone/>
              <a:defRPr sz="1600" b="0" i="0">
                <a:latin typeface="Haffer Light" pitchFamily="2" charset="77"/>
                <a:cs typeface="Haffer Light" pitchFamily="2" charset="77"/>
              </a:defRPr>
            </a:lvl1pPr>
          </a:lstStyle>
          <a:p>
            <a:pPr lvl="0"/>
            <a:r>
              <a:rPr lang="nb-NO" err="1"/>
              <a:t>Title</a:t>
            </a:r>
            <a:endParaRPr lang="nb-NO"/>
          </a:p>
        </p:txBody>
      </p:sp>
      <p:sp>
        <p:nvSpPr>
          <p:cNvPr id="72" name="Plassholder for tekst 71">
            <a:extLst>
              <a:ext uri="{FF2B5EF4-FFF2-40B4-BE49-F238E27FC236}">
                <a16:creationId xmlns:a16="http://schemas.microsoft.com/office/drawing/2014/main" id="{08E8C2C1-3CA8-75FA-D5EB-3389CD5D0FD1}"/>
              </a:ext>
            </a:extLst>
          </p:cNvPr>
          <p:cNvSpPr>
            <a:spLocks noGrp="1"/>
          </p:cNvSpPr>
          <p:nvPr>
            <p:ph type="body" sz="quarter" idx="15" hasCustomPrompt="1"/>
          </p:nvPr>
        </p:nvSpPr>
        <p:spPr>
          <a:xfrm>
            <a:off x="95997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7" name="Plassholder for tekst 76">
            <a:extLst>
              <a:ext uri="{FF2B5EF4-FFF2-40B4-BE49-F238E27FC236}">
                <a16:creationId xmlns:a16="http://schemas.microsoft.com/office/drawing/2014/main" id="{CA644793-3478-5F1C-661C-D5EE3C028C77}"/>
              </a:ext>
            </a:extLst>
          </p:cNvPr>
          <p:cNvSpPr>
            <a:spLocks noGrp="1"/>
          </p:cNvSpPr>
          <p:nvPr>
            <p:ph type="body" sz="quarter" idx="16" hasCustomPrompt="1"/>
          </p:nvPr>
        </p:nvSpPr>
        <p:spPr>
          <a:xfrm>
            <a:off x="263770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
        <p:nvSpPr>
          <p:cNvPr id="78" name="Plassholder for tekst 77">
            <a:extLst>
              <a:ext uri="{FF2B5EF4-FFF2-40B4-BE49-F238E27FC236}">
                <a16:creationId xmlns:a16="http://schemas.microsoft.com/office/drawing/2014/main" id="{2C6A16C1-4381-1069-D81F-47085E1CDEC1}"/>
              </a:ext>
            </a:extLst>
          </p:cNvPr>
          <p:cNvSpPr>
            <a:spLocks noGrp="1"/>
          </p:cNvSpPr>
          <p:nvPr>
            <p:ph type="body" sz="quarter" idx="17" hasCustomPrompt="1"/>
          </p:nvPr>
        </p:nvSpPr>
        <p:spPr>
          <a:xfrm>
            <a:off x="4386991"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2"/>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9" name="Plassholder for tekst 78">
            <a:extLst>
              <a:ext uri="{FF2B5EF4-FFF2-40B4-BE49-F238E27FC236}">
                <a16:creationId xmlns:a16="http://schemas.microsoft.com/office/drawing/2014/main" id="{43023B48-D4E5-FC46-687C-A3212CBF5DD1}"/>
              </a:ext>
            </a:extLst>
          </p:cNvPr>
          <p:cNvSpPr>
            <a:spLocks noGrp="1"/>
          </p:cNvSpPr>
          <p:nvPr>
            <p:ph type="body" sz="quarter" idx="18" hasCustomPrompt="1"/>
          </p:nvPr>
        </p:nvSpPr>
        <p:spPr>
          <a:xfrm>
            <a:off x="614422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0" name="Plassholder for tekst 79">
            <a:extLst>
              <a:ext uri="{FF2B5EF4-FFF2-40B4-BE49-F238E27FC236}">
                <a16:creationId xmlns:a16="http://schemas.microsoft.com/office/drawing/2014/main" id="{809FFEDF-1D02-0305-3219-665060FD9D98}"/>
              </a:ext>
            </a:extLst>
          </p:cNvPr>
          <p:cNvSpPr>
            <a:spLocks noGrp="1"/>
          </p:cNvSpPr>
          <p:nvPr>
            <p:ph type="body" sz="quarter" idx="19" hasCustomPrompt="1"/>
          </p:nvPr>
        </p:nvSpPr>
        <p:spPr>
          <a:xfrm>
            <a:off x="7893516"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2"/>
          </a:solidFill>
          <a:ln>
            <a:noFill/>
          </a:ln>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1" name="Plassholder for tekst 80">
            <a:extLst>
              <a:ext uri="{FF2B5EF4-FFF2-40B4-BE49-F238E27FC236}">
                <a16:creationId xmlns:a16="http://schemas.microsoft.com/office/drawing/2014/main" id="{8C693893-89CF-A3CB-0C1D-E5E0D9FF6F2E}"/>
              </a:ext>
            </a:extLst>
          </p:cNvPr>
          <p:cNvSpPr>
            <a:spLocks noGrp="1"/>
          </p:cNvSpPr>
          <p:nvPr>
            <p:ph type="body" sz="quarter" idx="20" hasCustomPrompt="1"/>
          </p:nvPr>
        </p:nvSpPr>
        <p:spPr>
          <a:xfrm>
            <a:off x="965075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Tree>
    <p:extLst>
      <p:ext uri="{BB962C8B-B14F-4D97-AF65-F5344CB8AC3E}">
        <p14:creationId xmlns:p14="http://schemas.microsoft.com/office/powerpoint/2010/main" val="25952529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aphics 3 light">
    <p:spTree>
      <p:nvGrpSpPr>
        <p:cNvPr id="1" name=""/>
        <p:cNvGrpSpPr/>
        <p:nvPr/>
      </p:nvGrpSpPr>
      <p:grpSpPr>
        <a:xfrm>
          <a:off x="0" y="0"/>
          <a:ext cx="0" cy="0"/>
          <a:chOff x="0" y="0"/>
          <a:chExt cx="0" cy="0"/>
        </a:xfrm>
      </p:grpSpPr>
      <p:sp>
        <p:nvSpPr>
          <p:cNvPr id="28" name="Plassholder for tekst 5">
            <a:extLst>
              <a:ext uri="{FF2B5EF4-FFF2-40B4-BE49-F238E27FC236}">
                <a16:creationId xmlns:a16="http://schemas.microsoft.com/office/drawing/2014/main" id="{9CDB4017-BE49-888F-20E3-874213045C5A}"/>
              </a:ext>
            </a:extLst>
          </p:cNvPr>
          <p:cNvSpPr>
            <a:spLocks noGrp="1"/>
          </p:cNvSpPr>
          <p:nvPr>
            <p:ph type="body" sz="quarter" idx="30" hasCustomPrompt="1"/>
          </p:nvPr>
        </p:nvSpPr>
        <p:spPr>
          <a:xfrm>
            <a:off x="4509679" y="1840621"/>
            <a:ext cx="3138214" cy="3138214"/>
          </a:xfrm>
          <a:prstGeom prst="ellipse">
            <a:avLst/>
          </a:prstGeom>
          <a:solidFill>
            <a:schemeClr val="bg2"/>
          </a:solidFill>
          <a:ln w="31750">
            <a:noFill/>
          </a:ln>
        </p:spPr>
        <p:txBody>
          <a:bodyPr/>
          <a:lstStyle>
            <a:lvl1pPr marL="0" indent="0">
              <a:buNone/>
              <a:defRPr/>
            </a:lvl1pPr>
          </a:lstStyle>
          <a:p>
            <a:pPr lvl="0"/>
            <a:r>
              <a:rPr lang="nb-NO"/>
              <a:t> </a:t>
            </a:r>
          </a:p>
        </p:txBody>
      </p:sp>
      <p:sp>
        <p:nvSpPr>
          <p:cNvPr id="27" name="Plassholder for tekst 5">
            <a:extLst>
              <a:ext uri="{FF2B5EF4-FFF2-40B4-BE49-F238E27FC236}">
                <a16:creationId xmlns:a16="http://schemas.microsoft.com/office/drawing/2014/main" id="{5A757843-C894-C2DE-32D9-3DB09E822784}"/>
              </a:ext>
            </a:extLst>
          </p:cNvPr>
          <p:cNvSpPr>
            <a:spLocks noGrp="1"/>
          </p:cNvSpPr>
          <p:nvPr>
            <p:ph type="body" sz="quarter" idx="29" hasCustomPrompt="1"/>
          </p:nvPr>
        </p:nvSpPr>
        <p:spPr>
          <a:xfrm>
            <a:off x="3633746" y="1150864"/>
            <a:ext cx="4726185" cy="4571987"/>
          </a:xfrm>
          <a:prstGeom prst="ellipse">
            <a:avLst/>
          </a:prstGeom>
          <a:noFill/>
          <a:ln w="25400">
            <a:solidFill>
              <a:schemeClr val="tx2"/>
            </a:solidFill>
          </a:ln>
        </p:spPr>
        <p:txBody>
          <a:bodyPr/>
          <a:lstStyle>
            <a:lvl1pPr marL="0" indent="0">
              <a:buNone/>
              <a:defRPr/>
            </a:lvl1pPr>
          </a:lstStyle>
          <a:p>
            <a:pPr lvl="0"/>
            <a:r>
              <a:rPr lang="nb-NO"/>
              <a:t> </a:t>
            </a:r>
          </a:p>
        </p:txBody>
      </p:sp>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4" name="Plassholder for tekst 3">
            <a:extLst>
              <a:ext uri="{FF2B5EF4-FFF2-40B4-BE49-F238E27FC236}">
                <a16:creationId xmlns:a16="http://schemas.microsoft.com/office/drawing/2014/main" id="{5B486864-91FD-3583-D495-63D845FD6C69}"/>
              </a:ext>
            </a:extLst>
          </p:cNvPr>
          <p:cNvSpPr>
            <a:spLocks noGrp="1"/>
          </p:cNvSpPr>
          <p:nvPr>
            <p:ph type="body" sz="quarter" idx="20" hasCustomPrompt="1"/>
          </p:nvPr>
        </p:nvSpPr>
        <p:spPr>
          <a:xfrm>
            <a:off x="4709544" y="2579067"/>
            <a:ext cx="2659925" cy="1719407"/>
          </a:xfrm>
          <a:prstGeom prst="rect">
            <a:avLst/>
          </a:prstGeom>
        </p:spPr>
        <p:txBody>
          <a:bodyPr anchor="ctr"/>
          <a:lstStyle>
            <a:lvl1pPr marL="0" indent="0" algn="ctr">
              <a:buNone/>
              <a:defRPr b="0" i="0">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9BB7B2D1-A53A-76A4-88A6-E19733835CB5}"/>
              </a:ext>
            </a:extLst>
          </p:cNvPr>
          <p:cNvSpPr>
            <a:spLocks noGrp="1"/>
          </p:cNvSpPr>
          <p:nvPr>
            <p:ph type="body" sz="quarter" idx="21" hasCustomPrompt="1"/>
          </p:nvPr>
        </p:nvSpPr>
        <p:spPr>
          <a:xfrm>
            <a:off x="4075737" y="1380294"/>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7" name="Plassholder for tekst 5">
            <a:extLst>
              <a:ext uri="{FF2B5EF4-FFF2-40B4-BE49-F238E27FC236}">
                <a16:creationId xmlns:a16="http://schemas.microsoft.com/office/drawing/2014/main" id="{E1C153C7-2794-B855-B0C8-58F2F25B585A}"/>
              </a:ext>
            </a:extLst>
          </p:cNvPr>
          <p:cNvSpPr>
            <a:spLocks noGrp="1"/>
          </p:cNvSpPr>
          <p:nvPr>
            <p:ph type="body" sz="quarter" idx="22" hasCustomPrompt="1"/>
          </p:nvPr>
        </p:nvSpPr>
        <p:spPr>
          <a:xfrm>
            <a:off x="5740454" y="834936"/>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8" name="Plassholder for tekst 5">
            <a:extLst>
              <a:ext uri="{FF2B5EF4-FFF2-40B4-BE49-F238E27FC236}">
                <a16:creationId xmlns:a16="http://schemas.microsoft.com/office/drawing/2014/main" id="{1C292E1C-BC77-1DE4-3737-FC0EF1DB8A7D}"/>
              </a:ext>
            </a:extLst>
          </p:cNvPr>
          <p:cNvSpPr>
            <a:spLocks noGrp="1"/>
          </p:cNvSpPr>
          <p:nvPr>
            <p:ph type="body" sz="quarter" idx="23" hasCustomPrompt="1"/>
          </p:nvPr>
        </p:nvSpPr>
        <p:spPr>
          <a:xfrm>
            <a:off x="7266231" y="1374951"/>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9" name="Plassholder for tekst 5">
            <a:extLst>
              <a:ext uri="{FF2B5EF4-FFF2-40B4-BE49-F238E27FC236}">
                <a16:creationId xmlns:a16="http://schemas.microsoft.com/office/drawing/2014/main" id="{05DFA14B-5682-D3EB-B0BC-1D48BF516D86}"/>
              </a:ext>
            </a:extLst>
          </p:cNvPr>
          <p:cNvSpPr>
            <a:spLocks noGrp="1"/>
          </p:cNvSpPr>
          <p:nvPr>
            <p:ph type="body" sz="quarter" idx="24" hasCustomPrompt="1"/>
          </p:nvPr>
        </p:nvSpPr>
        <p:spPr>
          <a:xfrm>
            <a:off x="7974510" y="2989065"/>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13" name="Plassholder for tekst 5">
            <a:extLst>
              <a:ext uri="{FF2B5EF4-FFF2-40B4-BE49-F238E27FC236}">
                <a16:creationId xmlns:a16="http://schemas.microsoft.com/office/drawing/2014/main" id="{219505B2-8C17-4F1A-2C0D-DE23F36EBAB0}"/>
              </a:ext>
            </a:extLst>
          </p:cNvPr>
          <p:cNvSpPr>
            <a:spLocks noGrp="1"/>
          </p:cNvSpPr>
          <p:nvPr>
            <p:ph type="body" sz="quarter" idx="25" hasCustomPrompt="1"/>
          </p:nvPr>
        </p:nvSpPr>
        <p:spPr>
          <a:xfrm>
            <a:off x="7404216" y="46190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4" name="Plassholder for tekst 5">
            <a:extLst>
              <a:ext uri="{FF2B5EF4-FFF2-40B4-BE49-F238E27FC236}">
                <a16:creationId xmlns:a16="http://schemas.microsoft.com/office/drawing/2014/main" id="{F0344697-590B-C6FE-5ABE-68A43CEA954A}"/>
              </a:ext>
            </a:extLst>
          </p:cNvPr>
          <p:cNvSpPr>
            <a:spLocks noGrp="1"/>
          </p:cNvSpPr>
          <p:nvPr>
            <p:ph type="body" sz="quarter" idx="26" hasCustomPrompt="1"/>
          </p:nvPr>
        </p:nvSpPr>
        <p:spPr>
          <a:xfrm>
            <a:off x="5740454" y="53362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5" name="Plassholder for tekst 5">
            <a:extLst>
              <a:ext uri="{FF2B5EF4-FFF2-40B4-BE49-F238E27FC236}">
                <a16:creationId xmlns:a16="http://schemas.microsoft.com/office/drawing/2014/main" id="{4C91EE00-314B-8844-6BC6-C758BEBF7D64}"/>
              </a:ext>
            </a:extLst>
          </p:cNvPr>
          <p:cNvSpPr>
            <a:spLocks noGrp="1"/>
          </p:cNvSpPr>
          <p:nvPr>
            <p:ph type="body" sz="quarter" idx="27" hasCustomPrompt="1"/>
          </p:nvPr>
        </p:nvSpPr>
        <p:spPr>
          <a:xfrm>
            <a:off x="3897628" y="46190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6" name="Plassholder for tekst 5">
            <a:extLst>
              <a:ext uri="{FF2B5EF4-FFF2-40B4-BE49-F238E27FC236}">
                <a16:creationId xmlns:a16="http://schemas.microsoft.com/office/drawing/2014/main" id="{F5CA0D37-B617-0C9A-D510-781C28F93398}"/>
              </a:ext>
            </a:extLst>
          </p:cNvPr>
          <p:cNvSpPr>
            <a:spLocks noGrp="1"/>
          </p:cNvSpPr>
          <p:nvPr>
            <p:ph type="body" sz="quarter" idx="28" hasCustomPrompt="1"/>
          </p:nvPr>
        </p:nvSpPr>
        <p:spPr>
          <a:xfrm>
            <a:off x="3302180" y="2989064"/>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42" name="Plassholder for tekst 50">
            <a:extLst>
              <a:ext uri="{FF2B5EF4-FFF2-40B4-BE49-F238E27FC236}">
                <a16:creationId xmlns:a16="http://schemas.microsoft.com/office/drawing/2014/main" id="{7B5B94E5-3124-497D-2A2E-F0360569B581}"/>
              </a:ext>
            </a:extLst>
          </p:cNvPr>
          <p:cNvSpPr>
            <a:spLocks noGrp="1"/>
          </p:cNvSpPr>
          <p:nvPr>
            <p:ph type="body" sz="quarter" idx="13"/>
          </p:nvPr>
        </p:nvSpPr>
        <p:spPr>
          <a:xfrm>
            <a:off x="8845658" y="3031290"/>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Content </a:t>
            </a:r>
            <a:r>
              <a:rPr lang="nb-NO" err="1"/>
              <a:t>production</a:t>
            </a:r>
            <a:r>
              <a:rPr lang="nb-NO"/>
              <a:t>, </a:t>
            </a:r>
            <a:r>
              <a:rPr lang="nb-NO" err="1"/>
              <a:t>incl</a:t>
            </a:r>
            <a:r>
              <a:rPr lang="nb-NO"/>
              <a:t>. video</a:t>
            </a:r>
          </a:p>
        </p:txBody>
      </p:sp>
      <p:sp>
        <p:nvSpPr>
          <p:cNvPr id="43" name="Plassholder for tekst 51">
            <a:extLst>
              <a:ext uri="{FF2B5EF4-FFF2-40B4-BE49-F238E27FC236}">
                <a16:creationId xmlns:a16="http://schemas.microsoft.com/office/drawing/2014/main" id="{74F548DE-92C3-9B50-4277-C9EFDC6ED908}"/>
              </a:ext>
            </a:extLst>
          </p:cNvPr>
          <p:cNvSpPr>
            <a:spLocks noGrp="1"/>
          </p:cNvSpPr>
          <p:nvPr>
            <p:ph type="body" sz="quarter" idx="14"/>
          </p:nvPr>
        </p:nvSpPr>
        <p:spPr>
          <a:xfrm>
            <a:off x="4851144" y="430546"/>
            <a:ext cx="2386800" cy="362872"/>
          </a:xfrm>
          <a:prstGeom prst="roundRect">
            <a:avLst/>
          </a:prstGeom>
        </p:spPr>
        <p:txBody>
          <a:bodyPr/>
          <a:lstStyle>
            <a:lvl1pPr marL="0" indent="0" algn="ctr">
              <a:buNone/>
              <a:defRPr sz="1600" b="0" i="0">
                <a:latin typeface="Haffer Light" pitchFamily="2" charset="77"/>
                <a:cs typeface="Haffer Light" pitchFamily="2" charset="77"/>
              </a:defRPr>
            </a:lvl1pPr>
          </a:lstStyle>
          <a:p>
            <a:pPr algn="ctr"/>
            <a:r>
              <a:rPr lang="nb-NO"/>
              <a:t>PR</a:t>
            </a:r>
          </a:p>
        </p:txBody>
      </p:sp>
      <p:sp>
        <p:nvSpPr>
          <p:cNvPr id="44" name="Plassholder for tekst 52">
            <a:extLst>
              <a:ext uri="{FF2B5EF4-FFF2-40B4-BE49-F238E27FC236}">
                <a16:creationId xmlns:a16="http://schemas.microsoft.com/office/drawing/2014/main" id="{00086624-5EF4-744B-5787-A67226CC28CD}"/>
              </a:ext>
            </a:extLst>
          </p:cNvPr>
          <p:cNvSpPr>
            <a:spLocks noGrp="1"/>
          </p:cNvSpPr>
          <p:nvPr>
            <p:ph type="body" sz="quarter" idx="15"/>
          </p:nvPr>
        </p:nvSpPr>
        <p:spPr>
          <a:xfrm>
            <a:off x="1246946" y="4766516"/>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Visibility</a:t>
            </a:r>
            <a:r>
              <a:rPr lang="nb-NO"/>
              <a:t> in </a:t>
            </a:r>
            <a:r>
              <a:rPr lang="nb-NO" err="1"/>
              <a:t>new</a:t>
            </a:r>
            <a:r>
              <a:rPr lang="nb-NO"/>
              <a:t> </a:t>
            </a:r>
            <a:r>
              <a:rPr lang="nb-NO" err="1"/>
              <a:t>channels</a:t>
            </a:r>
            <a:r>
              <a:rPr lang="nb-NO"/>
              <a:t>?</a:t>
            </a:r>
          </a:p>
        </p:txBody>
      </p:sp>
      <p:sp>
        <p:nvSpPr>
          <p:cNvPr id="45" name="Plassholder for tekst 53">
            <a:extLst>
              <a:ext uri="{FF2B5EF4-FFF2-40B4-BE49-F238E27FC236}">
                <a16:creationId xmlns:a16="http://schemas.microsoft.com/office/drawing/2014/main" id="{A7CDEA16-3E8F-21D0-E2C6-F3E27858C5CF}"/>
              </a:ext>
            </a:extLst>
          </p:cNvPr>
          <p:cNvSpPr>
            <a:spLocks noGrp="1"/>
          </p:cNvSpPr>
          <p:nvPr>
            <p:ph type="body" sz="quarter" idx="16"/>
          </p:nvPr>
        </p:nvSpPr>
        <p:spPr>
          <a:xfrm>
            <a:off x="8359931" y="4769714"/>
            <a:ext cx="2736265"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Go-to-</a:t>
            </a:r>
            <a:r>
              <a:rPr lang="nb-NO" err="1"/>
              <a:t>market</a:t>
            </a:r>
            <a:r>
              <a:rPr lang="nb-NO"/>
              <a:t> </a:t>
            </a:r>
            <a:r>
              <a:rPr lang="nb-NO" err="1"/>
              <a:t>strategy</a:t>
            </a:r>
            <a:r>
              <a:rPr lang="nb-NO"/>
              <a:t> for </a:t>
            </a:r>
            <a:r>
              <a:rPr lang="nb-NO" err="1"/>
              <a:t>chosen</a:t>
            </a:r>
            <a:r>
              <a:rPr lang="nb-NO"/>
              <a:t> </a:t>
            </a:r>
            <a:r>
              <a:rPr lang="nb-NO" err="1"/>
              <a:t>markets</a:t>
            </a:r>
            <a:r>
              <a:rPr lang="nb-NO"/>
              <a:t>/</a:t>
            </a:r>
            <a:r>
              <a:rPr lang="nb-NO" err="1"/>
              <a:t>industries</a:t>
            </a:r>
            <a:endParaRPr lang="nb-NO"/>
          </a:p>
        </p:txBody>
      </p:sp>
      <p:sp>
        <p:nvSpPr>
          <p:cNvPr id="46" name="Plassholder for tekst 54">
            <a:extLst>
              <a:ext uri="{FF2B5EF4-FFF2-40B4-BE49-F238E27FC236}">
                <a16:creationId xmlns:a16="http://schemas.microsoft.com/office/drawing/2014/main" id="{6E1489DF-1E2B-FB05-887B-0C567567AC58}"/>
              </a:ext>
            </a:extLst>
          </p:cNvPr>
          <p:cNvSpPr>
            <a:spLocks noGrp="1"/>
          </p:cNvSpPr>
          <p:nvPr>
            <p:ph type="body" sz="quarter" idx="17"/>
          </p:nvPr>
        </p:nvSpPr>
        <p:spPr>
          <a:xfrm>
            <a:off x="8289307" y="1360863"/>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err="1"/>
              <a:t>Inbound</a:t>
            </a:r>
            <a:r>
              <a:rPr lang="nb-NO"/>
              <a:t> </a:t>
            </a:r>
            <a:r>
              <a:rPr lang="nb-NO" err="1"/>
              <a:t>marketing</a:t>
            </a:r>
            <a:r>
              <a:rPr lang="nb-NO"/>
              <a:t> </a:t>
            </a:r>
            <a:r>
              <a:rPr lang="nb-NO" err="1"/>
              <a:t>strategy</a:t>
            </a:r>
            <a:r>
              <a:rPr lang="nb-NO"/>
              <a:t> &amp; </a:t>
            </a:r>
            <a:r>
              <a:rPr lang="nb-NO" err="1"/>
              <a:t>campaign</a:t>
            </a:r>
            <a:r>
              <a:rPr lang="nb-NO"/>
              <a:t> planning</a:t>
            </a:r>
          </a:p>
        </p:txBody>
      </p:sp>
      <p:sp>
        <p:nvSpPr>
          <p:cNvPr id="47" name="Plassholder for tekst 55">
            <a:extLst>
              <a:ext uri="{FF2B5EF4-FFF2-40B4-BE49-F238E27FC236}">
                <a16:creationId xmlns:a16="http://schemas.microsoft.com/office/drawing/2014/main" id="{5FFC9AC6-C609-D742-F52E-7AED56BA0388}"/>
              </a:ext>
            </a:extLst>
          </p:cNvPr>
          <p:cNvSpPr>
            <a:spLocks noGrp="1"/>
          </p:cNvSpPr>
          <p:nvPr>
            <p:ph type="body" sz="quarter" idx="18"/>
          </p:nvPr>
        </p:nvSpPr>
        <p:spPr>
          <a:xfrm>
            <a:off x="749597" y="3090541"/>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Webinars</a:t>
            </a:r>
            <a:r>
              <a:rPr lang="nb-NO"/>
              <a:t> to </a:t>
            </a:r>
            <a:r>
              <a:rPr lang="nb-NO" err="1"/>
              <a:t>educate</a:t>
            </a:r>
            <a:r>
              <a:rPr lang="nb-NO"/>
              <a:t> </a:t>
            </a:r>
            <a:r>
              <a:rPr lang="nb-NO" err="1"/>
              <a:t>the</a:t>
            </a:r>
            <a:r>
              <a:rPr lang="nb-NO"/>
              <a:t> </a:t>
            </a:r>
            <a:r>
              <a:rPr lang="nb-NO" err="1"/>
              <a:t>industry</a:t>
            </a:r>
            <a:endParaRPr lang="nb-NO"/>
          </a:p>
        </p:txBody>
      </p:sp>
      <p:sp>
        <p:nvSpPr>
          <p:cNvPr id="49" name="Plassholder for tekst 56">
            <a:extLst>
              <a:ext uri="{FF2B5EF4-FFF2-40B4-BE49-F238E27FC236}">
                <a16:creationId xmlns:a16="http://schemas.microsoft.com/office/drawing/2014/main" id="{945A3DA5-DA47-FF4C-0F8B-1CD159D624A5}"/>
              </a:ext>
            </a:extLst>
          </p:cNvPr>
          <p:cNvSpPr>
            <a:spLocks noGrp="1"/>
          </p:cNvSpPr>
          <p:nvPr>
            <p:ph type="body" sz="quarter" idx="32"/>
          </p:nvPr>
        </p:nvSpPr>
        <p:spPr>
          <a:xfrm>
            <a:off x="3820051" y="6175277"/>
            <a:ext cx="4653823" cy="756875"/>
          </a:xfrm>
          <a:prstGeom prst="roundRect">
            <a:avLst/>
          </a:prstGeom>
        </p:spPr>
        <p:txBody>
          <a:bodyPr/>
          <a:lstStyle>
            <a:lvl1pPr marL="0" indent="0" algn="ctr">
              <a:buFontTx/>
              <a:buNone/>
              <a:defRPr sz="1600" b="0" i="0">
                <a:latin typeface="Haffer Light" pitchFamily="2" charset="77"/>
                <a:cs typeface="Haffer Light" pitchFamily="2" charset="77"/>
              </a:defRPr>
            </a:lvl1pPr>
          </a:lstStyle>
          <a:p>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51" name="Plassholder for tekst 57">
            <a:extLst>
              <a:ext uri="{FF2B5EF4-FFF2-40B4-BE49-F238E27FC236}">
                <a16:creationId xmlns:a16="http://schemas.microsoft.com/office/drawing/2014/main" id="{2C0BCCB4-BD88-1773-B464-5AC6B6385E96}"/>
              </a:ext>
            </a:extLst>
          </p:cNvPr>
          <p:cNvSpPr>
            <a:spLocks noGrp="1"/>
          </p:cNvSpPr>
          <p:nvPr>
            <p:ph type="body" sz="quarter" idx="33"/>
          </p:nvPr>
        </p:nvSpPr>
        <p:spPr>
          <a:xfrm>
            <a:off x="1433251" y="1360863"/>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a:t>Professional </a:t>
            </a:r>
            <a:r>
              <a:rPr lang="nb-NO" err="1"/>
              <a:t>visual</a:t>
            </a:r>
            <a:r>
              <a:rPr lang="nb-NO"/>
              <a:t> brand </a:t>
            </a:r>
            <a:r>
              <a:rPr lang="nb-NO" err="1"/>
              <a:t>identity</a:t>
            </a:r>
            <a:endParaRPr lang="nb-NO"/>
          </a:p>
        </p:txBody>
      </p:sp>
    </p:spTree>
    <p:extLst>
      <p:ext uri="{BB962C8B-B14F-4D97-AF65-F5344CB8AC3E}">
        <p14:creationId xmlns:p14="http://schemas.microsoft.com/office/powerpoint/2010/main" val="23215231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aphics 3 Dark">
    <p:bg>
      <p:bgRef idx="1001">
        <a:schemeClr val="bg2"/>
      </p:bgRef>
    </p:bg>
    <p:spTree>
      <p:nvGrpSpPr>
        <p:cNvPr id="1" name=""/>
        <p:cNvGrpSpPr/>
        <p:nvPr/>
      </p:nvGrpSpPr>
      <p:grpSpPr>
        <a:xfrm>
          <a:off x="0" y="0"/>
          <a:ext cx="0" cy="0"/>
          <a:chOff x="0" y="0"/>
          <a:chExt cx="0" cy="0"/>
        </a:xfrm>
      </p:grpSpPr>
      <p:sp>
        <p:nvSpPr>
          <p:cNvPr id="28" name="Plassholder for tekst 5">
            <a:extLst>
              <a:ext uri="{FF2B5EF4-FFF2-40B4-BE49-F238E27FC236}">
                <a16:creationId xmlns:a16="http://schemas.microsoft.com/office/drawing/2014/main" id="{9CDB4017-BE49-888F-20E3-874213045C5A}"/>
              </a:ext>
            </a:extLst>
          </p:cNvPr>
          <p:cNvSpPr>
            <a:spLocks noGrp="1"/>
          </p:cNvSpPr>
          <p:nvPr>
            <p:ph type="body" sz="quarter" idx="30" hasCustomPrompt="1"/>
          </p:nvPr>
        </p:nvSpPr>
        <p:spPr>
          <a:xfrm>
            <a:off x="4509679" y="1840621"/>
            <a:ext cx="3138214" cy="3138214"/>
          </a:xfrm>
          <a:prstGeom prst="ellipse">
            <a:avLst/>
          </a:prstGeom>
          <a:solidFill>
            <a:schemeClr val="tx1"/>
          </a:solidFill>
          <a:ln w="31750">
            <a:noFill/>
          </a:ln>
        </p:spPr>
        <p:txBody>
          <a:bodyPr/>
          <a:lstStyle>
            <a:lvl1pPr marL="0" indent="0">
              <a:buNone/>
              <a:defRPr/>
            </a:lvl1pPr>
          </a:lstStyle>
          <a:p>
            <a:pPr lvl="0"/>
            <a:r>
              <a:rPr lang="nb-NO"/>
              <a:t> </a:t>
            </a:r>
          </a:p>
        </p:txBody>
      </p:sp>
      <p:sp>
        <p:nvSpPr>
          <p:cNvPr id="27" name="Plassholder for tekst 5">
            <a:extLst>
              <a:ext uri="{FF2B5EF4-FFF2-40B4-BE49-F238E27FC236}">
                <a16:creationId xmlns:a16="http://schemas.microsoft.com/office/drawing/2014/main" id="{5A757843-C894-C2DE-32D9-3DB09E822784}"/>
              </a:ext>
            </a:extLst>
          </p:cNvPr>
          <p:cNvSpPr>
            <a:spLocks noGrp="1"/>
          </p:cNvSpPr>
          <p:nvPr>
            <p:ph type="body" sz="quarter" idx="29" hasCustomPrompt="1"/>
          </p:nvPr>
        </p:nvSpPr>
        <p:spPr>
          <a:xfrm>
            <a:off x="3633746" y="1150864"/>
            <a:ext cx="4726185" cy="4571987"/>
          </a:xfrm>
          <a:prstGeom prst="ellipse">
            <a:avLst/>
          </a:prstGeom>
          <a:noFill/>
          <a:ln w="25400">
            <a:solidFill>
              <a:schemeClr val="tx2"/>
            </a:solidFill>
          </a:ln>
        </p:spPr>
        <p:txBody>
          <a:bodyPr/>
          <a:lstStyle>
            <a:lvl1pPr marL="0" indent="0">
              <a:buNone/>
              <a:defRPr/>
            </a:lvl1pPr>
          </a:lstStyle>
          <a:p>
            <a:pPr lvl="0"/>
            <a:r>
              <a:rPr lang="nb-NO"/>
              <a:t> </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4" name="Plassholder for tekst 3">
            <a:extLst>
              <a:ext uri="{FF2B5EF4-FFF2-40B4-BE49-F238E27FC236}">
                <a16:creationId xmlns:a16="http://schemas.microsoft.com/office/drawing/2014/main" id="{5B486864-91FD-3583-D495-63D845FD6C69}"/>
              </a:ext>
            </a:extLst>
          </p:cNvPr>
          <p:cNvSpPr>
            <a:spLocks noGrp="1"/>
          </p:cNvSpPr>
          <p:nvPr>
            <p:ph type="body" sz="quarter" idx="20" hasCustomPrompt="1"/>
          </p:nvPr>
        </p:nvSpPr>
        <p:spPr>
          <a:xfrm>
            <a:off x="4709544" y="2579067"/>
            <a:ext cx="2659925" cy="1719407"/>
          </a:xfrm>
          <a:prstGeom prst="rect">
            <a:avLst/>
          </a:prstGeom>
        </p:spPr>
        <p:txBody>
          <a:bodyPr anchor="ctr"/>
          <a:lstStyle>
            <a:lvl1pPr marL="0" indent="0" algn="ctr">
              <a:buNone/>
              <a:defRPr b="0" i="0">
                <a:solidFill>
                  <a:schemeClr val="bg2"/>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9BB7B2D1-A53A-76A4-88A6-E19733835CB5}"/>
              </a:ext>
            </a:extLst>
          </p:cNvPr>
          <p:cNvSpPr>
            <a:spLocks noGrp="1"/>
          </p:cNvSpPr>
          <p:nvPr>
            <p:ph type="body" sz="quarter" idx="21" hasCustomPrompt="1"/>
          </p:nvPr>
        </p:nvSpPr>
        <p:spPr>
          <a:xfrm>
            <a:off x="4075737" y="1380294"/>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7" name="Plassholder for tekst 5">
            <a:extLst>
              <a:ext uri="{FF2B5EF4-FFF2-40B4-BE49-F238E27FC236}">
                <a16:creationId xmlns:a16="http://schemas.microsoft.com/office/drawing/2014/main" id="{E1C153C7-2794-B855-B0C8-58F2F25B585A}"/>
              </a:ext>
            </a:extLst>
          </p:cNvPr>
          <p:cNvSpPr>
            <a:spLocks noGrp="1"/>
          </p:cNvSpPr>
          <p:nvPr>
            <p:ph type="body" sz="quarter" idx="22" hasCustomPrompt="1"/>
          </p:nvPr>
        </p:nvSpPr>
        <p:spPr>
          <a:xfrm>
            <a:off x="5740454" y="834936"/>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8" name="Plassholder for tekst 5">
            <a:extLst>
              <a:ext uri="{FF2B5EF4-FFF2-40B4-BE49-F238E27FC236}">
                <a16:creationId xmlns:a16="http://schemas.microsoft.com/office/drawing/2014/main" id="{1C292E1C-BC77-1DE4-3737-FC0EF1DB8A7D}"/>
              </a:ext>
            </a:extLst>
          </p:cNvPr>
          <p:cNvSpPr>
            <a:spLocks noGrp="1"/>
          </p:cNvSpPr>
          <p:nvPr>
            <p:ph type="body" sz="quarter" idx="23" hasCustomPrompt="1"/>
          </p:nvPr>
        </p:nvSpPr>
        <p:spPr>
          <a:xfrm>
            <a:off x="7266231" y="1374951"/>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9" name="Plassholder for tekst 5">
            <a:extLst>
              <a:ext uri="{FF2B5EF4-FFF2-40B4-BE49-F238E27FC236}">
                <a16:creationId xmlns:a16="http://schemas.microsoft.com/office/drawing/2014/main" id="{05DFA14B-5682-D3EB-B0BC-1D48BF516D86}"/>
              </a:ext>
            </a:extLst>
          </p:cNvPr>
          <p:cNvSpPr>
            <a:spLocks noGrp="1"/>
          </p:cNvSpPr>
          <p:nvPr>
            <p:ph type="body" sz="quarter" idx="24" hasCustomPrompt="1"/>
          </p:nvPr>
        </p:nvSpPr>
        <p:spPr>
          <a:xfrm>
            <a:off x="7974510" y="2989065"/>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13" name="Plassholder for tekst 5">
            <a:extLst>
              <a:ext uri="{FF2B5EF4-FFF2-40B4-BE49-F238E27FC236}">
                <a16:creationId xmlns:a16="http://schemas.microsoft.com/office/drawing/2014/main" id="{219505B2-8C17-4F1A-2C0D-DE23F36EBAB0}"/>
              </a:ext>
            </a:extLst>
          </p:cNvPr>
          <p:cNvSpPr>
            <a:spLocks noGrp="1"/>
          </p:cNvSpPr>
          <p:nvPr>
            <p:ph type="body" sz="quarter" idx="25" hasCustomPrompt="1"/>
          </p:nvPr>
        </p:nvSpPr>
        <p:spPr>
          <a:xfrm>
            <a:off x="7404216" y="46190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4" name="Plassholder for tekst 5">
            <a:extLst>
              <a:ext uri="{FF2B5EF4-FFF2-40B4-BE49-F238E27FC236}">
                <a16:creationId xmlns:a16="http://schemas.microsoft.com/office/drawing/2014/main" id="{F0344697-590B-C6FE-5ABE-68A43CEA954A}"/>
              </a:ext>
            </a:extLst>
          </p:cNvPr>
          <p:cNvSpPr>
            <a:spLocks noGrp="1"/>
          </p:cNvSpPr>
          <p:nvPr>
            <p:ph type="body" sz="quarter" idx="26" hasCustomPrompt="1"/>
          </p:nvPr>
        </p:nvSpPr>
        <p:spPr>
          <a:xfrm>
            <a:off x="5740454" y="53362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5" name="Plassholder for tekst 5">
            <a:extLst>
              <a:ext uri="{FF2B5EF4-FFF2-40B4-BE49-F238E27FC236}">
                <a16:creationId xmlns:a16="http://schemas.microsoft.com/office/drawing/2014/main" id="{4C91EE00-314B-8844-6BC6-C758BEBF7D64}"/>
              </a:ext>
            </a:extLst>
          </p:cNvPr>
          <p:cNvSpPr>
            <a:spLocks noGrp="1"/>
          </p:cNvSpPr>
          <p:nvPr>
            <p:ph type="body" sz="quarter" idx="27" hasCustomPrompt="1"/>
          </p:nvPr>
        </p:nvSpPr>
        <p:spPr>
          <a:xfrm>
            <a:off x="3897628" y="46190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6" name="Plassholder for tekst 5">
            <a:extLst>
              <a:ext uri="{FF2B5EF4-FFF2-40B4-BE49-F238E27FC236}">
                <a16:creationId xmlns:a16="http://schemas.microsoft.com/office/drawing/2014/main" id="{F5CA0D37-B617-0C9A-D510-781C28F93398}"/>
              </a:ext>
            </a:extLst>
          </p:cNvPr>
          <p:cNvSpPr>
            <a:spLocks noGrp="1"/>
          </p:cNvSpPr>
          <p:nvPr>
            <p:ph type="body" sz="quarter" idx="28" hasCustomPrompt="1"/>
          </p:nvPr>
        </p:nvSpPr>
        <p:spPr>
          <a:xfrm>
            <a:off x="3302180" y="2989064"/>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42" name="Plassholder for tekst 50">
            <a:extLst>
              <a:ext uri="{FF2B5EF4-FFF2-40B4-BE49-F238E27FC236}">
                <a16:creationId xmlns:a16="http://schemas.microsoft.com/office/drawing/2014/main" id="{7B5B94E5-3124-497D-2A2E-F0360569B581}"/>
              </a:ext>
            </a:extLst>
          </p:cNvPr>
          <p:cNvSpPr>
            <a:spLocks noGrp="1"/>
          </p:cNvSpPr>
          <p:nvPr>
            <p:ph type="body" sz="quarter" idx="13"/>
          </p:nvPr>
        </p:nvSpPr>
        <p:spPr>
          <a:xfrm>
            <a:off x="8845658" y="3031290"/>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Content </a:t>
            </a:r>
            <a:r>
              <a:rPr lang="nb-NO" err="1"/>
              <a:t>production</a:t>
            </a:r>
            <a:r>
              <a:rPr lang="nb-NO"/>
              <a:t>, </a:t>
            </a:r>
            <a:r>
              <a:rPr lang="nb-NO" err="1"/>
              <a:t>incl</a:t>
            </a:r>
            <a:r>
              <a:rPr lang="nb-NO"/>
              <a:t>. video</a:t>
            </a:r>
          </a:p>
        </p:txBody>
      </p:sp>
      <p:sp>
        <p:nvSpPr>
          <p:cNvPr id="43" name="Plassholder for tekst 51">
            <a:extLst>
              <a:ext uri="{FF2B5EF4-FFF2-40B4-BE49-F238E27FC236}">
                <a16:creationId xmlns:a16="http://schemas.microsoft.com/office/drawing/2014/main" id="{74F548DE-92C3-9B50-4277-C9EFDC6ED908}"/>
              </a:ext>
            </a:extLst>
          </p:cNvPr>
          <p:cNvSpPr>
            <a:spLocks noGrp="1"/>
          </p:cNvSpPr>
          <p:nvPr>
            <p:ph type="body" sz="quarter" idx="14"/>
          </p:nvPr>
        </p:nvSpPr>
        <p:spPr>
          <a:xfrm>
            <a:off x="4851144" y="430546"/>
            <a:ext cx="2386800" cy="362872"/>
          </a:xfrm>
          <a:prstGeom prst="roundRect">
            <a:avLst/>
          </a:prstGeom>
        </p:spPr>
        <p:txBody>
          <a:bodyPr/>
          <a:lstStyle>
            <a:lvl1pPr marL="0" indent="0" algn="ctr">
              <a:buNone/>
              <a:defRPr sz="1600" b="0" i="0">
                <a:latin typeface="Haffer Light" pitchFamily="2" charset="77"/>
                <a:cs typeface="Haffer Light" pitchFamily="2" charset="77"/>
              </a:defRPr>
            </a:lvl1pPr>
          </a:lstStyle>
          <a:p>
            <a:pPr algn="ctr"/>
            <a:r>
              <a:rPr lang="nb-NO"/>
              <a:t>PR</a:t>
            </a:r>
          </a:p>
        </p:txBody>
      </p:sp>
      <p:sp>
        <p:nvSpPr>
          <p:cNvPr id="44" name="Plassholder for tekst 52">
            <a:extLst>
              <a:ext uri="{FF2B5EF4-FFF2-40B4-BE49-F238E27FC236}">
                <a16:creationId xmlns:a16="http://schemas.microsoft.com/office/drawing/2014/main" id="{00086624-5EF4-744B-5787-A67226CC28CD}"/>
              </a:ext>
            </a:extLst>
          </p:cNvPr>
          <p:cNvSpPr>
            <a:spLocks noGrp="1"/>
          </p:cNvSpPr>
          <p:nvPr>
            <p:ph type="body" sz="quarter" idx="15"/>
          </p:nvPr>
        </p:nvSpPr>
        <p:spPr>
          <a:xfrm>
            <a:off x="1246946" y="4766516"/>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Visibility</a:t>
            </a:r>
            <a:r>
              <a:rPr lang="nb-NO"/>
              <a:t> in </a:t>
            </a:r>
            <a:r>
              <a:rPr lang="nb-NO" err="1"/>
              <a:t>new</a:t>
            </a:r>
            <a:r>
              <a:rPr lang="nb-NO"/>
              <a:t> </a:t>
            </a:r>
            <a:r>
              <a:rPr lang="nb-NO" err="1"/>
              <a:t>channels</a:t>
            </a:r>
            <a:r>
              <a:rPr lang="nb-NO"/>
              <a:t>?</a:t>
            </a:r>
          </a:p>
        </p:txBody>
      </p:sp>
      <p:sp>
        <p:nvSpPr>
          <p:cNvPr id="45" name="Plassholder for tekst 53">
            <a:extLst>
              <a:ext uri="{FF2B5EF4-FFF2-40B4-BE49-F238E27FC236}">
                <a16:creationId xmlns:a16="http://schemas.microsoft.com/office/drawing/2014/main" id="{A7CDEA16-3E8F-21D0-E2C6-F3E27858C5CF}"/>
              </a:ext>
            </a:extLst>
          </p:cNvPr>
          <p:cNvSpPr>
            <a:spLocks noGrp="1"/>
          </p:cNvSpPr>
          <p:nvPr>
            <p:ph type="body" sz="quarter" idx="16"/>
          </p:nvPr>
        </p:nvSpPr>
        <p:spPr>
          <a:xfrm>
            <a:off x="8359931" y="4769714"/>
            <a:ext cx="2736265"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Go-to-</a:t>
            </a:r>
            <a:r>
              <a:rPr lang="nb-NO" err="1"/>
              <a:t>market</a:t>
            </a:r>
            <a:r>
              <a:rPr lang="nb-NO"/>
              <a:t> </a:t>
            </a:r>
            <a:r>
              <a:rPr lang="nb-NO" err="1"/>
              <a:t>strategy</a:t>
            </a:r>
            <a:r>
              <a:rPr lang="nb-NO"/>
              <a:t> for </a:t>
            </a:r>
            <a:r>
              <a:rPr lang="nb-NO" err="1"/>
              <a:t>chosen</a:t>
            </a:r>
            <a:r>
              <a:rPr lang="nb-NO"/>
              <a:t> </a:t>
            </a:r>
            <a:r>
              <a:rPr lang="nb-NO" err="1"/>
              <a:t>markets</a:t>
            </a:r>
            <a:r>
              <a:rPr lang="nb-NO"/>
              <a:t>/</a:t>
            </a:r>
            <a:r>
              <a:rPr lang="nb-NO" err="1"/>
              <a:t>industries</a:t>
            </a:r>
            <a:endParaRPr lang="nb-NO"/>
          </a:p>
        </p:txBody>
      </p:sp>
      <p:sp>
        <p:nvSpPr>
          <p:cNvPr id="46" name="Plassholder for tekst 54">
            <a:extLst>
              <a:ext uri="{FF2B5EF4-FFF2-40B4-BE49-F238E27FC236}">
                <a16:creationId xmlns:a16="http://schemas.microsoft.com/office/drawing/2014/main" id="{6E1489DF-1E2B-FB05-887B-0C567567AC58}"/>
              </a:ext>
            </a:extLst>
          </p:cNvPr>
          <p:cNvSpPr>
            <a:spLocks noGrp="1"/>
          </p:cNvSpPr>
          <p:nvPr>
            <p:ph type="body" sz="quarter" idx="17"/>
          </p:nvPr>
        </p:nvSpPr>
        <p:spPr>
          <a:xfrm>
            <a:off x="8289307" y="1360863"/>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err="1"/>
              <a:t>Inbound</a:t>
            </a:r>
            <a:r>
              <a:rPr lang="nb-NO"/>
              <a:t> </a:t>
            </a:r>
            <a:r>
              <a:rPr lang="nb-NO" err="1"/>
              <a:t>marketing</a:t>
            </a:r>
            <a:r>
              <a:rPr lang="nb-NO"/>
              <a:t> </a:t>
            </a:r>
            <a:r>
              <a:rPr lang="nb-NO" err="1"/>
              <a:t>strategy</a:t>
            </a:r>
            <a:r>
              <a:rPr lang="nb-NO"/>
              <a:t> &amp; </a:t>
            </a:r>
            <a:r>
              <a:rPr lang="nb-NO" err="1"/>
              <a:t>campaign</a:t>
            </a:r>
            <a:r>
              <a:rPr lang="nb-NO"/>
              <a:t> planning</a:t>
            </a:r>
          </a:p>
        </p:txBody>
      </p:sp>
      <p:sp>
        <p:nvSpPr>
          <p:cNvPr id="47" name="Plassholder for tekst 55">
            <a:extLst>
              <a:ext uri="{FF2B5EF4-FFF2-40B4-BE49-F238E27FC236}">
                <a16:creationId xmlns:a16="http://schemas.microsoft.com/office/drawing/2014/main" id="{5FFC9AC6-C609-D742-F52E-7AED56BA0388}"/>
              </a:ext>
            </a:extLst>
          </p:cNvPr>
          <p:cNvSpPr>
            <a:spLocks noGrp="1"/>
          </p:cNvSpPr>
          <p:nvPr>
            <p:ph type="body" sz="quarter" idx="18"/>
          </p:nvPr>
        </p:nvSpPr>
        <p:spPr>
          <a:xfrm>
            <a:off x="749597" y="3090541"/>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Webinars</a:t>
            </a:r>
            <a:r>
              <a:rPr lang="nb-NO"/>
              <a:t> to </a:t>
            </a:r>
            <a:r>
              <a:rPr lang="nb-NO" err="1"/>
              <a:t>educate</a:t>
            </a:r>
            <a:r>
              <a:rPr lang="nb-NO"/>
              <a:t> </a:t>
            </a:r>
            <a:r>
              <a:rPr lang="nb-NO" err="1"/>
              <a:t>the</a:t>
            </a:r>
            <a:r>
              <a:rPr lang="nb-NO"/>
              <a:t> </a:t>
            </a:r>
            <a:r>
              <a:rPr lang="nb-NO" err="1"/>
              <a:t>industry</a:t>
            </a:r>
            <a:endParaRPr lang="nb-NO"/>
          </a:p>
        </p:txBody>
      </p:sp>
      <p:sp>
        <p:nvSpPr>
          <p:cNvPr id="49" name="Plassholder for tekst 56">
            <a:extLst>
              <a:ext uri="{FF2B5EF4-FFF2-40B4-BE49-F238E27FC236}">
                <a16:creationId xmlns:a16="http://schemas.microsoft.com/office/drawing/2014/main" id="{945A3DA5-DA47-FF4C-0F8B-1CD159D624A5}"/>
              </a:ext>
            </a:extLst>
          </p:cNvPr>
          <p:cNvSpPr>
            <a:spLocks noGrp="1"/>
          </p:cNvSpPr>
          <p:nvPr>
            <p:ph type="body" sz="quarter" idx="32"/>
          </p:nvPr>
        </p:nvSpPr>
        <p:spPr>
          <a:xfrm>
            <a:off x="3820051" y="6175277"/>
            <a:ext cx="4653823" cy="756875"/>
          </a:xfrm>
          <a:prstGeom prst="roundRect">
            <a:avLst/>
          </a:prstGeom>
        </p:spPr>
        <p:txBody>
          <a:bodyPr/>
          <a:lstStyle>
            <a:lvl1pPr marL="0" indent="0" algn="ctr">
              <a:buFontTx/>
              <a:buNone/>
              <a:defRPr sz="1600" b="0" i="0">
                <a:latin typeface="Haffer Light" pitchFamily="2" charset="77"/>
                <a:cs typeface="Haffer Light" pitchFamily="2" charset="77"/>
              </a:defRPr>
            </a:lvl1pPr>
          </a:lstStyle>
          <a:p>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51" name="Plassholder for tekst 57">
            <a:extLst>
              <a:ext uri="{FF2B5EF4-FFF2-40B4-BE49-F238E27FC236}">
                <a16:creationId xmlns:a16="http://schemas.microsoft.com/office/drawing/2014/main" id="{2C0BCCB4-BD88-1773-B464-5AC6B6385E96}"/>
              </a:ext>
            </a:extLst>
          </p:cNvPr>
          <p:cNvSpPr>
            <a:spLocks noGrp="1"/>
          </p:cNvSpPr>
          <p:nvPr>
            <p:ph type="body" sz="quarter" idx="33"/>
          </p:nvPr>
        </p:nvSpPr>
        <p:spPr>
          <a:xfrm>
            <a:off x="1433251" y="1360863"/>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a:t>Professional </a:t>
            </a:r>
            <a:r>
              <a:rPr lang="nb-NO" err="1"/>
              <a:t>visual</a:t>
            </a:r>
            <a:r>
              <a:rPr lang="nb-NO"/>
              <a:t> brand </a:t>
            </a:r>
            <a:r>
              <a:rPr lang="nb-NO" err="1"/>
              <a:t>identity</a:t>
            </a:r>
            <a:endParaRPr lang="nb-NO"/>
          </a:p>
        </p:txBody>
      </p:sp>
      <p:pic>
        <p:nvPicPr>
          <p:cNvPr id="2" name="Grafikk 1">
            <a:extLst>
              <a:ext uri="{FF2B5EF4-FFF2-40B4-BE49-F238E27FC236}">
                <a16:creationId xmlns:a16="http://schemas.microsoft.com/office/drawing/2014/main" id="{BF79DC8A-D9A6-EFAD-A275-7ECFAAFB36A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410145221"/>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x Table/diagram + title">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3" name="Plassholder for innhold 6">
            <a:extLst>
              <a:ext uri="{FF2B5EF4-FFF2-40B4-BE49-F238E27FC236}">
                <a16:creationId xmlns:a16="http://schemas.microsoft.com/office/drawing/2014/main" id="{B5DB6CE8-CE26-AC39-40C8-BA6D212FA7BA}"/>
              </a:ext>
            </a:extLst>
          </p:cNvPr>
          <p:cNvSpPr>
            <a:spLocks noGrp="1"/>
          </p:cNvSpPr>
          <p:nvPr>
            <p:ph sz="quarter" idx="13" hasCustomPrompt="1"/>
          </p:nvPr>
        </p:nvSpPr>
        <p:spPr>
          <a:xfrm>
            <a:off x="960438" y="2178424"/>
            <a:ext cx="4862293" cy="4096733"/>
          </a:xfrm>
          <a:prstGeom prst="rect">
            <a:avLst/>
          </a:prstGeom>
        </p:spPr>
        <p:txBody>
          <a:bodyPr/>
          <a:lstStyle>
            <a:lvl1pPr marL="0" indent="0">
              <a:buNone/>
              <a:defRPr/>
            </a:lvl1pPr>
          </a:lstStyle>
          <a:p>
            <a:pPr lvl="0"/>
            <a:r>
              <a:rPr lang="nb-NO" err="1"/>
              <a:t>Table</a:t>
            </a:r>
            <a:r>
              <a:rPr lang="nb-NO"/>
              <a:t>/diagram slide</a:t>
            </a:r>
          </a:p>
        </p:txBody>
      </p:sp>
      <p:sp>
        <p:nvSpPr>
          <p:cNvPr id="2" name="Plassholder for innhold 6">
            <a:extLst>
              <a:ext uri="{FF2B5EF4-FFF2-40B4-BE49-F238E27FC236}">
                <a16:creationId xmlns:a16="http://schemas.microsoft.com/office/drawing/2014/main" id="{3BB056B2-AB73-2C0D-D171-57B0E19CDD0F}"/>
              </a:ext>
            </a:extLst>
          </p:cNvPr>
          <p:cNvSpPr>
            <a:spLocks noGrp="1"/>
          </p:cNvSpPr>
          <p:nvPr>
            <p:ph sz="quarter" idx="14" hasCustomPrompt="1"/>
          </p:nvPr>
        </p:nvSpPr>
        <p:spPr>
          <a:xfrm>
            <a:off x="6369270" y="2178424"/>
            <a:ext cx="4845270" cy="4096733"/>
          </a:xfrm>
          <a:prstGeom prst="rect">
            <a:avLst/>
          </a:prstGeom>
        </p:spPr>
        <p:txBody>
          <a:bodyPr/>
          <a:lstStyle>
            <a:lvl1pPr marL="0" indent="0">
              <a:buNone/>
              <a:defRPr/>
            </a:lvl1pPr>
          </a:lstStyle>
          <a:p>
            <a:pPr lvl="0"/>
            <a:r>
              <a:rPr lang="nb-NO" err="1"/>
              <a:t>Table</a:t>
            </a:r>
            <a:r>
              <a:rPr lang="nb-NO"/>
              <a:t>/diagram slide</a:t>
            </a:r>
          </a:p>
        </p:txBody>
      </p:sp>
      <p:sp>
        <p:nvSpPr>
          <p:cNvPr id="3" name="Rektangel 2">
            <a:extLst>
              <a:ext uri="{FF2B5EF4-FFF2-40B4-BE49-F238E27FC236}">
                <a16:creationId xmlns:a16="http://schemas.microsoft.com/office/drawing/2014/main" id="{2F41C353-6034-3559-0B94-6253E70A09CB}"/>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Tree>
    <p:extLst>
      <p:ext uri="{BB962C8B-B14F-4D97-AF65-F5344CB8AC3E}">
        <p14:creationId xmlns:p14="http://schemas.microsoft.com/office/powerpoint/2010/main" val="16252507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diagram + title">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3" name="Plassholder for innhold 6">
            <a:extLst>
              <a:ext uri="{FF2B5EF4-FFF2-40B4-BE49-F238E27FC236}">
                <a16:creationId xmlns:a16="http://schemas.microsoft.com/office/drawing/2014/main" id="{B5DB6CE8-CE26-AC39-40C8-BA6D212FA7BA}"/>
              </a:ext>
            </a:extLst>
          </p:cNvPr>
          <p:cNvSpPr>
            <a:spLocks noGrp="1"/>
          </p:cNvSpPr>
          <p:nvPr>
            <p:ph sz="quarter" idx="13" hasCustomPrompt="1"/>
          </p:nvPr>
        </p:nvSpPr>
        <p:spPr>
          <a:xfrm>
            <a:off x="960438" y="2178424"/>
            <a:ext cx="10174287" cy="4096733"/>
          </a:xfrm>
          <a:prstGeom prst="rect">
            <a:avLst/>
          </a:prstGeom>
        </p:spPr>
        <p:txBody>
          <a:bodyPr/>
          <a:lstStyle>
            <a:lvl1pPr marL="0" indent="0">
              <a:buNone/>
              <a:defRPr/>
            </a:lvl1pPr>
          </a:lstStyle>
          <a:p>
            <a:pPr lvl="0"/>
            <a:r>
              <a:rPr lang="nb-NO" err="1"/>
              <a:t>Table</a:t>
            </a:r>
            <a:r>
              <a:rPr lang="nb-NO"/>
              <a:t>/diagram slide</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Tree>
    <p:extLst>
      <p:ext uri="{BB962C8B-B14F-4D97-AF65-F5344CB8AC3E}">
        <p14:creationId xmlns:p14="http://schemas.microsoft.com/office/powerpoint/2010/main" val="40848664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le + subtitle - green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C1E1F7-F265-7C6D-4BA2-E2E2BAA585B6}"/>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aphic 10">
            <a:extLst>
              <a:ext uri="{FF2B5EF4-FFF2-40B4-BE49-F238E27FC236}">
                <a16:creationId xmlns:a16="http://schemas.microsoft.com/office/drawing/2014/main" id="{FD5784AF-26F9-73A8-0162-44DAEB45C30D}"/>
              </a:ext>
            </a:extLst>
          </p:cNvPr>
          <p:cNvGrpSpPr/>
          <p:nvPr userDrawn="1"/>
        </p:nvGrpSpPr>
        <p:grpSpPr>
          <a:xfrm>
            <a:off x="10156640" y="561169"/>
            <a:ext cx="1498921" cy="256736"/>
            <a:chOff x="1869557" y="3038867"/>
            <a:chExt cx="4569287" cy="782630"/>
          </a:xfrm>
          <a:solidFill>
            <a:schemeClr val="bg1"/>
          </a:solidFill>
        </p:grpSpPr>
        <p:sp>
          <p:nvSpPr>
            <p:cNvPr id="6" name="Freeform: Shape 12">
              <a:extLst>
                <a:ext uri="{FF2B5EF4-FFF2-40B4-BE49-F238E27FC236}">
                  <a16:creationId xmlns:a16="http://schemas.microsoft.com/office/drawing/2014/main" id="{392A124E-C2A9-A2D4-2102-5D014E85032B}"/>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7" name="Freeform: Shape 13">
              <a:extLst>
                <a:ext uri="{FF2B5EF4-FFF2-40B4-BE49-F238E27FC236}">
                  <a16:creationId xmlns:a16="http://schemas.microsoft.com/office/drawing/2014/main" id="{19A32EFA-96B1-A59B-B049-E73D5587AE40}"/>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8" name="Freeform: Shape 14">
              <a:extLst>
                <a:ext uri="{FF2B5EF4-FFF2-40B4-BE49-F238E27FC236}">
                  <a16:creationId xmlns:a16="http://schemas.microsoft.com/office/drawing/2014/main" id="{66000DB6-94F7-CF84-F2C9-18D67E6CE17D}"/>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9" name="Freeform: Shape 15">
              <a:extLst>
                <a:ext uri="{FF2B5EF4-FFF2-40B4-BE49-F238E27FC236}">
                  <a16:creationId xmlns:a16="http://schemas.microsoft.com/office/drawing/2014/main" id="{B325851D-D7DB-A89B-71B6-B11356B0572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E8EBE1A0-4D6B-61D6-64E0-901817BEDB77}"/>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BCAAE52F-9A1A-7B57-637E-E1A538390102}"/>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sp>
        <p:nvSpPr>
          <p:cNvPr id="20" name="Plassholder for tekst 19">
            <a:extLst>
              <a:ext uri="{FF2B5EF4-FFF2-40B4-BE49-F238E27FC236}">
                <a16:creationId xmlns:a16="http://schemas.microsoft.com/office/drawing/2014/main" id="{B56A677A-4599-FE37-6CC6-61F08D43165D}"/>
              </a:ext>
            </a:extLst>
          </p:cNvPr>
          <p:cNvSpPr>
            <a:spLocks noGrp="1"/>
          </p:cNvSpPr>
          <p:nvPr>
            <p:ph type="body" sz="quarter" idx="10"/>
          </p:nvPr>
        </p:nvSpPr>
        <p:spPr>
          <a:xfrm>
            <a:off x="1436071" y="2342928"/>
            <a:ext cx="8471189" cy="1700081"/>
          </a:xfrm>
          <a:prstGeom prst="rect">
            <a:avLst/>
          </a:prstGeom>
        </p:spPr>
        <p:txBody>
          <a:bodyPr anchor="b"/>
          <a:lstStyle>
            <a:lvl1pPr marL="0" indent="0">
              <a:buNone/>
              <a:defRPr sz="5000">
                <a:solidFill>
                  <a:schemeClr val="bg1"/>
                </a:solidFill>
                <a:latin typeface="Haffer" pitchFamily="2" charset="77"/>
                <a:cs typeface="Haffer" pitchFamily="2" charset="77"/>
              </a:defRPr>
            </a:lvl1pPr>
          </a:lstStyle>
          <a:p>
            <a:pPr lvl="0"/>
            <a:r>
              <a:rPr lang="nb-NO"/>
              <a:t>Klikk for å redigere tekststiler i malen</a:t>
            </a:r>
          </a:p>
          <a:p>
            <a:pPr lvl="1"/>
            <a:r>
              <a:rPr lang="nb-NO"/>
              <a:t>Andre nivå</a:t>
            </a:r>
          </a:p>
        </p:txBody>
      </p:sp>
      <p:sp>
        <p:nvSpPr>
          <p:cNvPr id="21" name="Plassholder for tekst 19">
            <a:extLst>
              <a:ext uri="{FF2B5EF4-FFF2-40B4-BE49-F238E27FC236}">
                <a16:creationId xmlns:a16="http://schemas.microsoft.com/office/drawing/2014/main" id="{3EB3F4BB-33E8-B7A7-C733-4AC6AA42F6D8}"/>
              </a:ext>
            </a:extLst>
          </p:cNvPr>
          <p:cNvSpPr>
            <a:spLocks noGrp="1"/>
          </p:cNvSpPr>
          <p:nvPr>
            <p:ph type="body" sz="quarter" idx="11" hasCustomPrompt="1"/>
          </p:nvPr>
        </p:nvSpPr>
        <p:spPr>
          <a:xfrm>
            <a:off x="1436071" y="4269969"/>
            <a:ext cx="8471189" cy="1700081"/>
          </a:xfrm>
          <a:prstGeom prst="rect">
            <a:avLst/>
          </a:prstGeom>
        </p:spPr>
        <p:txBody>
          <a:bodyPr anchor="t"/>
          <a:lstStyle>
            <a:lvl1pPr marL="0" indent="0">
              <a:buNone/>
              <a:defRPr sz="2500" b="0" i="0">
                <a:solidFill>
                  <a:schemeClr val="bg1"/>
                </a:solidFill>
                <a:latin typeface="Haffer Light" pitchFamily="2" charset="77"/>
                <a:cs typeface="Haffer Light" pitchFamily="2" charset="77"/>
              </a:defRPr>
            </a:lvl1pPr>
          </a:lstStyle>
          <a:p>
            <a:pPr lvl="0"/>
            <a:r>
              <a:rPr lang="nb-NO" err="1"/>
              <a:t>Subtitle</a:t>
            </a:r>
            <a:endParaRPr lang="nb-NO"/>
          </a:p>
        </p:txBody>
      </p:sp>
      <p:sp>
        <p:nvSpPr>
          <p:cNvPr id="22" name="Ellipse 21">
            <a:extLst>
              <a:ext uri="{FF2B5EF4-FFF2-40B4-BE49-F238E27FC236}">
                <a16:creationId xmlns:a16="http://schemas.microsoft.com/office/drawing/2014/main" id="{6E2B6B66-B6DF-5471-1231-95C4362EBD94}"/>
              </a:ext>
            </a:extLst>
          </p:cNvPr>
          <p:cNvSpPr/>
          <p:nvPr userDrawn="1"/>
        </p:nvSpPr>
        <p:spPr>
          <a:xfrm>
            <a:off x="-930481" y="-323901"/>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3" name="Ellipse 22">
            <a:extLst>
              <a:ext uri="{FF2B5EF4-FFF2-40B4-BE49-F238E27FC236}">
                <a16:creationId xmlns:a16="http://schemas.microsoft.com/office/drawing/2014/main" id="{07E0728F-FEF8-3C9F-F79C-8CFAFA8805F7}"/>
              </a:ext>
            </a:extLst>
          </p:cNvPr>
          <p:cNvSpPr/>
          <p:nvPr userDrawn="1"/>
        </p:nvSpPr>
        <p:spPr>
          <a:xfrm>
            <a:off x="913925" y="-2107757"/>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24" name="Ellipse 23">
            <a:extLst>
              <a:ext uri="{FF2B5EF4-FFF2-40B4-BE49-F238E27FC236}">
                <a16:creationId xmlns:a16="http://schemas.microsoft.com/office/drawing/2014/main" id="{468A8CD6-C3DF-88E6-999D-44786EBD7C11}"/>
              </a:ext>
            </a:extLst>
          </p:cNvPr>
          <p:cNvSpPr/>
          <p:nvPr userDrawn="1"/>
        </p:nvSpPr>
        <p:spPr>
          <a:xfrm>
            <a:off x="2523919" y="564042"/>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BC39358A-04A8-974B-F444-CAF85106B4F3}"/>
              </a:ext>
            </a:extLst>
          </p:cNvPr>
          <p:cNvSpPr/>
          <p:nvPr userDrawn="1"/>
        </p:nvSpPr>
        <p:spPr>
          <a:xfrm>
            <a:off x="1152640" y="581367"/>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9C08F669-585E-2AA3-CFEB-B6EDD2CB537B}"/>
              </a:ext>
            </a:extLst>
          </p:cNvPr>
          <p:cNvSpPr/>
          <p:nvPr userDrawn="1"/>
        </p:nvSpPr>
        <p:spPr>
          <a:xfrm>
            <a:off x="265833" y="-904006"/>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4291280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Bullets/Bodytext-Dark mode">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C905B97D-755E-6240-4621-8D2305812C27}"/>
              </a:ext>
            </a:extLst>
          </p:cNvPr>
          <p:cNvSpPr/>
          <p:nvPr userDrawn="1"/>
        </p:nvSpPr>
        <p:spPr>
          <a:xfrm rot="5400000">
            <a:off x="2750536"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10" name="Grafikk 9">
            <a:extLst>
              <a:ext uri="{FF2B5EF4-FFF2-40B4-BE49-F238E27FC236}">
                <a16:creationId xmlns:a16="http://schemas.microsoft.com/office/drawing/2014/main" id="{DA177B15-787D-1BB6-535E-1B8AEE7F18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13" name="Plassholder for tekst 5">
            <a:extLst>
              <a:ext uri="{FF2B5EF4-FFF2-40B4-BE49-F238E27FC236}">
                <a16:creationId xmlns:a16="http://schemas.microsoft.com/office/drawing/2014/main" id="{07D3CFA2-1D04-8FEE-6767-EA2B9CF24C6C}"/>
              </a:ext>
            </a:extLst>
          </p:cNvPr>
          <p:cNvSpPr>
            <a:spLocks noGrp="1"/>
          </p:cNvSpPr>
          <p:nvPr>
            <p:ph type="body" sz="quarter" idx="16" hasCustomPrompt="1"/>
          </p:nvPr>
        </p:nvSpPr>
        <p:spPr>
          <a:xfrm>
            <a:off x="959978" y="2072789"/>
            <a:ext cx="10125074"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6" name="Bilde 15">
            <a:extLst>
              <a:ext uri="{FF2B5EF4-FFF2-40B4-BE49-F238E27FC236}">
                <a16:creationId xmlns:a16="http://schemas.microsoft.com/office/drawing/2014/main" id="{0EA9409F-7D93-8254-9BE0-55EF66824365}"/>
              </a:ext>
            </a:extLst>
          </p:cNvPr>
          <p:cNvPicPr>
            <a:picLocks noChangeAspect="1"/>
          </p:cNvPicPr>
          <p:nvPr userDrawn="1"/>
        </p:nvPicPr>
        <p:blipFill>
          <a:blip r:embed="rId4"/>
          <a:stretch>
            <a:fillRect/>
          </a:stretch>
        </p:blipFill>
        <p:spPr>
          <a:xfrm>
            <a:off x="5962650" y="3359150"/>
            <a:ext cx="266700" cy="139700"/>
          </a:xfrm>
          <a:prstGeom prst="rect">
            <a:avLst/>
          </a:prstGeom>
        </p:spPr>
      </p:pic>
    </p:spTree>
    <p:extLst>
      <p:ext uri="{BB962C8B-B14F-4D97-AF65-F5344CB8AC3E}">
        <p14:creationId xmlns:p14="http://schemas.microsoft.com/office/powerpoint/2010/main" val="5977208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 Bullet+Imagebubble-Dark mode">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03CACE40-95CF-2DF2-7DC6-928577C6DF71}"/>
              </a:ext>
            </a:extLst>
          </p:cNvPr>
          <p:cNvSpPr/>
          <p:nvPr userDrawn="1"/>
        </p:nvSpPr>
        <p:spPr>
          <a:xfrm rot="5400000">
            <a:off x="2750536"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19">
            <a:extLst>
              <a:ext uri="{FF2B5EF4-FFF2-40B4-BE49-F238E27FC236}">
                <a16:creationId xmlns:a16="http://schemas.microsoft.com/office/drawing/2014/main" id="{72C5993D-DB0E-DF91-3094-2988C6BD8BE8}"/>
              </a:ext>
            </a:extLst>
          </p:cNvPr>
          <p:cNvSpPr>
            <a:spLocks noGrp="1"/>
          </p:cNvSpPr>
          <p:nvPr>
            <p:ph type="body" sz="quarter" idx="10" hasCustomPrompt="1"/>
          </p:nvPr>
        </p:nvSpPr>
        <p:spPr>
          <a:xfrm>
            <a:off x="959978" y="498764"/>
            <a:ext cx="5917441"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2403DC52-F8D5-2D0B-F4FA-A3753032009F}"/>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tekst 5">
            <a:extLst>
              <a:ext uri="{FF2B5EF4-FFF2-40B4-BE49-F238E27FC236}">
                <a16:creationId xmlns:a16="http://schemas.microsoft.com/office/drawing/2014/main" id="{FE759D3D-8E7D-B5CC-3F1D-E66FAB0D800B}"/>
              </a:ext>
            </a:extLst>
          </p:cNvPr>
          <p:cNvSpPr>
            <a:spLocks noGrp="1"/>
          </p:cNvSpPr>
          <p:nvPr>
            <p:ph type="body" sz="quarter" idx="16" hasCustomPrompt="1"/>
          </p:nvPr>
        </p:nvSpPr>
        <p:spPr>
          <a:xfrm>
            <a:off x="959978" y="2072789"/>
            <a:ext cx="5804087"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1212499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mage left - Title + bullets-Dark mode">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B9190B63-43F0-F825-3D12-6941DAA1B7C3}"/>
              </a:ext>
            </a:extLst>
          </p:cNvPr>
          <p:cNvSpPr/>
          <p:nvPr userDrawn="1"/>
        </p:nvSpPr>
        <p:spPr>
          <a:xfrm rot="5400000">
            <a:off x="2723675" y="-2723676"/>
            <a:ext cx="6858000" cy="123053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pic>
        <p:nvPicPr>
          <p:cNvPr id="6" name="Grafikk 5">
            <a:extLst>
              <a:ext uri="{FF2B5EF4-FFF2-40B4-BE49-F238E27FC236}">
                <a16:creationId xmlns:a16="http://schemas.microsoft.com/office/drawing/2014/main" id="{79F21192-5A24-4610-CD76-2E379F4194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10" name="Plassholder for tekst 5">
            <a:extLst>
              <a:ext uri="{FF2B5EF4-FFF2-40B4-BE49-F238E27FC236}">
                <a16:creationId xmlns:a16="http://schemas.microsoft.com/office/drawing/2014/main" id="{68CF1AE7-40AF-57C6-6FCC-2FEB225A5B6C}"/>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5307258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mage right - Title + bullets-Dark mode">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2592168C-AF0F-98EC-C843-954A0F851959}"/>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latin typeface="Haffer Light" pitchFamily="2" charset="77"/>
              <a:cs typeface="Haffer Light" pitchFamily="2" charset="77"/>
            </a:endParaRPr>
          </a:p>
        </p:txBody>
      </p:sp>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4B39E79F-76D5-BCC0-8ED6-4081CC1B9413}"/>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264060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 bullets + 3 bubble images-Dark mode">
    <p:spTree>
      <p:nvGrpSpPr>
        <p:cNvPr id="1" name=""/>
        <p:cNvGrpSpPr/>
        <p:nvPr/>
      </p:nvGrpSpPr>
      <p:grpSpPr>
        <a:xfrm>
          <a:off x="0" y="0"/>
          <a:ext cx="0" cy="0"/>
          <a:chOff x="0" y="0"/>
          <a:chExt cx="0" cy="0"/>
        </a:xfrm>
      </p:grpSpPr>
      <p:sp>
        <p:nvSpPr>
          <p:cNvPr id="29" name="Rectangle 3">
            <a:extLst>
              <a:ext uri="{FF2B5EF4-FFF2-40B4-BE49-F238E27FC236}">
                <a16:creationId xmlns:a16="http://schemas.microsoft.com/office/drawing/2014/main" id="{ECBC1048-E14B-ED1F-4443-F917DE7CDAA2}"/>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3" name="Grafikk 2">
            <a:extLst>
              <a:ext uri="{FF2B5EF4-FFF2-40B4-BE49-F238E27FC236}">
                <a16:creationId xmlns:a16="http://schemas.microsoft.com/office/drawing/2014/main" id="{3F5BF64D-832E-3A7F-B479-1CF0AE30E5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8" name="Plassholder for tekst 5">
            <a:extLst>
              <a:ext uri="{FF2B5EF4-FFF2-40B4-BE49-F238E27FC236}">
                <a16:creationId xmlns:a16="http://schemas.microsoft.com/office/drawing/2014/main" id="{41C426D6-A6F7-D098-F1BB-2269FE2607C3}"/>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6057379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bullets + bubble images/green-Dark mode">
    <p:spTree>
      <p:nvGrpSpPr>
        <p:cNvPr id="1" name=""/>
        <p:cNvGrpSpPr/>
        <p:nvPr/>
      </p:nvGrpSpPr>
      <p:grpSpPr>
        <a:xfrm>
          <a:off x="0" y="0"/>
          <a:ext cx="0" cy="0"/>
          <a:chOff x="0" y="0"/>
          <a:chExt cx="0" cy="0"/>
        </a:xfrm>
      </p:grpSpPr>
      <p:sp>
        <p:nvSpPr>
          <p:cNvPr id="29" name="Rectangle 3">
            <a:extLst>
              <a:ext uri="{FF2B5EF4-FFF2-40B4-BE49-F238E27FC236}">
                <a16:creationId xmlns:a16="http://schemas.microsoft.com/office/drawing/2014/main" id="{ECBC1048-E14B-ED1F-4443-F917DE7CDAA2}"/>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4" name="Ellipse 13">
            <a:extLst>
              <a:ext uri="{FF2B5EF4-FFF2-40B4-BE49-F238E27FC236}">
                <a16:creationId xmlns:a16="http://schemas.microsoft.com/office/drawing/2014/main" id="{B2716FA1-1FCB-5FEF-5208-E8F88210A68C}"/>
              </a:ext>
            </a:extLst>
          </p:cNvPr>
          <p:cNvSpPr/>
          <p:nvPr userDrawn="1"/>
        </p:nvSpPr>
        <p:spPr>
          <a:xfrm>
            <a:off x="8101603" y="2217210"/>
            <a:ext cx="720000" cy="719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303325B3-5EA7-7464-CDEC-FADEF471E278}"/>
              </a:ext>
            </a:extLst>
          </p:cNvPr>
          <p:cNvSpPr/>
          <p:nvPr userDrawn="1"/>
        </p:nvSpPr>
        <p:spPr>
          <a:xfrm>
            <a:off x="10589821" y="4133056"/>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Ellipse 15">
            <a:extLst>
              <a:ext uri="{FF2B5EF4-FFF2-40B4-BE49-F238E27FC236}">
                <a16:creationId xmlns:a16="http://schemas.microsoft.com/office/drawing/2014/main" id="{692BD8C2-16A8-F895-8F27-82FC86A11431}"/>
              </a:ext>
            </a:extLst>
          </p:cNvPr>
          <p:cNvSpPr/>
          <p:nvPr userDrawn="1"/>
        </p:nvSpPr>
        <p:spPr>
          <a:xfrm>
            <a:off x="9625603" y="-798977"/>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A3045E08-DDB0-1AC0-6D04-FE478D06F6EF}"/>
              </a:ext>
            </a:extLst>
          </p:cNvPr>
          <p:cNvSpPr/>
          <p:nvPr userDrawn="1"/>
        </p:nvSpPr>
        <p:spPr>
          <a:xfrm>
            <a:off x="10602505" y="6252359"/>
            <a:ext cx="1862137" cy="186213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31" name="Grafikk 30">
            <a:extLst>
              <a:ext uri="{FF2B5EF4-FFF2-40B4-BE49-F238E27FC236}">
                <a16:creationId xmlns:a16="http://schemas.microsoft.com/office/drawing/2014/main" id="{1170CEEC-126B-6FAD-E020-6C9F17252E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32" name="Plassholder for tekst 5">
            <a:extLst>
              <a:ext uri="{FF2B5EF4-FFF2-40B4-BE49-F238E27FC236}">
                <a16:creationId xmlns:a16="http://schemas.microsoft.com/office/drawing/2014/main" id="{AC7B74B5-A938-0EC3-CC96-291665FF1D61}"/>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34925536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ontel News">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2">
            <a:extLst>
              <a:ext uri="{FF2B5EF4-FFF2-40B4-BE49-F238E27FC236}">
                <a16:creationId xmlns:a16="http://schemas.microsoft.com/office/drawing/2014/main" id="{CD592C1A-C33E-D0FD-C9C3-AABFA0FA56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1988838"/>
            <a:ext cx="4779864" cy="1725612"/>
          </a:xfrm>
          <a:prstGeom prst="rect">
            <a:avLst/>
          </a:prstGeom>
        </p:spPr>
      </p:pic>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1683833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5FED5E2E-4C7D-EE8C-FFE4-86A1C09FA19F}"/>
              </a:ext>
            </a:extLst>
          </p:cNvPr>
          <p:cNvPicPr>
            <a:picLocks noChangeAspect="1"/>
          </p:cNvPicPr>
          <p:nvPr userDrawn="1"/>
        </p:nvPicPr>
        <p:blipFill>
          <a:blip r:embed="rId4"/>
          <a:stretch>
            <a:fillRect/>
          </a:stretch>
        </p:blipFill>
        <p:spPr>
          <a:xfrm>
            <a:off x="11546205" y="234873"/>
            <a:ext cx="399735" cy="399735"/>
          </a:xfrm>
          <a:prstGeom prst="rect">
            <a:avLst/>
          </a:prstGeom>
        </p:spPr>
      </p:pic>
      <p:sp>
        <p:nvSpPr>
          <p:cNvPr id="13" name="Plassholder for tekst 5">
            <a:extLst>
              <a:ext uri="{FF2B5EF4-FFF2-40B4-BE49-F238E27FC236}">
                <a16:creationId xmlns:a16="http://schemas.microsoft.com/office/drawing/2014/main" id="{A425FB59-1D33-E330-67BA-3B6A6EFF9F5C}"/>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C9C62769-4B60-4F7F-57B6-E3105E344C47}"/>
              </a:ext>
            </a:extLst>
          </p:cNvPr>
          <p:cNvPicPr>
            <a:picLocks noChangeAspect="1"/>
          </p:cNvPicPr>
          <p:nvPr userDrawn="1"/>
        </p:nvPicPr>
        <p:blipFill>
          <a:blip r:embed="rId5">
            <a:alphaModFix amt="30000"/>
          </a:blip>
          <a:stretch>
            <a:fillRect/>
          </a:stretch>
        </p:blipFill>
        <p:spPr>
          <a:xfrm>
            <a:off x="10078529" y="4946792"/>
            <a:ext cx="2732931" cy="2275220"/>
          </a:xfrm>
          <a:prstGeom prst="rect">
            <a:avLst/>
          </a:prstGeom>
        </p:spPr>
      </p:pic>
      <p:sp>
        <p:nvSpPr>
          <p:cNvPr id="17" name="TekstSylinder 16">
            <a:extLst>
              <a:ext uri="{FF2B5EF4-FFF2-40B4-BE49-F238E27FC236}">
                <a16:creationId xmlns:a16="http://schemas.microsoft.com/office/drawing/2014/main" id="{0DA2A8D4-5A65-B72A-6B30-EB7266A7A598}"/>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351921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3EDEA894-2ADD-0F84-E844-8193DECD365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22552077-D8F7-E79F-254F-81089E37E4C0}"/>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594139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C356EDD0-52F5-165D-F6DA-8F7CD3EDC0D2}"/>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6627EAFF-585A-5B2F-DD1E-60C16A19A619}"/>
              </a:ext>
            </a:extLst>
          </p:cNvPr>
          <p:cNvPicPr>
            <a:picLocks noChangeAspect="1"/>
          </p:cNvPicPr>
          <p:nvPr userDrawn="1"/>
        </p:nvPicPr>
        <p:blipFill>
          <a:blip r:embed="rId2">
            <a:alphaModFix amt="30000"/>
          </a:blip>
          <a:stretch>
            <a:fillRect/>
          </a:stretch>
        </p:blipFill>
        <p:spPr>
          <a:xfrm>
            <a:off x="10078529" y="4946792"/>
            <a:ext cx="2732931" cy="2275220"/>
          </a:xfrm>
          <a:prstGeom prst="rect">
            <a:avLst/>
          </a:prstGeom>
        </p:spPr>
      </p:pic>
      <p:pic>
        <p:nvPicPr>
          <p:cNvPr id="10" name="Bilde 9">
            <a:extLst>
              <a:ext uri="{FF2B5EF4-FFF2-40B4-BE49-F238E27FC236}">
                <a16:creationId xmlns:a16="http://schemas.microsoft.com/office/drawing/2014/main" id="{75ABAA63-61A1-2A77-ECC1-79F1F13227F7}"/>
              </a:ext>
            </a:extLst>
          </p:cNvPr>
          <p:cNvPicPr>
            <a:picLocks noChangeAspect="1"/>
          </p:cNvPicPr>
          <p:nvPr userDrawn="1"/>
        </p:nvPicPr>
        <p:blipFill>
          <a:blip r:embed="rId3"/>
          <a:stretch>
            <a:fillRect/>
          </a:stretch>
        </p:blipFill>
        <p:spPr>
          <a:xfrm>
            <a:off x="11546205" y="234873"/>
            <a:ext cx="399735" cy="399735"/>
          </a:xfrm>
          <a:prstGeom prst="rect">
            <a:avLst/>
          </a:prstGeom>
        </p:spPr>
      </p:pic>
      <p:sp>
        <p:nvSpPr>
          <p:cNvPr id="12" name="TekstSylinder 11">
            <a:extLst>
              <a:ext uri="{FF2B5EF4-FFF2-40B4-BE49-F238E27FC236}">
                <a16:creationId xmlns:a16="http://schemas.microsoft.com/office/drawing/2014/main" id="{2CF49E1F-7CBC-76F6-80FD-6E16836F309C}"/>
              </a:ext>
            </a:extLst>
          </p:cNvPr>
          <p:cNvSpPr txBox="1"/>
          <p:nvPr userDrawn="1"/>
        </p:nvSpPr>
        <p:spPr>
          <a:xfrm>
            <a:off x="56335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2820953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Payoff + Image 1">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D51647FE-9249-753F-47CB-1DD60FDB53A7}"/>
              </a:ext>
            </a:extLst>
          </p:cNvPr>
          <p:cNvSpPr/>
          <p:nvPr userDrawn="1"/>
        </p:nvSpPr>
        <p:spPr>
          <a:xfrm rot="5400000">
            <a:off x="2637182"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t="31869" r="12500" b="32409"/>
          <a:stretch/>
        </p:blipFill>
        <p:spPr>
          <a:xfrm>
            <a:off x="740826" y="6050436"/>
            <a:ext cx="1583603" cy="286753"/>
          </a:xfrm>
          <a:prstGeom prst="rect">
            <a:avLst/>
          </a:prstGeom>
        </p:spPr>
      </p:pic>
      <p:sp>
        <p:nvSpPr>
          <p:cNvPr id="16" name="Plassholder for bilde 15">
            <a:extLst>
              <a:ext uri="{FF2B5EF4-FFF2-40B4-BE49-F238E27FC236}">
                <a16:creationId xmlns:a16="http://schemas.microsoft.com/office/drawing/2014/main" id="{3C935765-D12A-4E84-DC8D-8A6D5D4EE1B6}"/>
              </a:ext>
            </a:extLst>
          </p:cNvPr>
          <p:cNvSpPr>
            <a:spLocks noGrp="1"/>
          </p:cNvSpPr>
          <p:nvPr userDrawn="1">
            <p:ph type="pic" sz="quarter" idx="10"/>
          </p:nvPr>
        </p:nvSpPr>
        <p:spPr>
          <a:xfrm>
            <a:off x="3997237" y="-330447"/>
            <a:ext cx="9867570" cy="8707146"/>
          </a:xfrm>
          <a:custGeom>
            <a:avLst/>
            <a:gdLst>
              <a:gd name="connsiteX0" fmla="*/ 5747807 w 9867570"/>
              <a:gd name="connsiteY0" fmla="*/ 6030950 h 8707146"/>
              <a:gd name="connsiteX1" fmla="*/ 7077012 w 9867570"/>
              <a:gd name="connsiteY1" fmla="*/ 7369048 h 8707146"/>
              <a:gd name="connsiteX2" fmla="*/ 5747807 w 9867570"/>
              <a:gd name="connsiteY2" fmla="*/ 8707146 h 8707146"/>
              <a:gd name="connsiteX3" fmla="*/ 4418602 w 9867570"/>
              <a:gd name="connsiteY3" fmla="*/ 7369048 h 8707146"/>
              <a:gd name="connsiteX4" fmla="*/ 5747807 w 9867570"/>
              <a:gd name="connsiteY4" fmla="*/ 6030950 h 8707146"/>
              <a:gd name="connsiteX5" fmla="*/ 2191999 w 9867570"/>
              <a:gd name="connsiteY5" fmla="*/ 3956659 h 8707146"/>
              <a:gd name="connsiteX6" fmla="*/ 4383998 w 9867570"/>
              <a:gd name="connsiteY6" fmla="*/ 6163324 h 8707146"/>
              <a:gd name="connsiteX7" fmla="*/ 2191999 w 9867570"/>
              <a:gd name="connsiteY7" fmla="*/ 8369989 h 8707146"/>
              <a:gd name="connsiteX8" fmla="*/ 0 w 9867570"/>
              <a:gd name="connsiteY8" fmla="*/ 6163324 h 8707146"/>
              <a:gd name="connsiteX9" fmla="*/ 2191999 w 9867570"/>
              <a:gd name="connsiteY9" fmla="*/ 3956659 h 8707146"/>
              <a:gd name="connsiteX10" fmla="*/ 3260259 w 9867570"/>
              <a:gd name="connsiteY10" fmla="*/ 2836232 h 8707146"/>
              <a:gd name="connsiteX11" fmla="*/ 3879694 w 9867570"/>
              <a:gd name="connsiteY11" fmla="*/ 3459811 h 8707146"/>
              <a:gd name="connsiteX12" fmla="*/ 3260259 w 9867570"/>
              <a:gd name="connsiteY12" fmla="*/ 4083391 h 8707146"/>
              <a:gd name="connsiteX13" fmla="*/ 2640824 w 9867570"/>
              <a:gd name="connsiteY13" fmla="*/ 3459811 h 8707146"/>
              <a:gd name="connsiteX14" fmla="*/ 3260259 w 9867570"/>
              <a:gd name="connsiteY14" fmla="*/ 2836232 h 8707146"/>
              <a:gd name="connsiteX15" fmla="*/ 6946950 w 9867570"/>
              <a:gd name="connsiteY15" fmla="*/ 0 h 8707146"/>
              <a:gd name="connsiteX16" fmla="*/ 9867570 w 9867570"/>
              <a:gd name="connsiteY16" fmla="*/ 2940160 h 8707146"/>
              <a:gd name="connsiteX17" fmla="*/ 6946950 w 9867570"/>
              <a:gd name="connsiteY17" fmla="*/ 5880320 h 8707146"/>
              <a:gd name="connsiteX18" fmla="*/ 4026330 w 9867570"/>
              <a:gd name="connsiteY18" fmla="*/ 2940160 h 8707146"/>
              <a:gd name="connsiteX19" fmla="*/ 6946950 w 9867570"/>
              <a:gd name="connsiteY19" fmla="*/ 0 h 870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67570" h="8707146">
                <a:moveTo>
                  <a:pt x="5747807" y="6030950"/>
                </a:moveTo>
                <a:cubicBezTo>
                  <a:pt x="6481907" y="6030950"/>
                  <a:pt x="7077012" y="6630037"/>
                  <a:pt x="7077012" y="7369048"/>
                </a:cubicBezTo>
                <a:cubicBezTo>
                  <a:pt x="7077012" y="8108059"/>
                  <a:pt x="6481907" y="8707146"/>
                  <a:pt x="5747807" y="8707146"/>
                </a:cubicBezTo>
                <a:cubicBezTo>
                  <a:pt x="5013707" y="8707146"/>
                  <a:pt x="4418602" y="8108059"/>
                  <a:pt x="4418602" y="7369048"/>
                </a:cubicBezTo>
                <a:cubicBezTo>
                  <a:pt x="4418602" y="6630037"/>
                  <a:pt x="5013707" y="6030950"/>
                  <a:pt x="5747807" y="6030950"/>
                </a:cubicBezTo>
                <a:close/>
                <a:moveTo>
                  <a:pt x="2191999" y="3956659"/>
                </a:moveTo>
                <a:cubicBezTo>
                  <a:pt x="3402607" y="3956659"/>
                  <a:pt x="4383998" y="4944617"/>
                  <a:pt x="4383998" y="6163324"/>
                </a:cubicBezTo>
                <a:cubicBezTo>
                  <a:pt x="4383998" y="7382031"/>
                  <a:pt x="3402607" y="8369989"/>
                  <a:pt x="2191999" y="8369989"/>
                </a:cubicBezTo>
                <a:cubicBezTo>
                  <a:pt x="981391" y="8369989"/>
                  <a:pt x="0" y="7382031"/>
                  <a:pt x="0" y="6163324"/>
                </a:cubicBezTo>
                <a:cubicBezTo>
                  <a:pt x="0" y="4944617"/>
                  <a:pt x="981391" y="3956659"/>
                  <a:pt x="2191999" y="3956659"/>
                </a:cubicBezTo>
                <a:close/>
                <a:moveTo>
                  <a:pt x="3260259" y="2836232"/>
                </a:moveTo>
                <a:cubicBezTo>
                  <a:pt x="3602364" y="2836232"/>
                  <a:pt x="3879694" y="3115417"/>
                  <a:pt x="3879694" y="3459811"/>
                </a:cubicBezTo>
                <a:cubicBezTo>
                  <a:pt x="3879694" y="3804206"/>
                  <a:pt x="3602364" y="4083391"/>
                  <a:pt x="3260259" y="4083391"/>
                </a:cubicBezTo>
                <a:cubicBezTo>
                  <a:pt x="2918154" y="4083391"/>
                  <a:pt x="2640824" y="3804206"/>
                  <a:pt x="2640824" y="3459811"/>
                </a:cubicBezTo>
                <a:cubicBezTo>
                  <a:pt x="2640824" y="3115417"/>
                  <a:pt x="2918154" y="2836232"/>
                  <a:pt x="3260259" y="2836232"/>
                </a:cubicBezTo>
                <a:close/>
                <a:moveTo>
                  <a:pt x="6946950" y="0"/>
                </a:moveTo>
                <a:cubicBezTo>
                  <a:pt x="8559964" y="0"/>
                  <a:pt x="9867570" y="1316354"/>
                  <a:pt x="9867570" y="2940160"/>
                </a:cubicBezTo>
                <a:cubicBezTo>
                  <a:pt x="9867570" y="4563966"/>
                  <a:pt x="8559964" y="5880320"/>
                  <a:pt x="6946950" y="5880320"/>
                </a:cubicBezTo>
                <a:cubicBezTo>
                  <a:pt x="5333936" y="5880320"/>
                  <a:pt x="4026330" y="4563966"/>
                  <a:pt x="4026330" y="2940160"/>
                </a:cubicBezTo>
                <a:cubicBezTo>
                  <a:pt x="4026330" y="1316354"/>
                  <a:pt x="5333936" y="0"/>
                  <a:pt x="6946950" y="0"/>
                </a:cubicBezTo>
                <a:close/>
              </a:path>
            </a:pathLst>
          </a:custGeom>
        </p:spPr>
        <p:txBody>
          <a:bodyPr wrap="square">
            <a:noAutofit/>
          </a:bodyPr>
          <a:lstStyle/>
          <a:p>
            <a:r>
              <a:rPr lang="nb-NO"/>
              <a:t>Klikk på ikonet for å legge til et bilde</a:t>
            </a:r>
          </a:p>
        </p:txBody>
      </p:sp>
      <p:sp>
        <p:nvSpPr>
          <p:cNvPr id="20" name="Plassholder for tekst 19">
            <a:extLst>
              <a:ext uri="{FF2B5EF4-FFF2-40B4-BE49-F238E27FC236}">
                <a16:creationId xmlns:a16="http://schemas.microsoft.com/office/drawing/2014/main" id="{F1F37A79-4AB3-EDFB-D51F-0E8A0EE8A6D0}"/>
              </a:ext>
            </a:extLst>
          </p:cNvPr>
          <p:cNvSpPr>
            <a:spLocks noGrp="1"/>
          </p:cNvSpPr>
          <p:nvPr>
            <p:ph type="body" sz="quarter" idx="11" hasCustomPrompt="1"/>
          </p:nvPr>
        </p:nvSpPr>
        <p:spPr>
          <a:xfrm>
            <a:off x="740826" y="713655"/>
            <a:ext cx="4595945" cy="1700081"/>
          </a:xfrm>
          <a:prstGeom prst="rect">
            <a:avLst/>
          </a:prstGeom>
        </p:spPr>
        <p:txBody>
          <a:bodyPr anchor="t"/>
          <a:lstStyle>
            <a:lvl1pPr marL="0" indent="0">
              <a:buNone/>
              <a:defRPr sz="4000">
                <a:solidFill>
                  <a:schemeClr val="bg1"/>
                </a:solidFill>
                <a:latin typeface="Haffer" pitchFamily="2" charset="77"/>
                <a:cs typeface="Haffer" pitchFamily="2" charset="77"/>
              </a:defRPr>
            </a:lvl1pPr>
          </a:lstStyle>
          <a:p>
            <a:pPr lvl="0"/>
            <a:r>
              <a:rPr lang="nb-NO"/>
              <a:t>Presentation </a:t>
            </a:r>
          </a:p>
          <a:p>
            <a:pPr lvl="0"/>
            <a:r>
              <a:rPr lang="nb-NO" err="1"/>
              <a:t>title</a:t>
            </a:r>
            <a:endParaRPr lang="nb-NO"/>
          </a:p>
        </p:txBody>
      </p:sp>
    </p:spTree>
    <p:extLst>
      <p:ext uri="{BB962C8B-B14F-4D97-AF65-F5344CB8AC3E}">
        <p14:creationId xmlns:p14="http://schemas.microsoft.com/office/powerpoint/2010/main" val="32706508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B44CCB6C-A52E-D79D-808C-49F576C0CF7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175F0EF6-3650-2B55-2E0B-BB2A13A8BC8C}"/>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743659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ontel advisory">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7" name="Grafikk 6">
            <a:extLst>
              <a:ext uri="{FF2B5EF4-FFF2-40B4-BE49-F238E27FC236}">
                <a16:creationId xmlns:a16="http://schemas.microsoft.com/office/drawing/2014/main" id="{1041DDD1-C153-5D4E-55C8-019762E771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30889" y="1752019"/>
            <a:ext cx="6625808" cy="2247246"/>
          </a:xfrm>
          <a:prstGeom prst="rect">
            <a:avLst/>
          </a:prstGeom>
        </p:spPr>
      </p:pic>
    </p:spTree>
    <p:extLst>
      <p:ext uri="{BB962C8B-B14F-4D97-AF65-F5344CB8AC3E}">
        <p14:creationId xmlns:p14="http://schemas.microsoft.com/office/powerpoint/2010/main" val="34497684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18" name="Bilde 17">
            <a:extLst>
              <a:ext uri="{FF2B5EF4-FFF2-40B4-BE49-F238E27FC236}">
                <a16:creationId xmlns:a16="http://schemas.microsoft.com/office/drawing/2014/main" id="{BCEC2D05-AAEE-5462-0C9E-CAE39FB9F845}"/>
              </a:ext>
            </a:extLst>
          </p:cNvPr>
          <p:cNvPicPr>
            <a:picLocks noChangeAspect="1"/>
          </p:cNvPicPr>
          <p:nvPr userDrawn="1"/>
        </p:nvPicPr>
        <p:blipFill>
          <a:blip r:embed="rId2"/>
          <a:stretch>
            <a:fillRect/>
          </a:stretch>
        </p:blipFill>
        <p:spPr>
          <a:xfrm>
            <a:off x="11538083" y="224363"/>
            <a:ext cx="412365" cy="412365"/>
          </a:xfrm>
          <a:prstGeom prst="rect">
            <a:avLst/>
          </a:prstGeom>
        </p:spPr>
      </p:pic>
      <p:pic>
        <p:nvPicPr>
          <p:cNvPr id="20" name="Bilde 19">
            <a:extLst>
              <a:ext uri="{FF2B5EF4-FFF2-40B4-BE49-F238E27FC236}">
                <a16:creationId xmlns:a16="http://schemas.microsoft.com/office/drawing/2014/main" id="{8E02C599-1505-07FE-7946-0DAC86FBBB56}"/>
              </a:ext>
            </a:extLst>
          </p:cNvPr>
          <p:cNvPicPr>
            <a:picLocks noChangeAspect="1"/>
          </p:cNvPicPr>
          <p:nvPr userDrawn="1"/>
        </p:nvPicPr>
        <p:blipFill>
          <a:blip r:embed="rId3">
            <a:alphaModFix amt="30000"/>
          </a:blip>
          <a:stretch>
            <a:fillRect/>
          </a:stretch>
        </p:blipFill>
        <p:spPr>
          <a:xfrm>
            <a:off x="10747210" y="4311903"/>
            <a:ext cx="2191324" cy="2632157"/>
          </a:xfrm>
          <a:prstGeom prst="rect">
            <a:avLst/>
          </a:prstGeom>
        </p:spPr>
      </p:pic>
      <p:sp>
        <p:nvSpPr>
          <p:cNvPr id="21" name="Plassholder for tekst 5">
            <a:extLst>
              <a:ext uri="{FF2B5EF4-FFF2-40B4-BE49-F238E27FC236}">
                <a16:creationId xmlns:a16="http://schemas.microsoft.com/office/drawing/2014/main" id="{41DB37A2-5EC0-9B30-9361-F79FF6B09019}"/>
              </a:ext>
            </a:extLst>
          </p:cNvPr>
          <p:cNvSpPr>
            <a:spLocks noGrp="1"/>
          </p:cNvSpPr>
          <p:nvPr>
            <p:ph type="body" sz="quarter" idx="12" hasCustomPrompt="1"/>
          </p:nvPr>
        </p:nvSpPr>
        <p:spPr>
          <a:xfrm>
            <a:off x="959978" y="2072789"/>
            <a:ext cx="9905246"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22" name="TekstSylinder 21">
            <a:extLst>
              <a:ext uri="{FF2B5EF4-FFF2-40B4-BE49-F238E27FC236}">
                <a16:creationId xmlns:a16="http://schemas.microsoft.com/office/drawing/2014/main" id="{21A404DB-FAF3-EB3E-46A7-967B3206B56A}"/>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3699094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1">
                                            <p:txEl>
                                              <p:pRg st="0" end="0"/>
                                            </p:txEl>
                                          </p:spTgt>
                                        </p:tgtEl>
                                        <p:attrNameLst>
                                          <p:attrName>style.visibility</p:attrName>
                                        </p:attrNameLst>
                                      </p:cBhvr>
                                      <p:to>
                                        <p:strVal val="visible"/>
                                      </p:to>
                                    </p:set>
                                    <p:animEffect transition="in" filter="fade">
                                      <p:cBhvr>
                                        <p:cTn id="11" dur="500"/>
                                        <p:tgtEl>
                                          <p:spTgt spid="21">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1">
                                            <p:txEl>
                                              <p:pRg st="1" end="1"/>
                                            </p:txEl>
                                          </p:spTgt>
                                        </p:tgtEl>
                                        <p:attrNameLst>
                                          <p:attrName>style.visibility</p:attrName>
                                        </p:attrNameLst>
                                      </p:cBhvr>
                                      <p:to>
                                        <p:strVal val="visible"/>
                                      </p:to>
                                    </p:set>
                                    <p:animEffect transition="in" filter="fade">
                                      <p:cBhvr>
                                        <p:cTn id="15" dur="500"/>
                                        <p:tgtEl>
                                          <p:spTgt spid="21">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1">
                                            <p:txEl>
                                              <p:pRg st="2" end="2"/>
                                            </p:txEl>
                                          </p:spTgt>
                                        </p:tgtEl>
                                        <p:attrNameLst>
                                          <p:attrName>style.visibility</p:attrName>
                                        </p:attrNameLst>
                                      </p:cBhvr>
                                      <p:to>
                                        <p:strVal val="visible"/>
                                      </p:to>
                                    </p:set>
                                    <p:animEffect transition="in" filter="fade">
                                      <p:cBhvr>
                                        <p:cTn id="19" dur="500"/>
                                        <p:tgtEl>
                                          <p:spTgt spid="2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21" grpId="0" build="p">
        <p:tmplLst>
          <p:tmpl lvl="1">
            <p:tnLst>
              <p:par>
                <p:cTn presetID="10"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4" name="Plassholder for tekst 5">
            <a:extLst>
              <a:ext uri="{FF2B5EF4-FFF2-40B4-BE49-F238E27FC236}">
                <a16:creationId xmlns:a16="http://schemas.microsoft.com/office/drawing/2014/main" id="{48F06024-47B2-00DD-BC6B-70052549105D}"/>
              </a:ext>
            </a:extLst>
          </p:cNvPr>
          <p:cNvSpPr>
            <a:spLocks noGrp="1"/>
          </p:cNvSpPr>
          <p:nvPr>
            <p:ph type="body" sz="quarter" idx="14" hasCustomPrompt="1"/>
          </p:nvPr>
        </p:nvSpPr>
        <p:spPr>
          <a:xfrm>
            <a:off x="959978" y="2072789"/>
            <a:ext cx="63801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E25EEA7D-F755-0E2F-86BB-903EBBDFA51A}"/>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2292440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6" name="Bilde 5">
            <a:extLst>
              <a:ext uri="{FF2B5EF4-FFF2-40B4-BE49-F238E27FC236}">
                <a16:creationId xmlns:a16="http://schemas.microsoft.com/office/drawing/2014/main" id="{49AC0B22-2540-BCDB-3FFE-F525639FC5E9}"/>
              </a:ext>
            </a:extLst>
          </p:cNvPr>
          <p:cNvPicPr>
            <a:picLocks noChangeAspect="1"/>
          </p:cNvPicPr>
          <p:nvPr userDrawn="1"/>
        </p:nvPicPr>
        <p:blipFill>
          <a:blip r:embed="rId2"/>
          <a:stretch>
            <a:fillRect/>
          </a:stretch>
        </p:blipFill>
        <p:spPr>
          <a:xfrm>
            <a:off x="11538083" y="224363"/>
            <a:ext cx="412365" cy="412365"/>
          </a:xfrm>
          <a:prstGeom prst="rect">
            <a:avLst/>
          </a:prstGeom>
        </p:spPr>
      </p:pic>
      <p:pic>
        <p:nvPicPr>
          <p:cNvPr id="7" name="Bilde 6">
            <a:extLst>
              <a:ext uri="{FF2B5EF4-FFF2-40B4-BE49-F238E27FC236}">
                <a16:creationId xmlns:a16="http://schemas.microsoft.com/office/drawing/2014/main" id="{0B21BD34-F90B-A525-2E02-6765BEFA9739}"/>
              </a:ext>
            </a:extLst>
          </p:cNvPr>
          <p:cNvPicPr>
            <a:picLocks noChangeAspect="1"/>
          </p:cNvPicPr>
          <p:nvPr userDrawn="1"/>
        </p:nvPicPr>
        <p:blipFill>
          <a:blip r:embed="rId3">
            <a:alphaModFix amt="30000"/>
          </a:blip>
          <a:stretch>
            <a:fillRect/>
          </a:stretch>
        </p:blipFill>
        <p:spPr>
          <a:xfrm>
            <a:off x="10747210" y="4311903"/>
            <a:ext cx="2191324" cy="2632157"/>
          </a:xfrm>
          <a:prstGeom prst="rect">
            <a:avLst/>
          </a:prstGeom>
        </p:spPr>
      </p:pic>
      <p:sp>
        <p:nvSpPr>
          <p:cNvPr id="12" name="Plassholder for tekst 5">
            <a:extLst>
              <a:ext uri="{FF2B5EF4-FFF2-40B4-BE49-F238E27FC236}">
                <a16:creationId xmlns:a16="http://schemas.microsoft.com/office/drawing/2014/main" id="{F79E92D7-0D46-6F59-6023-44ECFEC282B9}"/>
              </a:ext>
            </a:extLst>
          </p:cNvPr>
          <p:cNvSpPr>
            <a:spLocks noGrp="1"/>
          </p:cNvSpPr>
          <p:nvPr>
            <p:ph type="body" sz="quarter" idx="15" hasCustomPrompt="1"/>
          </p:nvPr>
        </p:nvSpPr>
        <p:spPr>
          <a:xfrm>
            <a:off x="56335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sp>
        <p:nvSpPr>
          <p:cNvPr id="13" name="TekstSylinder 12">
            <a:extLst>
              <a:ext uri="{FF2B5EF4-FFF2-40B4-BE49-F238E27FC236}">
                <a16:creationId xmlns:a16="http://schemas.microsoft.com/office/drawing/2014/main" id="{5E27AD9E-F178-0AAD-27F9-514AFE9D995F}"/>
              </a:ext>
            </a:extLst>
          </p:cNvPr>
          <p:cNvSpPr txBox="1"/>
          <p:nvPr userDrawn="1"/>
        </p:nvSpPr>
        <p:spPr>
          <a:xfrm>
            <a:off x="56335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2768892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Effect transition="in" filter="fade">
                                      <p:cBhvr>
                                        <p:cTn id="11" dur="500"/>
                                        <p:tgtEl>
                                          <p:spTgt spid="12">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animEffect transition="in" filter="fade">
                                      <p:cBhvr>
                                        <p:cTn id="15" dur="500"/>
                                        <p:tgtEl>
                                          <p:spTgt spid="12">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fade">
                                      <p:cBhvr>
                                        <p:cTn id="19"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1"/>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78B0E417-D9F4-7661-3F80-7AB11317B6A7}"/>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0" name="TekstSylinder 9">
            <a:extLst>
              <a:ext uri="{FF2B5EF4-FFF2-40B4-BE49-F238E27FC236}">
                <a16:creationId xmlns:a16="http://schemas.microsoft.com/office/drawing/2014/main" id="{AC4D98AA-0BB8-57BF-21D6-F9EB2A460E9B}"/>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1864051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ontel marketing service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2" name="Graphic 2">
            <a:extLst>
              <a:ext uri="{FF2B5EF4-FFF2-40B4-BE49-F238E27FC236}">
                <a16:creationId xmlns:a16="http://schemas.microsoft.com/office/drawing/2014/main" id="{00D1DA68-C4CD-C9AD-6A1E-AFEE152C83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55736" y="2241149"/>
            <a:ext cx="7822079" cy="1228689"/>
          </a:xfrm>
          <a:prstGeom prst="rect">
            <a:avLst/>
          </a:prstGeom>
        </p:spPr>
      </p:pic>
    </p:spTree>
    <p:extLst>
      <p:ext uri="{BB962C8B-B14F-4D97-AF65-F5344CB8AC3E}">
        <p14:creationId xmlns:p14="http://schemas.microsoft.com/office/powerpoint/2010/main" val="22607815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4"/>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6" name="Bilde 15">
            <a:extLst>
              <a:ext uri="{FF2B5EF4-FFF2-40B4-BE49-F238E27FC236}">
                <a16:creationId xmlns:a16="http://schemas.microsoft.com/office/drawing/2014/main" id="{9753D280-87B9-6A63-AA05-1734BEB5D767}"/>
              </a:ext>
            </a:extLst>
          </p:cNvPr>
          <p:cNvPicPr>
            <a:picLocks noChangeAspect="1"/>
          </p:cNvPicPr>
          <p:nvPr userDrawn="1"/>
        </p:nvPicPr>
        <p:blipFill>
          <a:blip r:embed="rId4"/>
          <a:stretch>
            <a:fillRect/>
          </a:stretch>
        </p:blipFill>
        <p:spPr>
          <a:xfrm>
            <a:off x="11538368" y="226074"/>
            <a:ext cx="412365" cy="412365"/>
          </a:xfrm>
          <a:prstGeom prst="rect">
            <a:avLst/>
          </a:prstGeom>
        </p:spPr>
      </p:pic>
      <p:sp>
        <p:nvSpPr>
          <p:cNvPr id="19" name="Plassholder for tekst 5">
            <a:extLst>
              <a:ext uri="{FF2B5EF4-FFF2-40B4-BE49-F238E27FC236}">
                <a16:creationId xmlns:a16="http://schemas.microsoft.com/office/drawing/2014/main" id="{3C06FB5F-E4FE-5E5D-B392-09A3D94DBC17}"/>
              </a:ext>
            </a:extLst>
          </p:cNvPr>
          <p:cNvSpPr>
            <a:spLocks noGrp="1"/>
          </p:cNvSpPr>
          <p:nvPr>
            <p:ph type="body" sz="quarter" idx="12" hasCustomPrompt="1"/>
          </p:nvPr>
        </p:nvSpPr>
        <p:spPr>
          <a:xfrm>
            <a:off x="960438" y="2063750"/>
            <a:ext cx="10125075"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20" name="Bilde 19">
            <a:extLst>
              <a:ext uri="{FF2B5EF4-FFF2-40B4-BE49-F238E27FC236}">
                <a16:creationId xmlns:a16="http://schemas.microsoft.com/office/drawing/2014/main" id="{888ECCA7-1733-A11C-808B-D86014E29B6C}"/>
              </a:ext>
            </a:extLst>
          </p:cNvPr>
          <p:cNvPicPr>
            <a:picLocks noChangeAspect="1"/>
          </p:cNvPicPr>
          <p:nvPr userDrawn="1"/>
        </p:nvPicPr>
        <p:blipFill>
          <a:blip r:embed="rId5">
            <a:alphaModFix amt="25000"/>
          </a:blip>
          <a:stretch>
            <a:fillRect/>
          </a:stretch>
        </p:blipFill>
        <p:spPr>
          <a:xfrm>
            <a:off x="10471506" y="4152452"/>
            <a:ext cx="2866913" cy="2866913"/>
          </a:xfrm>
          <a:prstGeom prst="rect">
            <a:avLst/>
          </a:prstGeom>
        </p:spPr>
      </p:pic>
      <p:sp>
        <p:nvSpPr>
          <p:cNvPr id="21" name="TekstSylinder 20">
            <a:extLst>
              <a:ext uri="{FF2B5EF4-FFF2-40B4-BE49-F238E27FC236}">
                <a16:creationId xmlns:a16="http://schemas.microsoft.com/office/drawing/2014/main" id="{974579F4-F0F1-DBB3-261C-985D8E373EB1}"/>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806108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9">
                                            <p:txEl>
                                              <p:pRg st="1" end="1"/>
                                            </p:txEl>
                                          </p:spTgt>
                                        </p:tgtEl>
                                        <p:attrNameLst>
                                          <p:attrName>style.visibility</p:attrName>
                                        </p:attrNameLst>
                                      </p:cBhvr>
                                      <p:to>
                                        <p:strVal val="visible"/>
                                      </p:to>
                                    </p:set>
                                    <p:animEffect transition="in" filter="fade">
                                      <p:cBhvr>
                                        <p:cTn id="15" dur="500"/>
                                        <p:tgtEl>
                                          <p:spTgt spid="19">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9">
                                            <p:txEl>
                                              <p:pRg st="2" end="2"/>
                                            </p:txEl>
                                          </p:spTgt>
                                        </p:tgtEl>
                                        <p:attrNameLst>
                                          <p:attrName>style.visibility</p:attrName>
                                        </p:attrNameLst>
                                      </p:cBhvr>
                                      <p:to>
                                        <p:strVal val="visible"/>
                                      </p:to>
                                    </p:set>
                                    <p:animEffect transition="in" filter="fade">
                                      <p:cBhvr>
                                        <p:cTn id="19" dur="500"/>
                                        <p:tgtEl>
                                          <p:spTgt spid="1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9" grpId="0" build="p">
        <p:tmplLst>
          <p:tmpl lvl="1">
            <p:tnLst>
              <p:par>
                <p:cT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5">
            <a:extLst>
              <a:ext uri="{FF2B5EF4-FFF2-40B4-BE49-F238E27FC236}">
                <a16:creationId xmlns:a16="http://schemas.microsoft.com/office/drawing/2014/main" id="{B9FA322F-3FC6-E440-42BD-0BDACD1D0967}"/>
              </a:ext>
            </a:extLst>
          </p:cNvPr>
          <p:cNvSpPr>
            <a:spLocks noGrp="1"/>
          </p:cNvSpPr>
          <p:nvPr>
            <p:ph type="body" sz="quarter" idx="12" hasCustomPrompt="1"/>
          </p:nvPr>
        </p:nvSpPr>
        <p:spPr>
          <a:xfrm>
            <a:off x="960438" y="2063750"/>
            <a:ext cx="6380163"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TekstSylinder 2">
            <a:extLst>
              <a:ext uri="{FF2B5EF4-FFF2-40B4-BE49-F238E27FC236}">
                <a16:creationId xmlns:a16="http://schemas.microsoft.com/office/drawing/2014/main" id="{415565FE-E5C2-0F4B-5D74-FE5058500ACC}"/>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207770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Effect transition="in" filter="fade">
                                      <p:cBhvr>
                                        <p:cTn id="11" dur="500"/>
                                        <p:tgtEl>
                                          <p:spTgt spid="12">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animEffect transition="in" filter="fade">
                                      <p:cBhvr>
                                        <p:cTn id="15" dur="500"/>
                                        <p:tgtEl>
                                          <p:spTgt spid="12">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fade">
                                      <p:cBhvr>
                                        <p:cTn id="19"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Bilde 9">
            <a:extLst>
              <a:ext uri="{FF2B5EF4-FFF2-40B4-BE49-F238E27FC236}">
                <a16:creationId xmlns:a16="http://schemas.microsoft.com/office/drawing/2014/main" id="{81C0186A-099E-A4CA-06A9-9EB9FDE3CE3E}"/>
              </a:ext>
            </a:extLst>
          </p:cNvPr>
          <p:cNvPicPr>
            <a:picLocks noChangeAspect="1"/>
          </p:cNvPicPr>
          <p:nvPr userDrawn="1"/>
        </p:nvPicPr>
        <p:blipFill>
          <a:blip r:embed="rId2"/>
          <a:stretch>
            <a:fillRect/>
          </a:stretch>
        </p:blipFill>
        <p:spPr>
          <a:xfrm>
            <a:off x="11538368" y="226074"/>
            <a:ext cx="412365" cy="412365"/>
          </a:xfrm>
          <a:prstGeom prst="rect">
            <a:avLst/>
          </a:prstGeom>
        </p:spPr>
      </p:pic>
      <p:sp>
        <p:nvSpPr>
          <p:cNvPr id="13" name="Plassholder for tekst 5">
            <a:extLst>
              <a:ext uri="{FF2B5EF4-FFF2-40B4-BE49-F238E27FC236}">
                <a16:creationId xmlns:a16="http://schemas.microsoft.com/office/drawing/2014/main" id="{B98B9A2D-025D-64F7-A6F4-DB096813C14A}"/>
              </a:ext>
            </a:extLst>
          </p:cNvPr>
          <p:cNvSpPr>
            <a:spLocks noGrp="1"/>
          </p:cNvSpPr>
          <p:nvPr>
            <p:ph type="body" sz="quarter" idx="12"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EEE57DB0-1F7F-B527-1814-B95D0C615399}"/>
              </a:ext>
            </a:extLst>
          </p:cNvPr>
          <p:cNvPicPr>
            <a:picLocks noChangeAspect="1"/>
          </p:cNvPicPr>
          <p:nvPr userDrawn="1"/>
        </p:nvPicPr>
        <p:blipFill>
          <a:blip r:embed="rId3">
            <a:alphaModFix amt="25000"/>
          </a:blip>
          <a:stretch>
            <a:fillRect/>
          </a:stretch>
        </p:blipFill>
        <p:spPr>
          <a:xfrm>
            <a:off x="10471506" y="4152452"/>
            <a:ext cx="2866913" cy="2866913"/>
          </a:xfrm>
          <a:prstGeom prst="rect">
            <a:avLst/>
          </a:prstGeom>
        </p:spPr>
      </p:pic>
      <p:sp>
        <p:nvSpPr>
          <p:cNvPr id="17" name="TekstSylinder 16">
            <a:extLst>
              <a:ext uri="{FF2B5EF4-FFF2-40B4-BE49-F238E27FC236}">
                <a16:creationId xmlns:a16="http://schemas.microsoft.com/office/drawing/2014/main" id="{60C04BBE-5EE1-30CB-A9D1-0E365E716C9A}"/>
              </a:ext>
            </a:extLst>
          </p:cNvPr>
          <p:cNvSpPr txBox="1"/>
          <p:nvPr userDrawn="1"/>
        </p:nvSpPr>
        <p:spPr>
          <a:xfrm>
            <a:off x="56335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793342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ogo+Payoff + Image 2">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67BC1783-48CA-E7AC-6E4F-AA5F59FB47BD}"/>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t="31869" r="12500" b="32409"/>
          <a:stretch/>
        </p:blipFill>
        <p:spPr>
          <a:xfrm>
            <a:off x="616136" y="6154778"/>
            <a:ext cx="1771858" cy="320841"/>
          </a:xfrm>
          <a:prstGeom prst="rect">
            <a:avLst/>
          </a:prstGeom>
        </p:spPr>
      </p:pic>
      <p:sp>
        <p:nvSpPr>
          <p:cNvPr id="36" name="Plassholder for bilde 35">
            <a:extLst>
              <a:ext uri="{FF2B5EF4-FFF2-40B4-BE49-F238E27FC236}">
                <a16:creationId xmlns:a16="http://schemas.microsoft.com/office/drawing/2014/main" id="{FCD34059-1E74-01C7-5238-8E73F252D73E}"/>
              </a:ext>
            </a:extLst>
          </p:cNvPr>
          <p:cNvSpPr>
            <a:spLocks noGrp="1"/>
          </p:cNvSpPr>
          <p:nvPr>
            <p:ph type="pic" sz="quarter" idx="10"/>
          </p:nvPr>
        </p:nvSpPr>
        <p:spPr>
          <a:xfrm>
            <a:off x="5664590" y="498767"/>
            <a:ext cx="10345430" cy="5976852"/>
          </a:xfrm>
          <a:custGeom>
            <a:avLst/>
            <a:gdLst>
              <a:gd name="connsiteX0" fmla="*/ 409306 w 10345430"/>
              <a:gd name="connsiteY0" fmla="*/ 0 h 6381972"/>
              <a:gd name="connsiteX1" fmla="*/ 9936124 w 10345430"/>
              <a:gd name="connsiteY1" fmla="*/ 0 h 6381972"/>
              <a:gd name="connsiteX2" fmla="*/ 10345430 w 10345430"/>
              <a:gd name="connsiteY2" fmla="*/ 408986 h 6381972"/>
              <a:gd name="connsiteX3" fmla="*/ 10345430 w 10345430"/>
              <a:gd name="connsiteY3" fmla="*/ 5972986 h 6381972"/>
              <a:gd name="connsiteX4" fmla="*/ 9936124 w 10345430"/>
              <a:gd name="connsiteY4" fmla="*/ 6381972 h 6381972"/>
              <a:gd name="connsiteX5" fmla="*/ 409306 w 10345430"/>
              <a:gd name="connsiteY5" fmla="*/ 6381972 h 6381972"/>
              <a:gd name="connsiteX6" fmla="*/ 0 w 10345430"/>
              <a:gd name="connsiteY6" fmla="*/ 5972986 h 6381972"/>
              <a:gd name="connsiteX7" fmla="*/ 0 w 10345430"/>
              <a:gd name="connsiteY7" fmla="*/ 408986 h 6381972"/>
              <a:gd name="connsiteX8" fmla="*/ 409306 w 10345430"/>
              <a:gd name="connsiteY8" fmla="*/ 0 h 638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45430" h="6381972">
                <a:moveTo>
                  <a:pt x="409306" y="0"/>
                </a:moveTo>
                <a:lnTo>
                  <a:pt x="9936124" y="0"/>
                </a:lnTo>
                <a:cubicBezTo>
                  <a:pt x="10162178" y="0"/>
                  <a:pt x="10345430" y="183109"/>
                  <a:pt x="10345430" y="408986"/>
                </a:cubicBezTo>
                <a:lnTo>
                  <a:pt x="10345430" y="5972986"/>
                </a:lnTo>
                <a:cubicBezTo>
                  <a:pt x="10345430" y="6198863"/>
                  <a:pt x="10162178" y="6381972"/>
                  <a:pt x="9936124" y="6381972"/>
                </a:cubicBezTo>
                <a:lnTo>
                  <a:pt x="409306" y="6381972"/>
                </a:lnTo>
                <a:cubicBezTo>
                  <a:pt x="183253" y="6381972"/>
                  <a:pt x="0" y="6198863"/>
                  <a:pt x="0" y="5972986"/>
                </a:cubicBezTo>
                <a:lnTo>
                  <a:pt x="0" y="408986"/>
                </a:lnTo>
                <a:cubicBezTo>
                  <a:pt x="0" y="183109"/>
                  <a:pt x="183253" y="0"/>
                  <a:pt x="409306" y="0"/>
                </a:cubicBezTo>
                <a:close/>
              </a:path>
            </a:pathLst>
          </a:custGeom>
        </p:spPr>
        <p:txBody>
          <a:bodyPr wrap="square">
            <a:noAutofit/>
          </a:bodyPr>
          <a:lstStyle/>
          <a:p>
            <a:r>
              <a:rPr lang="nb-NO"/>
              <a:t>Klikk på ikonet for å legge til et bilde</a:t>
            </a:r>
          </a:p>
        </p:txBody>
      </p:sp>
      <p:sp>
        <p:nvSpPr>
          <p:cNvPr id="39" name="Plassholder for tekst 19">
            <a:extLst>
              <a:ext uri="{FF2B5EF4-FFF2-40B4-BE49-F238E27FC236}">
                <a16:creationId xmlns:a16="http://schemas.microsoft.com/office/drawing/2014/main" id="{6C737439-2242-7421-E550-920B94BAD3DC}"/>
              </a:ext>
            </a:extLst>
          </p:cNvPr>
          <p:cNvSpPr>
            <a:spLocks noGrp="1"/>
          </p:cNvSpPr>
          <p:nvPr>
            <p:ph type="body" sz="quarter" idx="11" hasCustomPrompt="1"/>
          </p:nvPr>
        </p:nvSpPr>
        <p:spPr>
          <a:xfrm>
            <a:off x="616136" y="533171"/>
            <a:ext cx="4595945" cy="1700081"/>
          </a:xfrm>
          <a:prstGeom prst="rect">
            <a:avLst/>
          </a:prstGeom>
        </p:spPr>
        <p:txBody>
          <a:bodyPr anchor="t"/>
          <a:lstStyle>
            <a:lvl1pPr marL="0" indent="0">
              <a:buNone/>
              <a:defRPr sz="4000">
                <a:solidFill>
                  <a:schemeClr val="bg1"/>
                </a:solidFill>
                <a:latin typeface="Haffer" pitchFamily="2" charset="77"/>
                <a:cs typeface="Haffer" pitchFamily="2" charset="77"/>
              </a:defRPr>
            </a:lvl1pPr>
          </a:lstStyle>
          <a:p>
            <a:pPr lvl="0"/>
            <a:r>
              <a:rPr lang="nb-NO"/>
              <a:t>Presentation </a:t>
            </a:r>
          </a:p>
          <a:p>
            <a:pPr lvl="0"/>
            <a:r>
              <a:rPr lang="nb-NO" err="1"/>
              <a:t>title</a:t>
            </a:r>
            <a:endParaRPr lang="nb-NO"/>
          </a:p>
        </p:txBody>
      </p:sp>
    </p:spTree>
    <p:extLst>
      <p:ext uri="{BB962C8B-B14F-4D97-AF65-F5344CB8AC3E}">
        <p14:creationId xmlns:p14="http://schemas.microsoft.com/office/powerpoint/2010/main" val="7866378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1"/>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17784840-E013-C132-7D4A-84D7F11C5C0F}"/>
              </a:ext>
            </a:extLst>
          </p:cNvPr>
          <p:cNvSpPr>
            <a:spLocks noGrp="1"/>
          </p:cNvSpPr>
          <p:nvPr>
            <p:ph type="body" sz="quarter" idx="12"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1" name="TekstSylinder 10">
            <a:extLst>
              <a:ext uri="{FF2B5EF4-FFF2-40B4-BE49-F238E27FC236}">
                <a16:creationId xmlns:a16="http://schemas.microsoft.com/office/drawing/2014/main" id="{8DD1CF18-CE6A-9386-5698-802543B3B148}"/>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054433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ontel risk management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2" name="Graphic 3">
            <a:extLst>
              <a:ext uri="{FF2B5EF4-FFF2-40B4-BE49-F238E27FC236}">
                <a16:creationId xmlns:a16="http://schemas.microsoft.com/office/drawing/2014/main" id="{670C1164-37E7-B994-BA1F-9CC39F2D4B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2238124"/>
            <a:ext cx="7529481" cy="1214984"/>
          </a:xfrm>
          <a:prstGeom prst="rect">
            <a:avLst/>
          </a:prstGeom>
        </p:spPr>
      </p:pic>
    </p:spTree>
    <p:extLst>
      <p:ext uri="{BB962C8B-B14F-4D97-AF65-F5344CB8AC3E}">
        <p14:creationId xmlns:p14="http://schemas.microsoft.com/office/powerpoint/2010/main" val="1892600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849B8E55-AE34-BC4F-3C35-3F139DEB711C}"/>
              </a:ext>
            </a:extLst>
          </p:cNvPr>
          <p:cNvPicPr>
            <a:picLocks noChangeAspect="1"/>
          </p:cNvPicPr>
          <p:nvPr userDrawn="1"/>
        </p:nvPicPr>
        <p:blipFill>
          <a:blip r:embed="rId4"/>
          <a:stretch>
            <a:fillRect/>
          </a:stretch>
        </p:blipFill>
        <p:spPr>
          <a:xfrm>
            <a:off x="11538368" y="223863"/>
            <a:ext cx="422816" cy="422816"/>
          </a:xfrm>
          <a:prstGeom prst="rect">
            <a:avLst/>
          </a:prstGeom>
        </p:spPr>
      </p:pic>
      <p:pic>
        <p:nvPicPr>
          <p:cNvPr id="13" name="Bilde 12">
            <a:extLst>
              <a:ext uri="{FF2B5EF4-FFF2-40B4-BE49-F238E27FC236}">
                <a16:creationId xmlns:a16="http://schemas.microsoft.com/office/drawing/2014/main" id="{D36615BD-3C04-E957-CB26-31F848FF9B97}"/>
              </a:ext>
            </a:extLst>
          </p:cNvPr>
          <p:cNvPicPr>
            <a:picLocks noChangeAspect="1"/>
          </p:cNvPicPr>
          <p:nvPr userDrawn="1"/>
        </p:nvPicPr>
        <p:blipFill>
          <a:blip r:embed="rId5">
            <a:alphaModFix amt="30000"/>
          </a:blip>
          <a:stretch>
            <a:fillRect/>
          </a:stretch>
        </p:blipFill>
        <p:spPr>
          <a:xfrm>
            <a:off x="10469341" y="4727450"/>
            <a:ext cx="2326479" cy="2541358"/>
          </a:xfrm>
          <a:prstGeom prst="rect">
            <a:avLst/>
          </a:prstGeom>
        </p:spPr>
      </p:pic>
      <p:sp>
        <p:nvSpPr>
          <p:cNvPr id="16" name="Plassholder for tekst 5">
            <a:extLst>
              <a:ext uri="{FF2B5EF4-FFF2-40B4-BE49-F238E27FC236}">
                <a16:creationId xmlns:a16="http://schemas.microsoft.com/office/drawing/2014/main" id="{176B2F9E-0111-9960-BD0E-4BE2C231AF1B}"/>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8" name="TekstSylinder 17">
            <a:extLst>
              <a:ext uri="{FF2B5EF4-FFF2-40B4-BE49-F238E27FC236}">
                <a16:creationId xmlns:a16="http://schemas.microsoft.com/office/drawing/2014/main" id="{EBE3295C-9DB8-8A9D-2F48-FBD44A3AFBA1}"/>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823130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fade">
                                      <p:cBhvr>
                                        <p:cTn id="11" dur="500"/>
                                        <p:tgtEl>
                                          <p:spTgt spid="1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500"/>
                                        <p:tgtEl>
                                          <p:spTgt spid="1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18AAD13C-7BAA-3073-E34D-6C47BF9BE923}"/>
              </a:ext>
            </a:extLst>
          </p:cNvPr>
          <p:cNvSpPr>
            <a:spLocks noGrp="1"/>
          </p:cNvSpPr>
          <p:nvPr>
            <p:ph type="body" sz="quarter" idx="16" hasCustomPrompt="1"/>
          </p:nvPr>
        </p:nvSpPr>
        <p:spPr>
          <a:xfrm>
            <a:off x="959978" y="2072789"/>
            <a:ext cx="608628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AD72741D-5808-A477-CE46-341710C6A48E}"/>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2660889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A977EE6E-8834-D202-2841-D68CDFC995F7}"/>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0" name="Bilde 9">
            <a:extLst>
              <a:ext uri="{FF2B5EF4-FFF2-40B4-BE49-F238E27FC236}">
                <a16:creationId xmlns:a16="http://schemas.microsoft.com/office/drawing/2014/main" id="{6C4FBD22-99B3-25D3-2BFD-7E652B5F42F4}"/>
              </a:ext>
            </a:extLst>
          </p:cNvPr>
          <p:cNvPicPr>
            <a:picLocks noChangeAspect="1"/>
          </p:cNvPicPr>
          <p:nvPr userDrawn="1"/>
        </p:nvPicPr>
        <p:blipFill>
          <a:blip r:embed="rId2">
            <a:alphaModFix amt="30000"/>
          </a:blip>
          <a:stretch>
            <a:fillRect/>
          </a:stretch>
        </p:blipFill>
        <p:spPr>
          <a:xfrm>
            <a:off x="10469341" y="4727450"/>
            <a:ext cx="2326479" cy="2541358"/>
          </a:xfrm>
          <a:prstGeom prst="rect">
            <a:avLst/>
          </a:prstGeom>
        </p:spPr>
      </p:pic>
      <p:pic>
        <p:nvPicPr>
          <p:cNvPr id="12" name="Bilde 11">
            <a:extLst>
              <a:ext uri="{FF2B5EF4-FFF2-40B4-BE49-F238E27FC236}">
                <a16:creationId xmlns:a16="http://schemas.microsoft.com/office/drawing/2014/main" id="{026BB662-E771-C7C5-9F1A-7B227E585795}"/>
              </a:ext>
            </a:extLst>
          </p:cNvPr>
          <p:cNvPicPr>
            <a:picLocks noChangeAspect="1"/>
          </p:cNvPicPr>
          <p:nvPr userDrawn="1"/>
        </p:nvPicPr>
        <p:blipFill>
          <a:blip r:embed="rId3"/>
          <a:stretch>
            <a:fillRect/>
          </a:stretch>
        </p:blipFill>
        <p:spPr>
          <a:xfrm>
            <a:off x="11538368" y="223863"/>
            <a:ext cx="422816" cy="422816"/>
          </a:xfrm>
          <a:prstGeom prst="rect">
            <a:avLst/>
          </a:prstGeom>
        </p:spPr>
      </p:pic>
      <p:sp>
        <p:nvSpPr>
          <p:cNvPr id="13" name="TekstSylinder 12">
            <a:extLst>
              <a:ext uri="{FF2B5EF4-FFF2-40B4-BE49-F238E27FC236}">
                <a16:creationId xmlns:a16="http://schemas.microsoft.com/office/drawing/2014/main" id="{475A21D4-0D45-BC60-7963-1CAE78BBB514}"/>
              </a:ext>
            </a:extLst>
          </p:cNvPr>
          <p:cNvSpPr txBox="1"/>
          <p:nvPr userDrawn="1"/>
        </p:nvSpPr>
        <p:spPr>
          <a:xfrm>
            <a:off x="56335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2398727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3311C4FB-E54E-532E-8876-B35A4F55019D}"/>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F122117C-CCD4-2064-CC00-01608B3E452D}"/>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3444276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ontel event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4" name="Graphic 6">
            <a:extLst>
              <a:ext uri="{FF2B5EF4-FFF2-40B4-BE49-F238E27FC236}">
                <a16:creationId xmlns:a16="http://schemas.microsoft.com/office/drawing/2014/main" id="{A559E273-D079-B8BF-1696-FFE6185EB1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6" y="1988839"/>
            <a:ext cx="5201296" cy="1722980"/>
          </a:xfrm>
          <a:prstGeom prst="rect">
            <a:avLst/>
          </a:prstGeom>
        </p:spPr>
      </p:pic>
    </p:spTree>
    <p:extLst>
      <p:ext uri="{BB962C8B-B14F-4D97-AF65-F5344CB8AC3E}">
        <p14:creationId xmlns:p14="http://schemas.microsoft.com/office/powerpoint/2010/main" val="13892238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23C42E47-392E-B921-116D-DBF91E131D3A}"/>
              </a:ext>
            </a:extLst>
          </p:cNvPr>
          <p:cNvPicPr>
            <a:picLocks noChangeAspect="1"/>
          </p:cNvPicPr>
          <p:nvPr userDrawn="1"/>
        </p:nvPicPr>
        <p:blipFill>
          <a:blip r:embed="rId4"/>
          <a:stretch>
            <a:fillRect/>
          </a:stretch>
        </p:blipFill>
        <p:spPr>
          <a:xfrm>
            <a:off x="11538366" y="232679"/>
            <a:ext cx="422817" cy="422817"/>
          </a:xfrm>
          <a:prstGeom prst="rect">
            <a:avLst/>
          </a:prstGeom>
        </p:spPr>
      </p:pic>
      <p:pic>
        <p:nvPicPr>
          <p:cNvPr id="13" name="Bilde 12">
            <a:extLst>
              <a:ext uri="{FF2B5EF4-FFF2-40B4-BE49-F238E27FC236}">
                <a16:creationId xmlns:a16="http://schemas.microsoft.com/office/drawing/2014/main" id="{6CA85AB7-6971-8416-7727-01D460C920AF}"/>
              </a:ext>
            </a:extLst>
          </p:cNvPr>
          <p:cNvPicPr>
            <a:picLocks noChangeAspect="1"/>
          </p:cNvPicPr>
          <p:nvPr userDrawn="1"/>
        </p:nvPicPr>
        <p:blipFill>
          <a:blip r:embed="rId5">
            <a:alphaModFix amt="30000"/>
          </a:blip>
          <a:stretch>
            <a:fillRect/>
          </a:stretch>
        </p:blipFill>
        <p:spPr>
          <a:xfrm>
            <a:off x="10283698" y="4973725"/>
            <a:ext cx="2221353" cy="2221353"/>
          </a:xfrm>
          <a:prstGeom prst="rect">
            <a:avLst/>
          </a:prstGeom>
        </p:spPr>
      </p:pic>
      <p:sp>
        <p:nvSpPr>
          <p:cNvPr id="15" name="Plassholder for tekst 5">
            <a:extLst>
              <a:ext uri="{FF2B5EF4-FFF2-40B4-BE49-F238E27FC236}">
                <a16:creationId xmlns:a16="http://schemas.microsoft.com/office/drawing/2014/main" id="{DB85B4DF-C4B2-8DA3-F55F-620BA0E3F8AC}"/>
              </a:ext>
            </a:extLst>
          </p:cNvPr>
          <p:cNvSpPr>
            <a:spLocks noGrp="1"/>
          </p:cNvSpPr>
          <p:nvPr>
            <p:ph type="body" sz="quarter" idx="16" hasCustomPrompt="1"/>
          </p:nvPr>
        </p:nvSpPr>
        <p:spPr>
          <a:xfrm>
            <a:off x="959978" y="2072789"/>
            <a:ext cx="9181088"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7" name="TekstSylinder 16">
            <a:extLst>
              <a:ext uri="{FF2B5EF4-FFF2-40B4-BE49-F238E27FC236}">
                <a16:creationId xmlns:a16="http://schemas.microsoft.com/office/drawing/2014/main" id="{06E4ED4B-1BCC-B523-E7B0-99B5F178A906}"/>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4047402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5">
                                            <p:txEl>
                                              <p:pRg st="1" end="1"/>
                                            </p:txEl>
                                          </p:spTgt>
                                        </p:tgtEl>
                                        <p:attrNameLst>
                                          <p:attrName>style.visibility</p:attrName>
                                        </p:attrNameLst>
                                      </p:cBhvr>
                                      <p:to>
                                        <p:strVal val="visible"/>
                                      </p:to>
                                    </p:set>
                                    <p:animEffect transition="in" filter="fade">
                                      <p:cBhvr>
                                        <p:cTn id="15" dur="500"/>
                                        <p:tgtEl>
                                          <p:spTgt spid="15">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5">
                                            <p:txEl>
                                              <p:pRg st="2" end="2"/>
                                            </p:txEl>
                                          </p:spTgt>
                                        </p:tgtEl>
                                        <p:attrNameLst>
                                          <p:attrName>style.visibility</p:attrName>
                                        </p:attrNameLst>
                                      </p:cBhvr>
                                      <p:to>
                                        <p:strVal val="visible"/>
                                      </p:to>
                                    </p:set>
                                    <p:animEffect transition="in" filter="fade">
                                      <p:cBhvr>
                                        <p:cTn id="19"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00D03B8D-0D29-78CC-D194-E9B5F9153CE4}"/>
              </a:ext>
            </a:extLst>
          </p:cNvPr>
          <p:cNvSpPr>
            <a:spLocks noGrp="1"/>
          </p:cNvSpPr>
          <p:nvPr>
            <p:ph type="body" sz="quarter" idx="16" hasCustomPrompt="1"/>
          </p:nvPr>
        </p:nvSpPr>
        <p:spPr>
          <a:xfrm>
            <a:off x="959978" y="2072789"/>
            <a:ext cx="5946431"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E0626223-7550-3AC9-8CDA-BE43428B979B}"/>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1314851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0EF7116F-9018-CDB6-7FBC-029F7835673A}"/>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2" name="Bilde 11">
            <a:extLst>
              <a:ext uri="{FF2B5EF4-FFF2-40B4-BE49-F238E27FC236}">
                <a16:creationId xmlns:a16="http://schemas.microsoft.com/office/drawing/2014/main" id="{B9D33007-C083-AB49-0661-798BF43493A5}"/>
              </a:ext>
            </a:extLst>
          </p:cNvPr>
          <p:cNvPicPr>
            <a:picLocks noChangeAspect="1"/>
          </p:cNvPicPr>
          <p:nvPr userDrawn="1"/>
        </p:nvPicPr>
        <p:blipFill>
          <a:blip r:embed="rId2">
            <a:alphaModFix amt="30000"/>
          </a:blip>
          <a:stretch>
            <a:fillRect/>
          </a:stretch>
        </p:blipFill>
        <p:spPr>
          <a:xfrm>
            <a:off x="10283698" y="4973725"/>
            <a:ext cx="2221353" cy="2221353"/>
          </a:xfrm>
          <a:prstGeom prst="rect">
            <a:avLst/>
          </a:prstGeom>
        </p:spPr>
      </p:pic>
      <p:pic>
        <p:nvPicPr>
          <p:cNvPr id="13" name="Bilde 12">
            <a:extLst>
              <a:ext uri="{FF2B5EF4-FFF2-40B4-BE49-F238E27FC236}">
                <a16:creationId xmlns:a16="http://schemas.microsoft.com/office/drawing/2014/main" id="{99E7E3A6-B9EA-C622-E97B-D97326FFD115}"/>
              </a:ext>
            </a:extLst>
          </p:cNvPr>
          <p:cNvPicPr>
            <a:picLocks noChangeAspect="1"/>
          </p:cNvPicPr>
          <p:nvPr userDrawn="1"/>
        </p:nvPicPr>
        <p:blipFill>
          <a:blip r:embed="rId3"/>
          <a:stretch>
            <a:fillRect/>
          </a:stretch>
        </p:blipFill>
        <p:spPr>
          <a:xfrm>
            <a:off x="11538366" y="232679"/>
            <a:ext cx="422817" cy="422817"/>
          </a:xfrm>
          <a:prstGeom prst="rect">
            <a:avLst/>
          </a:prstGeom>
        </p:spPr>
      </p:pic>
      <p:sp>
        <p:nvSpPr>
          <p:cNvPr id="14" name="TekstSylinder 13">
            <a:extLst>
              <a:ext uri="{FF2B5EF4-FFF2-40B4-BE49-F238E27FC236}">
                <a16:creationId xmlns:a16="http://schemas.microsoft.com/office/drawing/2014/main" id="{979B0FBD-6B4A-2129-8D58-D8C74CDCF604}"/>
              </a:ext>
            </a:extLst>
          </p:cNvPr>
          <p:cNvSpPr txBox="1"/>
          <p:nvPr userDrawn="1"/>
        </p:nvSpPr>
        <p:spPr>
          <a:xfrm>
            <a:off x="56335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862720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ogo + payoff - bubbles and dark backgroun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456D56E1-22A6-AAF0-D581-51E1E974E4AF}"/>
              </a:ext>
            </a:extLst>
          </p:cNvPr>
          <p:cNvPicPr>
            <a:picLocks noChangeAspect="1"/>
          </p:cNvPicPr>
          <p:nvPr userDrawn="1"/>
        </p:nvPicPr>
        <p:blipFill rotWithShape="1">
          <a:blip r:embed="rId2"/>
          <a:srcRect t="6932"/>
          <a:stretch/>
        </p:blipFill>
        <p:spPr>
          <a:xfrm>
            <a:off x="-70338" y="0"/>
            <a:ext cx="12262337" cy="6858000"/>
          </a:xfrm>
          <a:prstGeom prst="rect">
            <a:avLst/>
          </a:prstGeom>
        </p:spPr>
      </p:pic>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500" t="31869" r="12500" b="32409"/>
          <a:stretch/>
        </p:blipFill>
        <p:spPr>
          <a:xfrm>
            <a:off x="9601200" y="5928568"/>
            <a:ext cx="1840366" cy="333247"/>
          </a:xfrm>
          <a:prstGeom prst="rect">
            <a:avLst/>
          </a:prstGeom>
        </p:spPr>
      </p:pic>
      <p:sp>
        <p:nvSpPr>
          <p:cNvPr id="4" name="Plassholder for tekst 19">
            <a:extLst>
              <a:ext uri="{FF2B5EF4-FFF2-40B4-BE49-F238E27FC236}">
                <a16:creationId xmlns:a16="http://schemas.microsoft.com/office/drawing/2014/main" id="{6C57BF06-A03F-8310-1354-6A90D702E235}"/>
              </a:ext>
            </a:extLst>
          </p:cNvPr>
          <p:cNvSpPr>
            <a:spLocks noGrp="1"/>
          </p:cNvSpPr>
          <p:nvPr>
            <p:ph type="body" sz="quarter" idx="10" hasCustomPrompt="1"/>
          </p:nvPr>
        </p:nvSpPr>
        <p:spPr>
          <a:xfrm>
            <a:off x="1068007" y="989962"/>
            <a:ext cx="8471189" cy="1700081"/>
          </a:xfrm>
          <a:prstGeom prst="rect">
            <a:avLst/>
          </a:prstGeom>
        </p:spPr>
        <p:txBody>
          <a:bodyPr anchor="t"/>
          <a:lstStyle>
            <a:lvl1pPr marL="0" indent="0">
              <a:buNone/>
              <a:defRPr sz="5000" b="0" i="0">
                <a:solidFill>
                  <a:schemeClr val="bg1"/>
                </a:solidFill>
                <a:latin typeface="Haffer Light" pitchFamily="2" charset="77"/>
                <a:cs typeface="Haffer Light" pitchFamily="2" charset="77"/>
              </a:defRPr>
            </a:lvl1pPr>
          </a:lstStyle>
          <a:p>
            <a:pPr lvl="0"/>
            <a:r>
              <a:rPr lang="nb-NO"/>
              <a:t>Presentation </a:t>
            </a:r>
            <a:r>
              <a:rPr lang="nb-NO" err="1"/>
              <a:t>title</a:t>
            </a:r>
            <a:endParaRPr lang="nb-NO"/>
          </a:p>
        </p:txBody>
      </p:sp>
    </p:spTree>
    <p:extLst>
      <p:ext uri="{BB962C8B-B14F-4D97-AF65-F5344CB8AC3E}">
        <p14:creationId xmlns:p14="http://schemas.microsoft.com/office/powerpoint/2010/main" val="28471021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F577C597-D2DF-6A8F-05BF-9CA3C43A1EF1}"/>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0" name="TekstSylinder 9">
            <a:extLst>
              <a:ext uri="{FF2B5EF4-FFF2-40B4-BE49-F238E27FC236}">
                <a16:creationId xmlns:a16="http://schemas.microsoft.com/office/drawing/2014/main" id="{716C0605-3963-2610-A64D-2F95B2138163}"/>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2333117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ontel analysi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4" name="Graphic 2">
            <a:extLst>
              <a:ext uri="{FF2B5EF4-FFF2-40B4-BE49-F238E27FC236}">
                <a16:creationId xmlns:a16="http://schemas.microsoft.com/office/drawing/2014/main" id="{A5D836B5-E5AE-637B-EA18-619B912AEC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2000524"/>
            <a:ext cx="5930278" cy="1725613"/>
          </a:xfrm>
          <a:prstGeom prst="rect">
            <a:avLst/>
          </a:prstGeom>
        </p:spPr>
      </p:pic>
    </p:spTree>
    <p:extLst>
      <p:ext uri="{BB962C8B-B14F-4D97-AF65-F5344CB8AC3E}">
        <p14:creationId xmlns:p14="http://schemas.microsoft.com/office/powerpoint/2010/main" val="24167685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4A9587C8-5E5C-F829-AB06-20866578F519}"/>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8585E747-9D42-5F15-F330-CA80A97545AB}"/>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7CB28B4B-968E-B879-B5F4-8E513B6AAAC8}"/>
              </a:ext>
            </a:extLst>
          </p:cNvPr>
          <p:cNvPicPr>
            <a:picLocks noChangeAspect="1"/>
          </p:cNvPicPr>
          <p:nvPr userDrawn="1"/>
        </p:nvPicPr>
        <p:blipFill>
          <a:blip r:embed="rId5">
            <a:alphaModFix amt="30000"/>
          </a:blip>
          <a:stretch>
            <a:fillRect/>
          </a:stretch>
        </p:blipFill>
        <p:spPr>
          <a:xfrm>
            <a:off x="9937733" y="4582044"/>
            <a:ext cx="2588580" cy="2155045"/>
          </a:xfrm>
          <a:prstGeom prst="rect">
            <a:avLst/>
          </a:prstGeom>
        </p:spPr>
      </p:pic>
      <p:sp>
        <p:nvSpPr>
          <p:cNvPr id="16" name="TekstSylinder 15">
            <a:extLst>
              <a:ext uri="{FF2B5EF4-FFF2-40B4-BE49-F238E27FC236}">
                <a16:creationId xmlns:a16="http://schemas.microsoft.com/office/drawing/2014/main" id="{E7568260-739D-9CEB-B861-E3D20EF60A9A}"/>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266721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0B547129-12A9-BEC7-747B-D34BB6A04651}"/>
              </a:ext>
            </a:extLst>
          </p:cNvPr>
          <p:cNvSpPr>
            <a:spLocks noGrp="1"/>
          </p:cNvSpPr>
          <p:nvPr>
            <p:ph type="body" sz="quarter" idx="16" hasCustomPrompt="1"/>
          </p:nvPr>
        </p:nvSpPr>
        <p:spPr>
          <a:xfrm>
            <a:off x="959977" y="2072789"/>
            <a:ext cx="59356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92B9CD70-52FC-CD7E-C5CE-D88A3BF6CD5E}"/>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2871438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796ADA9A-2FF8-FE6A-244B-2E87CE9999B9}"/>
              </a:ext>
            </a:extLst>
          </p:cNvPr>
          <p:cNvSpPr>
            <a:spLocks noGrp="1"/>
          </p:cNvSpPr>
          <p:nvPr>
            <p:ph type="body" sz="quarter" idx="16" hasCustomPrompt="1"/>
          </p:nvPr>
        </p:nvSpPr>
        <p:spPr>
          <a:xfrm>
            <a:off x="5633372"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4ED4BAC4-8B0B-34FA-47DC-4FCB64B1AC19}"/>
              </a:ext>
            </a:extLst>
          </p:cNvPr>
          <p:cNvPicPr>
            <a:picLocks noChangeAspect="1"/>
          </p:cNvPicPr>
          <p:nvPr userDrawn="1"/>
        </p:nvPicPr>
        <p:blipFill>
          <a:blip r:embed="rId2">
            <a:alphaModFix amt="30000"/>
          </a:blip>
          <a:stretch>
            <a:fillRect/>
          </a:stretch>
        </p:blipFill>
        <p:spPr>
          <a:xfrm>
            <a:off x="9937733" y="4582044"/>
            <a:ext cx="2588580" cy="2155045"/>
          </a:xfrm>
          <a:prstGeom prst="rect">
            <a:avLst/>
          </a:prstGeom>
        </p:spPr>
      </p:pic>
      <p:pic>
        <p:nvPicPr>
          <p:cNvPr id="10" name="Bilde 9">
            <a:extLst>
              <a:ext uri="{FF2B5EF4-FFF2-40B4-BE49-F238E27FC236}">
                <a16:creationId xmlns:a16="http://schemas.microsoft.com/office/drawing/2014/main" id="{DD9673FB-0080-E441-4A17-74EC621E6619}"/>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2" name="TekstSylinder 11">
            <a:extLst>
              <a:ext uri="{FF2B5EF4-FFF2-40B4-BE49-F238E27FC236}">
                <a16:creationId xmlns:a16="http://schemas.microsoft.com/office/drawing/2014/main" id="{8C9EBF74-5D29-2670-F710-594D16B9D4BA}"/>
              </a:ext>
            </a:extLst>
          </p:cNvPr>
          <p:cNvSpPr txBox="1"/>
          <p:nvPr userDrawn="1"/>
        </p:nvSpPr>
        <p:spPr>
          <a:xfrm>
            <a:off x="5633372"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3633503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BA7EB6EF-1ECB-8DE1-8D91-CE8A4BE00955}"/>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08DB82E0-CC57-0025-17B3-617EC8E1B4A3}"/>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66405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ontel marked data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7" name="Graphic 3">
            <a:extLst>
              <a:ext uri="{FF2B5EF4-FFF2-40B4-BE49-F238E27FC236}">
                <a16:creationId xmlns:a16="http://schemas.microsoft.com/office/drawing/2014/main" id="{AA9AD0D1-BAD8-E320-B37B-3009169F01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67857" y="2279375"/>
            <a:ext cx="5485133" cy="1222106"/>
          </a:xfrm>
          <a:prstGeom prst="rect">
            <a:avLst/>
          </a:prstGeom>
        </p:spPr>
      </p:pic>
    </p:spTree>
    <p:extLst>
      <p:ext uri="{BB962C8B-B14F-4D97-AF65-F5344CB8AC3E}">
        <p14:creationId xmlns:p14="http://schemas.microsoft.com/office/powerpoint/2010/main" val="30772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CD47D778-E563-13D4-811F-7F58DF54F784}"/>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8231A7B3-091C-24F1-02A2-FD1A3D3314EF}"/>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5" name="Bilde 14">
            <a:extLst>
              <a:ext uri="{FF2B5EF4-FFF2-40B4-BE49-F238E27FC236}">
                <a16:creationId xmlns:a16="http://schemas.microsoft.com/office/drawing/2014/main" id="{664B3E46-4991-1BB1-3558-D4C10DC9BCD0}"/>
              </a:ext>
            </a:extLst>
          </p:cNvPr>
          <p:cNvPicPr>
            <a:picLocks noChangeAspect="1"/>
          </p:cNvPicPr>
          <p:nvPr userDrawn="1"/>
        </p:nvPicPr>
        <p:blipFill>
          <a:blip r:embed="rId5">
            <a:alphaModFix amt="30000"/>
          </a:blip>
          <a:stretch>
            <a:fillRect/>
          </a:stretch>
        </p:blipFill>
        <p:spPr>
          <a:xfrm>
            <a:off x="10189816" y="4305300"/>
            <a:ext cx="2697100" cy="2815509"/>
          </a:xfrm>
          <a:prstGeom prst="rect">
            <a:avLst/>
          </a:prstGeom>
        </p:spPr>
      </p:pic>
      <p:sp>
        <p:nvSpPr>
          <p:cNvPr id="16" name="TekstSylinder 15">
            <a:extLst>
              <a:ext uri="{FF2B5EF4-FFF2-40B4-BE49-F238E27FC236}">
                <a16:creationId xmlns:a16="http://schemas.microsoft.com/office/drawing/2014/main" id="{22B72AEF-738A-E983-3AD6-E9BC9E2EEC40}"/>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2767614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A7776614-F429-2BF7-3EEA-6C870D905FED}"/>
              </a:ext>
            </a:extLst>
          </p:cNvPr>
          <p:cNvSpPr>
            <a:spLocks noGrp="1"/>
          </p:cNvSpPr>
          <p:nvPr>
            <p:ph type="body" sz="quarter" idx="16" hasCustomPrompt="1"/>
          </p:nvPr>
        </p:nvSpPr>
        <p:spPr>
          <a:xfrm>
            <a:off x="959977" y="2072789"/>
            <a:ext cx="6097039"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82326A95-84CC-5DB2-F203-AB1F9304B6F7}"/>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3786370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48831855-A9EF-CA69-57C7-90653A5EDED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33C46A58-9F7D-E42F-2F78-65FDD400B228}"/>
              </a:ext>
            </a:extLst>
          </p:cNvPr>
          <p:cNvPicPr>
            <a:picLocks noChangeAspect="1"/>
          </p:cNvPicPr>
          <p:nvPr userDrawn="1"/>
        </p:nvPicPr>
        <p:blipFill>
          <a:blip r:embed="rId2"/>
          <a:stretch>
            <a:fillRect/>
          </a:stretch>
        </p:blipFill>
        <p:spPr>
          <a:xfrm>
            <a:off x="11538366" y="232679"/>
            <a:ext cx="426896" cy="426896"/>
          </a:xfrm>
          <a:prstGeom prst="rect">
            <a:avLst/>
          </a:prstGeom>
        </p:spPr>
      </p:pic>
      <p:pic>
        <p:nvPicPr>
          <p:cNvPr id="10" name="Bilde 9">
            <a:extLst>
              <a:ext uri="{FF2B5EF4-FFF2-40B4-BE49-F238E27FC236}">
                <a16:creationId xmlns:a16="http://schemas.microsoft.com/office/drawing/2014/main" id="{311C0F33-F62E-258A-33B6-10EFCB7886DA}"/>
              </a:ext>
            </a:extLst>
          </p:cNvPr>
          <p:cNvPicPr>
            <a:picLocks noChangeAspect="1"/>
          </p:cNvPicPr>
          <p:nvPr userDrawn="1"/>
        </p:nvPicPr>
        <p:blipFill>
          <a:blip r:embed="rId3">
            <a:alphaModFix amt="30000"/>
          </a:blip>
          <a:stretch>
            <a:fillRect/>
          </a:stretch>
        </p:blipFill>
        <p:spPr>
          <a:xfrm>
            <a:off x="10189816" y="4305300"/>
            <a:ext cx="2697100" cy="2815509"/>
          </a:xfrm>
          <a:prstGeom prst="rect">
            <a:avLst/>
          </a:prstGeom>
        </p:spPr>
      </p:pic>
      <p:sp>
        <p:nvSpPr>
          <p:cNvPr id="12" name="TekstSylinder 11">
            <a:extLst>
              <a:ext uri="{FF2B5EF4-FFF2-40B4-BE49-F238E27FC236}">
                <a16:creationId xmlns:a16="http://schemas.microsoft.com/office/drawing/2014/main" id="{8E3CF84B-7446-3338-7BD2-A98695447048}"/>
              </a:ext>
            </a:extLst>
          </p:cNvPr>
          <p:cNvSpPr txBox="1"/>
          <p:nvPr userDrawn="1"/>
        </p:nvSpPr>
        <p:spPr>
          <a:xfrm>
            <a:off x="56335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3674964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 white background">
    <p:spTree>
      <p:nvGrpSpPr>
        <p:cNvPr id="1" name=""/>
        <p:cNvGrpSpPr/>
        <p:nvPr/>
      </p:nvGrpSpPr>
      <p:grpSpPr>
        <a:xfrm>
          <a:off x="0" y="0"/>
          <a:ext cx="0" cy="0"/>
          <a:chOff x="0" y="0"/>
          <a:chExt cx="0" cy="0"/>
        </a:xfrm>
      </p:grpSpPr>
      <p:grpSp>
        <p:nvGrpSpPr>
          <p:cNvPr id="18" name="Gruppe 17">
            <a:extLst>
              <a:ext uri="{FF2B5EF4-FFF2-40B4-BE49-F238E27FC236}">
                <a16:creationId xmlns:a16="http://schemas.microsoft.com/office/drawing/2014/main" id="{DBF706C2-A6ED-897E-B994-DAD12B7D9CD2}"/>
              </a:ext>
            </a:extLst>
          </p:cNvPr>
          <p:cNvGrpSpPr/>
          <p:nvPr userDrawn="1"/>
        </p:nvGrpSpPr>
        <p:grpSpPr>
          <a:xfrm>
            <a:off x="3210709" y="3161790"/>
            <a:ext cx="5770583" cy="534421"/>
            <a:chOff x="1869557" y="3038867"/>
            <a:chExt cx="8450697" cy="782630"/>
          </a:xfrm>
        </p:grpSpPr>
        <p:grpSp>
          <p:nvGrpSpPr>
            <p:cNvPr id="2" name="Graphic 10">
              <a:extLst>
                <a:ext uri="{FF2B5EF4-FFF2-40B4-BE49-F238E27FC236}">
                  <a16:creationId xmlns:a16="http://schemas.microsoft.com/office/drawing/2014/main" id="{4B60B40B-B9C2-1D4A-435F-E8440EAD1FC3}"/>
                </a:ext>
              </a:extLst>
            </p:cNvPr>
            <p:cNvGrpSpPr/>
            <p:nvPr userDrawn="1"/>
          </p:nvGrpSpPr>
          <p:grpSpPr>
            <a:xfrm>
              <a:off x="1869557" y="3038867"/>
              <a:ext cx="4569287" cy="782630"/>
              <a:chOff x="1869557" y="3038867"/>
              <a:chExt cx="4569287" cy="782630"/>
            </a:xfrm>
            <a:solidFill>
              <a:srgbClr val="01796F"/>
            </a:solidFill>
          </p:grpSpPr>
          <p:sp>
            <p:nvSpPr>
              <p:cNvPr id="3" name="Freeform: Shape 12">
                <a:extLst>
                  <a:ext uri="{FF2B5EF4-FFF2-40B4-BE49-F238E27FC236}">
                    <a16:creationId xmlns:a16="http://schemas.microsoft.com/office/drawing/2014/main" id="{16718C6F-5C73-784E-9186-D723B4777929}"/>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4" name="Freeform: Shape 13">
                <a:extLst>
                  <a:ext uri="{FF2B5EF4-FFF2-40B4-BE49-F238E27FC236}">
                    <a16:creationId xmlns:a16="http://schemas.microsoft.com/office/drawing/2014/main" id="{532327F8-CF4E-13E5-2365-1D861680EB4C}"/>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5" name="Freeform: Shape 14">
                <a:extLst>
                  <a:ext uri="{FF2B5EF4-FFF2-40B4-BE49-F238E27FC236}">
                    <a16:creationId xmlns:a16="http://schemas.microsoft.com/office/drawing/2014/main" id="{AD8E1528-58B2-BC8C-C0C4-93AED80EFB45}"/>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6" name="Freeform: Shape 15">
                <a:extLst>
                  <a:ext uri="{FF2B5EF4-FFF2-40B4-BE49-F238E27FC236}">
                    <a16:creationId xmlns:a16="http://schemas.microsoft.com/office/drawing/2014/main" id="{7483239B-1700-FFA2-0EBC-6CB67B4D814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A907E126-9AAC-0BF4-025A-32CB56EDADB1}"/>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12F230FD-86EA-CD17-F4BA-F4D8EB0512AE}"/>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grpSp>
          <p:nvGrpSpPr>
            <p:cNvPr id="12" name="Graphic 10">
              <a:extLst>
                <a:ext uri="{FF2B5EF4-FFF2-40B4-BE49-F238E27FC236}">
                  <a16:creationId xmlns:a16="http://schemas.microsoft.com/office/drawing/2014/main" id="{DCBB51C4-224F-5B08-BCD0-ED59046061F9}"/>
                </a:ext>
              </a:extLst>
            </p:cNvPr>
            <p:cNvGrpSpPr/>
            <p:nvPr userDrawn="1"/>
          </p:nvGrpSpPr>
          <p:grpSpPr>
            <a:xfrm>
              <a:off x="6695031" y="3038867"/>
              <a:ext cx="3625223" cy="782630"/>
              <a:chOff x="6695031" y="3038867"/>
              <a:chExt cx="3625223" cy="782630"/>
            </a:xfrm>
            <a:solidFill>
              <a:srgbClr val="01796F"/>
            </a:solidFill>
          </p:grpSpPr>
          <p:sp>
            <p:nvSpPr>
              <p:cNvPr id="13" name="Freeform: Shape 19">
                <a:extLst>
                  <a:ext uri="{FF2B5EF4-FFF2-40B4-BE49-F238E27FC236}">
                    <a16:creationId xmlns:a16="http://schemas.microsoft.com/office/drawing/2014/main" id="{947349B2-9031-B98F-1C64-F96AB9F0B718}"/>
                  </a:ext>
                </a:extLst>
              </p:cNvPr>
              <p:cNvSpPr/>
              <p:nvPr/>
            </p:nvSpPr>
            <p:spPr>
              <a:xfrm>
                <a:off x="9091809" y="3047615"/>
                <a:ext cx="573850" cy="773881"/>
              </a:xfrm>
              <a:custGeom>
                <a:avLst/>
                <a:gdLst>
                  <a:gd name="connsiteX0" fmla="*/ 0 w 573850"/>
                  <a:gd name="connsiteY0" fmla="*/ 502799 h 773881"/>
                  <a:gd name="connsiteX1" fmla="*/ 0 w 573850"/>
                  <a:gd name="connsiteY1" fmla="*/ 0 h 773881"/>
                  <a:gd name="connsiteX2" fmla="*/ 73238 w 573850"/>
                  <a:gd name="connsiteY2" fmla="*/ 0 h 773881"/>
                  <a:gd name="connsiteX3" fmla="*/ 73238 w 573850"/>
                  <a:gd name="connsiteY3" fmla="*/ 502799 h 773881"/>
                  <a:gd name="connsiteX4" fmla="*/ 287457 w 573850"/>
                  <a:gd name="connsiteY4" fmla="*/ 709392 h 773881"/>
                  <a:gd name="connsiteX5" fmla="*/ 500611 w 573850"/>
                  <a:gd name="connsiteY5" fmla="*/ 502799 h 773881"/>
                  <a:gd name="connsiteX6" fmla="*/ 500611 w 573850"/>
                  <a:gd name="connsiteY6" fmla="*/ 0 h 773881"/>
                  <a:gd name="connsiteX7" fmla="*/ 573850 w 573850"/>
                  <a:gd name="connsiteY7" fmla="*/ 0 h 773881"/>
                  <a:gd name="connsiteX8" fmla="*/ 573850 w 573850"/>
                  <a:gd name="connsiteY8" fmla="*/ 502799 h 773881"/>
                  <a:gd name="connsiteX9" fmla="*/ 287457 w 573850"/>
                  <a:gd name="connsiteY9" fmla="*/ 773882 h 773881"/>
                  <a:gd name="connsiteX10" fmla="*/ 0 w 573850"/>
                  <a:gd name="connsiteY10" fmla="*/ 502799 h 7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3850" h="773881">
                    <a:moveTo>
                      <a:pt x="0" y="502799"/>
                    </a:moveTo>
                    <a:lnTo>
                      <a:pt x="0" y="0"/>
                    </a:lnTo>
                    <a:lnTo>
                      <a:pt x="73238" y="0"/>
                    </a:lnTo>
                    <a:lnTo>
                      <a:pt x="73238" y="502799"/>
                    </a:lnTo>
                    <a:cubicBezTo>
                      <a:pt x="73238" y="624154"/>
                      <a:pt x="161787" y="709392"/>
                      <a:pt x="287457" y="709392"/>
                    </a:cubicBezTo>
                    <a:cubicBezTo>
                      <a:pt x="413127" y="709392"/>
                      <a:pt x="500611" y="624154"/>
                      <a:pt x="500611" y="502799"/>
                    </a:cubicBezTo>
                    <a:lnTo>
                      <a:pt x="500611" y="0"/>
                    </a:lnTo>
                    <a:lnTo>
                      <a:pt x="573850" y="0"/>
                    </a:lnTo>
                    <a:lnTo>
                      <a:pt x="573850" y="502799"/>
                    </a:lnTo>
                    <a:cubicBezTo>
                      <a:pt x="573850" y="662399"/>
                      <a:pt x="456869" y="773882"/>
                      <a:pt x="287457" y="773882"/>
                    </a:cubicBezTo>
                    <a:cubicBezTo>
                      <a:pt x="118045" y="773882"/>
                      <a:pt x="0" y="662399"/>
                      <a:pt x="0" y="502799"/>
                    </a:cubicBezTo>
                    <a:close/>
                  </a:path>
                </a:pathLst>
              </a:custGeom>
              <a:grpFill/>
              <a:ln w="5908" cap="flat">
                <a:noFill/>
                <a:prstDash val="solid"/>
                <a:miter/>
              </a:ln>
            </p:spPr>
            <p:txBody>
              <a:bodyPr rtlCol="0" anchor="ctr"/>
              <a:lstStyle/>
              <a:p>
                <a:endParaRPr lang="en-US"/>
              </a:p>
            </p:txBody>
          </p:sp>
          <p:sp>
            <p:nvSpPr>
              <p:cNvPr id="14" name="Freeform: Shape 20">
                <a:extLst>
                  <a:ext uri="{FF2B5EF4-FFF2-40B4-BE49-F238E27FC236}">
                    <a16:creationId xmlns:a16="http://schemas.microsoft.com/office/drawing/2014/main" id="{1B04C564-6BEF-A717-080C-7B3F049DFB8F}"/>
                  </a:ext>
                </a:extLst>
              </p:cNvPr>
              <p:cNvSpPr/>
              <p:nvPr/>
            </p:nvSpPr>
            <p:spPr>
              <a:xfrm>
                <a:off x="9796650" y="3047615"/>
                <a:ext cx="523605" cy="765074"/>
              </a:xfrm>
              <a:custGeom>
                <a:avLst/>
                <a:gdLst>
                  <a:gd name="connsiteX0" fmla="*/ 0 w 523605"/>
                  <a:gd name="connsiteY0" fmla="*/ 0 h 765074"/>
                  <a:gd name="connsiteX1" fmla="*/ 288580 w 523605"/>
                  <a:gd name="connsiteY1" fmla="*/ 0 h 765074"/>
                  <a:gd name="connsiteX2" fmla="*/ 523606 w 523605"/>
                  <a:gd name="connsiteY2" fmla="*/ 214218 h 765074"/>
                  <a:gd name="connsiteX3" fmla="*/ 288580 w 523605"/>
                  <a:gd name="connsiteY3" fmla="*/ 428437 h 765074"/>
                  <a:gd name="connsiteX4" fmla="*/ 73238 w 523605"/>
                  <a:gd name="connsiteY4" fmla="*/ 428437 h 765074"/>
                  <a:gd name="connsiteX5" fmla="*/ 73238 w 523605"/>
                  <a:gd name="connsiteY5" fmla="*/ 765075 h 765074"/>
                  <a:gd name="connsiteX6" fmla="*/ 0 w 523605"/>
                  <a:gd name="connsiteY6" fmla="*/ 765075 h 765074"/>
                  <a:gd name="connsiteX7" fmla="*/ 0 w 523605"/>
                  <a:gd name="connsiteY7" fmla="*/ 0 h 765074"/>
                  <a:gd name="connsiteX8" fmla="*/ 283082 w 523605"/>
                  <a:gd name="connsiteY8" fmla="*/ 365070 h 765074"/>
                  <a:gd name="connsiteX9" fmla="*/ 450308 w 523605"/>
                  <a:gd name="connsiteY9" fmla="*/ 214218 h 765074"/>
                  <a:gd name="connsiteX10" fmla="*/ 283082 w 523605"/>
                  <a:gd name="connsiteY10" fmla="*/ 64490 h 765074"/>
                  <a:gd name="connsiteX11" fmla="*/ 73238 w 523605"/>
                  <a:gd name="connsiteY11" fmla="*/ 64490 h 765074"/>
                  <a:gd name="connsiteX12" fmla="*/ 73238 w 523605"/>
                  <a:gd name="connsiteY12" fmla="*/ 365070 h 765074"/>
                  <a:gd name="connsiteX13" fmla="*/ 283082 w 523605"/>
                  <a:gd name="connsiteY13" fmla="*/ 36507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05" h="765074">
                    <a:moveTo>
                      <a:pt x="0" y="0"/>
                    </a:moveTo>
                    <a:lnTo>
                      <a:pt x="288580" y="0"/>
                    </a:lnTo>
                    <a:cubicBezTo>
                      <a:pt x="430683" y="0"/>
                      <a:pt x="523606" y="85238"/>
                      <a:pt x="523606" y="214218"/>
                    </a:cubicBezTo>
                    <a:cubicBezTo>
                      <a:pt x="523606" y="343199"/>
                      <a:pt x="430683" y="428437"/>
                      <a:pt x="288580" y="428437"/>
                    </a:cubicBezTo>
                    <a:lnTo>
                      <a:pt x="73238" y="428437"/>
                    </a:lnTo>
                    <a:lnTo>
                      <a:pt x="73238" y="765075"/>
                    </a:lnTo>
                    <a:lnTo>
                      <a:pt x="0" y="765075"/>
                    </a:lnTo>
                    <a:lnTo>
                      <a:pt x="0" y="0"/>
                    </a:lnTo>
                    <a:close/>
                    <a:moveTo>
                      <a:pt x="283082" y="365070"/>
                    </a:moveTo>
                    <a:cubicBezTo>
                      <a:pt x="384754" y="365070"/>
                      <a:pt x="450308" y="304954"/>
                      <a:pt x="450308" y="214218"/>
                    </a:cubicBezTo>
                    <a:cubicBezTo>
                      <a:pt x="450308" y="123483"/>
                      <a:pt x="384695" y="64490"/>
                      <a:pt x="283082" y="64490"/>
                    </a:cubicBezTo>
                    <a:lnTo>
                      <a:pt x="73238" y="64490"/>
                    </a:lnTo>
                    <a:lnTo>
                      <a:pt x="73238" y="365070"/>
                    </a:lnTo>
                    <a:lnTo>
                      <a:pt x="283082" y="365070"/>
                    </a:lnTo>
                    <a:close/>
                  </a:path>
                </a:pathLst>
              </a:custGeom>
              <a:grpFill/>
              <a:ln w="5908" cap="flat">
                <a:noFill/>
                <a:prstDash val="solid"/>
                <a:miter/>
              </a:ln>
            </p:spPr>
            <p:txBody>
              <a:bodyPr rtlCol="0" anchor="ctr"/>
              <a:lstStyle/>
              <a:p>
                <a:endParaRPr lang="en-US"/>
              </a:p>
            </p:txBody>
          </p:sp>
          <p:sp>
            <p:nvSpPr>
              <p:cNvPr id="15" name="Freeform: Shape 21">
                <a:extLst>
                  <a:ext uri="{FF2B5EF4-FFF2-40B4-BE49-F238E27FC236}">
                    <a16:creationId xmlns:a16="http://schemas.microsoft.com/office/drawing/2014/main" id="{26B5BDDB-97C1-F364-864E-0650CECA19A0}"/>
                  </a:ext>
                </a:extLst>
              </p:cNvPr>
              <p:cNvSpPr/>
              <p:nvPr/>
            </p:nvSpPr>
            <p:spPr>
              <a:xfrm>
                <a:off x="8205024" y="3038867"/>
                <a:ext cx="782630" cy="782630"/>
              </a:xfrm>
              <a:custGeom>
                <a:avLst/>
                <a:gdLst>
                  <a:gd name="connsiteX0" fmla="*/ 391315 w 782630"/>
                  <a:gd name="connsiteY0" fmla="*/ 73061 h 782630"/>
                  <a:gd name="connsiteX1" fmla="*/ 709569 w 782630"/>
                  <a:gd name="connsiteY1" fmla="*/ 391315 h 782630"/>
                  <a:gd name="connsiteX2" fmla="*/ 391315 w 782630"/>
                  <a:gd name="connsiteY2" fmla="*/ 709569 h 782630"/>
                  <a:gd name="connsiteX3" fmla="*/ 73061 w 782630"/>
                  <a:gd name="connsiteY3" fmla="*/ 391315 h 782630"/>
                  <a:gd name="connsiteX4" fmla="*/ 391315 w 782630"/>
                  <a:gd name="connsiteY4" fmla="*/ 73061 h 782630"/>
                  <a:gd name="connsiteX5" fmla="*/ 391315 w 782630"/>
                  <a:gd name="connsiteY5" fmla="*/ 0 h 782630"/>
                  <a:gd name="connsiteX6" fmla="*/ 0 w 782630"/>
                  <a:gd name="connsiteY6" fmla="*/ 391315 h 782630"/>
                  <a:gd name="connsiteX7" fmla="*/ 391315 w 782630"/>
                  <a:gd name="connsiteY7" fmla="*/ 782630 h 782630"/>
                  <a:gd name="connsiteX8" fmla="*/ 782630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73061"/>
                    </a:moveTo>
                    <a:cubicBezTo>
                      <a:pt x="566816" y="73061"/>
                      <a:pt x="709569" y="215814"/>
                      <a:pt x="709569" y="391315"/>
                    </a:cubicBezTo>
                    <a:cubicBezTo>
                      <a:pt x="709569" y="566816"/>
                      <a:pt x="566816" y="709569"/>
                      <a:pt x="391315" y="709569"/>
                    </a:cubicBezTo>
                    <a:cubicBezTo>
                      <a:pt x="215815" y="709569"/>
                      <a:pt x="73061" y="566816"/>
                      <a:pt x="73061" y="391315"/>
                    </a:cubicBezTo>
                    <a:cubicBezTo>
                      <a:pt x="73061" y="215814"/>
                      <a:pt x="215815" y="73061"/>
                      <a:pt x="391315" y="73061"/>
                    </a:cubicBezTo>
                    <a:moveTo>
                      <a:pt x="391315" y="0"/>
                    </a:moveTo>
                    <a:cubicBezTo>
                      <a:pt x="175205" y="0"/>
                      <a:pt x="0" y="175205"/>
                      <a:pt x="0" y="391315"/>
                    </a:cubicBezTo>
                    <a:cubicBezTo>
                      <a:pt x="0" y="607425"/>
                      <a:pt x="175205" y="782630"/>
                      <a:pt x="391315" y="782630"/>
                    </a:cubicBezTo>
                    <a:cubicBezTo>
                      <a:pt x="607426" y="782630"/>
                      <a:pt x="782630" y="607425"/>
                      <a:pt x="782630" y="391315"/>
                    </a:cubicBezTo>
                    <a:cubicBezTo>
                      <a:pt x="782630" y="175205"/>
                      <a:pt x="607426" y="0"/>
                      <a:pt x="391315" y="0"/>
                    </a:cubicBezTo>
                    <a:lnTo>
                      <a:pt x="391315" y="0"/>
                    </a:lnTo>
                    <a:close/>
                  </a:path>
                </a:pathLst>
              </a:custGeom>
              <a:grpFill/>
              <a:ln w="5908" cap="flat">
                <a:noFill/>
                <a:prstDash val="solid"/>
                <a:miter/>
              </a:ln>
            </p:spPr>
            <p:txBody>
              <a:bodyPr rtlCol="0" anchor="ctr"/>
              <a:lstStyle/>
              <a:p>
                <a:endParaRPr lang="en-US"/>
              </a:p>
            </p:txBody>
          </p:sp>
          <p:sp>
            <p:nvSpPr>
              <p:cNvPr id="16" name="Freeform: Shape 22">
                <a:extLst>
                  <a:ext uri="{FF2B5EF4-FFF2-40B4-BE49-F238E27FC236}">
                    <a16:creationId xmlns:a16="http://schemas.microsoft.com/office/drawing/2014/main" id="{9454743A-082E-4812-54CC-1479EA4F1C0B}"/>
                  </a:ext>
                </a:extLst>
              </p:cNvPr>
              <p:cNvSpPr/>
              <p:nvPr/>
            </p:nvSpPr>
            <p:spPr>
              <a:xfrm>
                <a:off x="6695031" y="3038867"/>
                <a:ext cx="782630" cy="782630"/>
              </a:xfrm>
              <a:custGeom>
                <a:avLst/>
                <a:gdLst>
                  <a:gd name="connsiteX0" fmla="*/ 782158 w 782630"/>
                  <a:gd name="connsiteY0" fmla="*/ 373818 h 782630"/>
                  <a:gd name="connsiteX1" fmla="*/ 782631 w 782630"/>
                  <a:gd name="connsiteY1" fmla="*/ 391315 h 782630"/>
                  <a:gd name="connsiteX2" fmla="*/ 779734 w 782630"/>
                  <a:gd name="connsiteY2" fmla="*/ 438131 h 782630"/>
                  <a:gd name="connsiteX3" fmla="*/ 391315 w 782630"/>
                  <a:gd name="connsiteY3" fmla="*/ 782630 h 782630"/>
                  <a:gd name="connsiteX4" fmla="*/ 0 w 782630"/>
                  <a:gd name="connsiteY4" fmla="*/ 391315 h 782630"/>
                  <a:gd name="connsiteX5" fmla="*/ 391315 w 782630"/>
                  <a:gd name="connsiteY5" fmla="*/ 0 h 782630"/>
                  <a:gd name="connsiteX6" fmla="*/ 755499 w 782630"/>
                  <a:gd name="connsiteY6" fmla="*/ 248148 h 782630"/>
                  <a:gd name="connsiteX7" fmla="*/ 675403 w 782630"/>
                  <a:gd name="connsiteY7" fmla="*/ 248148 h 782630"/>
                  <a:gd name="connsiteX8" fmla="*/ 391315 w 782630"/>
                  <a:gd name="connsiteY8" fmla="*/ 73120 h 782630"/>
                  <a:gd name="connsiteX9" fmla="*/ 73061 w 782630"/>
                  <a:gd name="connsiteY9" fmla="*/ 391374 h 782630"/>
                  <a:gd name="connsiteX10" fmla="*/ 391315 w 782630"/>
                  <a:gd name="connsiteY10" fmla="*/ 709628 h 782630"/>
                  <a:gd name="connsiteX11" fmla="*/ 706082 w 782630"/>
                  <a:gd name="connsiteY11" fmla="*/ 438249 h 782630"/>
                  <a:gd name="connsiteX12" fmla="*/ 391315 w 782630"/>
                  <a:gd name="connsiteY12" fmla="*/ 438249 h 782630"/>
                  <a:gd name="connsiteX13" fmla="*/ 391315 w 782630"/>
                  <a:gd name="connsiteY13" fmla="*/ 373937 h 782630"/>
                  <a:gd name="connsiteX14" fmla="*/ 782158 w 782630"/>
                  <a:gd name="connsiteY14" fmla="*/ 373937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630" h="782630">
                    <a:moveTo>
                      <a:pt x="782158" y="373818"/>
                    </a:moveTo>
                    <a:cubicBezTo>
                      <a:pt x="782394" y="379611"/>
                      <a:pt x="782631" y="385463"/>
                      <a:pt x="782631" y="391315"/>
                    </a:cubicBezTo>
                    <a:cubicBezTo>
                      <a:pt x="782631" y="407157"/>
                      <a:pt x="781567" y="422762"/>
                      <a:pt x="779734" y="438131"/>
                    </a:cubicBezTo>
                    <a:cubicBezTo>
                      <a:pt x="756563" y="632134"/>
                      <a:pt x="591584" y="782630"/>
                      <a:pt x="391315" y="782630"/>
                    </a:cubicBezTo>
                    <a:cubicBezTo>
                      <a:pt x="175205" y="782630"/>
                      <a:pt x="0" y="607425"/>
                      <a:pt x="0" y="391315"/>
                    </a:cubicBezTo>
                    <a:cubicBezTo>
                      <a:pt x="0" y="175205"/>
                      <a:pt x="175205" y="0"/>
                      <a:pt x="391315" y="0"/>
                    </a:cubicBezTo>
                    <a:cubicBezTo>
                      <a:pt x="556885" y="0"/>
                      <a:pt x="698279" y="102853"/>
                      <a:pt x="755499" y="248148"/>
                    </a:cubicBezTo>
                    <a:lnTo>
                      <a:pt x="675403" y="248148"/>
                    </a:lnTo>
                    <a:cubicBezTo>
                      <a:pt x="622912" y="144408"/>
                      <a:pt x="515330" y="73120"/>
                      <a:pt x="391315" y="73120"/>
                    </a:cubicBezTo>
                    <a:cubicBezTo>
                      <a:pt x="215814" y="73120"/>
                      <a:pt x="73061" y="215874"/>
                      <a:pt x="73061" y="391374"/>
                    </a:cubicBezTo>
                    <a:cubicBezTo>
                      <a:pt x="73061" y="566875"/>
                      <a:pt x="215814" y="709628"/>
                      <a:pt x="391315" y="709628"/>
                    </a:cubicBezTo>
                    <a:cubicBezTo>
                      <a:pt x="550856" y="709628"/>
                      <a:pt x="683383" y="591584"/>
                      <a:pt x="706082" y="438249"/>
                    </a:cubicBezTo>
                    <a:lnTo>
                      <a:pt x="391315" y="438249"/>
                    </a:lnTo>
                    <a:lnTo>
                      <a:pt x="391315" y="373937"/>
                    </a:lnTo>
                    <a:lnTo>
                      <a:pt x="782158" y="373937"/>
                    </a:lnTo>
                    <a:close/>
                  </a:path>
                </a:pathLst>
              </a:custGeom>
              <a:grpFill/>
              <a:ln w="5908" cap="flat">
                <a:noFill/>
                <a:prstDash val="solid"/>
                <a:miter/>
              </a:ln>
            </p:spPr>
            <p:txBody>
              <a:bodyPr rtlCol="0" anchor="ctr"/>
              <a:lstStyle/>
              <a:p>
                <a:endParaRPr lang="en-US"/>
              </a:p>
            </p:txBody>
          </p:sp>
          <p:sp>
            <p:nvSpPr>
              <p:cNvPr id="17" name="Freeform: Shape 23">
                <a:extLst>
                  <a:ext uri="{FF2B5EF4-FFF2-40B4-BE49-F238E27FC236}">
                    <a16:creationId xmlns:a16="http://schemas.microsoft.com/office/drawing/2014/main" id="{97CC407C-BE6A-08F3-48B9-5999AFF5B118}"/>
                  </a:ext>
                </a:extLst>
              </p:cNvPr>
              <p:cNvSpPr/>
              <p:nvPr/>
            </p:nvSpPr>
            <p:spPr>
              <a:xfrm>
                <a:off x="7605165" y="3047615"/>
                <a:ext cx="568471" cy="765133"/>
              </a:xfrm>
              <a:custGeom>
                <a:avLst/>
                <a:gdLst>
                  <a:gd name="connsiteX0" fmla="*/ 568471 w 568471"/>
                  <a:gd name="connsiteY0" fmla="*/ 765134 h 765133"/>
                  <a:gd name="connsiteX1" fmla="*/ 348992 w 568471"/>
                  <a:gd name="connsiteY1" fmla="*/ 422644 h 765133"/>
                  <a:gd name="connsiteX2" fmla="*/ 523606 w 568471"/>
                  <a:gd name="connsiteY2" fmla="*/ 214218 h 765133"/>
                  <a:gd name="connsiteX3" fmla="*/ 288580 w 568471"/>
                  <a:gd name="connsiteY3" fmla="*/ 0 h 765133"/>
                  <a:gd name="connsiteX4" fmla="*/ 0 w 568471"/>
                  <a:gd name="connsiteY4" fmla="*/ 0 h 765133"/>
                  <a:gd name="connsiteX5" fmla="*/ 0 w 568471"/>
                  <a:gd name="connsiteY5" fmla="*/ 765134 h 765133"/>
                  <a:gd name="connsiteX6" fmla="*/ 73239 w 568471"/>
                  <a:gd name="connsiteY6" fmla="*/ 765134 h 765133"/>
                  <a:gd name="connsiteX7" fmla="*/ 73239 w 568471"/>
                  <a:gd name="connsiteY7" fmla="*/ 428496 h 765133"/>
                  <a:gd name="connsiteX8" fmla="*/ 270552 w 568471"/>
                  <a:gd name="connsiteY8" fmla="*/ 428496 h 765133"/>
                  <a:gd name="connsiteX9" fmla="*/ 480987 w 568471"/>
                  <a:gd name="connsiteY9" fmla="*/ 765134 h 765133"/>
                  <a:gd name="connsiteX10" fmla="*/ 568412 w 568471"/>
                  <a:gd name="connsiteY10" fmla="*/ 765134 h 765133"/>
                  <a:gd name="connsiteX11" fmla="*/ 73298 w 568471"/>
                  <a:gd name="connsiteY11" fmla="*/ 64490 h 765133"/>
                  <a:gd name="connsiteX12" fmla="*/ 283142 w 568471"/>
                  <a:gd name="connsiteY12" fmla="*/ 64490 h 765133"/>
                  <a:gd name="connsiteX13" fmla="*/ 450367 w 568471"/>
                  <a:gd name="connsiteY13" fmla="*/ 214218 h 765133"/>
                  <a:gd name="connsiteX14" fmla="*/ 283142 w 568471"/>
                  <a:gd name="connsiteY14" fmla="*/ 365070 h 765133"/>
                  <a:gd name="connsiteX15" fmla="*/ 73298 w 568471"/>
                  <a:gd name="connsiteY15" fmla="*/ 365070 h 765133"/>
                  <a:gd name="connsiteX16" fmla="*/ 73298 w 568471"/>
                  <a:gd name="connsiteY16" fmla="*/ 6449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471" h="765133">
                    <a:moveTo>
                      <a:pt x="568471" y="765134"/>
                    </a:moveTo>
                    <a:lnTo>
                      <a:pt x="348992" y="422644"/>
                    </a:lnTo>
                    <a:cubicBezTo>
                      <a:pt x="456397" y="401660"/>
                      <a:pt x="523606" y="323870"/>
                      <a:pt x="523606" y="214218"/>
                    </a:cubicBezTo>
                    <a:cubicBezTo>
                      <a:pt x="523606" y="85238"/>
                      <a:pt x="430684" y="0"/>
                      <a:pt x="288580" y="0"/>
                    </a:cubicBezTo>
                    <a:lnTo>
                      <a:pt x="0" y="0"/>
                    </a:lnTo>
                    <a:lnTo>
                      <a:pt x="0" y="765134"/>
                    </a:lnTo>
                    <a:lnTo>
                      <a:pt x="73239" y="765134"/>
                    </a:lnTo>
                    <a:lnTo>
                      <a:pt x="73239" y="428496"/>
                    </a:lnTo>
                    <a:lnTo>
                      <a:pt x="270552" y="428496"/>
                    </a:lnTo>
                    <a:lnTo>
                      <a:pt x="480987" y="765134"/>
                    </a:lnTo>
                    <a:lnTo>
                      <a:pt x="568412" y="765134"/>
                    </a:lnTo>
                    <a:close/>
                    <a:moveTo>
                      <a:pt x="73298" y="64490"/>
                    </a:moveTo>
                    <a:lnTo>
                      <a:pt x="283142" y="64490"/>
                    </a:lnTo>
                    <a:cubicBezTo>
                      <a:pt x="384813" y="64490"/>
                      <a:pt x="450367" y="124606"/>
                      <a:pt x="450367" y="214218"/>
                    </a:cubicBezTo>
                    <a:cubicBezTo>
                      <a:pt x="450367" y="303831"/>
                      <a:pt x="384754" y="365070"/>
                      <a:pt x="283142" y="365070"/>
                    </a:cubicBezTo>
                    <a:lnTo>
                      <a:pt x="73298" y="365070"/>
                    </a:lnTo>
                    <a:lnTo>
                      <a:pt x="73298" y="64490"/>
                    </a:lnTo>
                    <a:close/>
                  </a:path>
                </a:pathLst>
              </a:custGeom>
              <a:grpFill/>
              <a:ln w="5908"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030119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E39D5A43-6EF4-A9BA-C46C-301E137EF93F}"/>
              </a:ext>
            </a:extLst>
          </p:cNvPr>
          <p:cNvSpPr>
            <a:spLocks noGrp="1"/>
          </p:cNvSpPr>
          <p:nvPr>
            <p:ph type="body" sz="quarter" idx="16" hasCustomPrompt="1"/>
          </p:nvPr>
        </p:nvSpPr>
        <p:spPr>
          <a:xfrm>
            <a:off x="981493"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DE803654-6E9B-B352-09FC-74971CB27ED9}"/>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1649158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Montel Publication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grpSp>
        <p:nvGrpSpPr>
          <p:cNvPr id="36" name="Gruppe 35">
            <a:extLst>
              <a:ext uri="{FF2B5EF4-FFF2-40B4-BE49-F238E27FC236}">
                <a16:creationId xmlns:a16="http://schemas.microsoft.com/office/drawing/2014/main" id="{41F29C41-9379-ED7C-52FD-B7B42639171C}"/>
              </a:ext>
            </a:extLst>
          </p:cNvPr>
          <p:cNvGrpSpPr/>
          <p:nvPr userDrawn="1"/>
        </p:nvGrpSpPr>
        <p:grpSpPr>
          <a:xfrm>
            <a:off x="1467857" y="2279375"/>
            <a:ext cx="5584950" cy="1224523"/>
            <a:chOff x="2103216" y="2545237"/>
            <a:chExt cx="7980638" cy="1749787"/>
          </a:xfrm>
        </p:grpSpPr>
        <p:grpSp>
          <p:nvGrpSpPr>
            <p:cNvPr id="37" name="Graphic 2">
              <a:extLst>
                <a:ext uri="{FF2B5EF4-FFF2-40B4-BE49-F238E27FC236}">
                  <a16:creationId xmlns:a16="http://schemas.microsoft.com/office/drawing/2014/main" id="{76F90A70-D1D4-C309-EB37-E7DC04821AE3}"/>
                </a:ext>
              </a:extLst>
            </p:cNvPr>
            <p:cNvGrpSpPr/>
            <p:nvPr/>
          </p:nvGrpSpPr>
          <p:grpSpPr>
            <a:xfrm>
              <a:off x="2103216" y="2545237"/>
              <a:ext cx="1749788" cy="1749787"/>
              <a:chOff x="2105024" y="2554434"/>
              <a:chExt cx="1749788" cy="1749787"/>
            </a:xfrm>
            <a:solidFill>
              <a:srgbClr val="022E33"/>
            </a:solidFill>
          </p:grpSpPr>
          <p:sp>
            <p:nvSpPr>
              <p:cNvPr id="58" name="Freeform: Shape 7">
                <a:extLst>
                  <a:ext uri="{FF2B5EF4-FFF2-40B4-BE49-F238E27FC236}">
                    <a16:creationId xmlns:a16="http://schemas.microsoft.com/office/drawing/2014/main" id="{1C87958E-1BD6-A1F8-2C0F-A848E5E2922E}"/>
                  </a:ext>
                </a:extLst>
              </p:cNvPr>
              <p:cNvSpPr/>
              <p:nvPr/>
            </p:nvSpPr>
            <p:spPr>
              <a:xfrm>
                <a:off x="2733032" y="3078352"/>
                <a:ext cx="493689" cy="591173"/>
              </a:xfrm>
              <a:custGeom>
                <a:avLst/>
                <a:gdLst>
                  <a:gd name="connsiteX0" fmla="*/ 386734 w 493689"/>
                  <a:gd name="connsiteY0" fmla="*/ 42538 h 591173"/>
                  <a:gd name="connsiteX1" fmla="*/ 251977 w 493689"/>
                  <a:gd name="connsiteY1" fmla="*/ 0 h 591173"/>
                  <a:gd name="connsiteX2" fmla="*/ 241794 w 493689"/>
                  <a:gd name="connsiteY2" fmla="*/ 0 h 591173"/>
                  <a:gd name="connsiteX3" fmla="*/ 107037 w 493689"/>
                  <a:gd name="connsiteY3" fmla="*/ 42538 h 591173"/>
                  <a:gd name="connsiteX4" fmla="*/ 22455 w 493689"/>
                  <a:gd name="connsiteY4" fmla="*/ 145022 h 591173"/>
                  <a:gd name="connsiteX5" fmla="*/ 1761 w 493689"/>
                  <a:gd name="connsiteY5" fmla="*/ 278136 h 591173"/>
                  <a:gd name="connsiteX6" fmla="*/ 60147 w 493689"/>
                  <a:gd name="connsiteY6" fmla="*/ 409034 h 591173"/>
                  <a:gd name="connsiteX7" fmla="*/ 163946 w 493689"/>
                  <a:gd name="connsiteY7" fmla="*/ 530159 h 591173"/>
                  <a:gd name="connsiteX8" fmla="*/ 172814 w 493689"/>
                  <a:gd name="connsiteY8" fmla="*/ 554056 h 591173"/>
                  <a:gd name="connsiteX9" fmla="*/ 172814 w 493689"/>
                  <a:gd name="connsiteY9" fmla="*/ 591173 h 591173"/>
                  <a:gd name="connsiteX10" fmla="*/ 320875 w 493689"/>
                  <a:gd name="connsiteY10" fmla="*/ 591173 h 591173"/>
                  <a:gd name="connsiteX11" fmla="*/ 320875 w 493689"/>
                  <a:gd name="connsiteY11" fmla="*/ 554056 h 591173"/>
                  <a:gd name="connsiteX12" fmla="*/ 329744 w 493689"/>
                  <a:gd name="connsiteY12" fmla="*/ 530159 h 591173"/>
                  <a:gd name="connsiteX13" fmla="*/ 433542 w 493689"/>
                  <a:gd name="connsiteY13" fmla="*/ 409034 h 591173"/>
                  <a:gd name="connsiteX14" fmla="*/ 491928 w 493689"/>
                  <a:gd name="connsiteY14" fmla="*/ 278136 h 591173"/>
                  <a:gd name="connsiteX15" fmla="*/ 471234 w 493689"/>
                  <a:gd name="connsiteY15" fmla="*/ 145022 h 591173"/>
                  <a:gd name="connsiteX16" fmla="*/ 386652 w 493689"/>
                  <a:gd name="connsiteY16" fmla="*/ 42538 h 591173"/>
                  <a:gd name="connsiteX17" fmla="*/ 246886 w 493689"/>
                  <a:gd name="connsiteY17" fmla="*/ 147732 h 591173"/>
                  <a:gd name="connsiteX18" fmla="*/ 135943 w 493689"/>
                  <a:gd name="connsiteY18" fmla="*/ 258674 h 591173"/>
                  <a:gd name="connsiteX19" fmla="*/ 99154 w 493689"/>
                  <a:gd name="connsiteY19" fmla="*/ 295464 h 591173"/>
                  <a:gd name="connsiteX20" fmla="*/ 62365 w 493689"/>
                  <a:gd name="connsiteY20" fmla="*/ 258674 h 591173"/>
                  <a:gd name="connsiteX21" fmla="*/ 246804 w 493689"/>
                  <a:gd name="connsiteY21" fmla="*/ 74235 h 591173"/>
                  <a:gd name="connsiteX22" fmla="*/ 283593 w 493689"/>
                  <a:gd name="connsiteY22" fmla="*/ 111025 h 591173"/>
                  <a:gd name="connsiteX23" fmla="*/ 246804 w 493689"/>
                  <a:gd name="connsiteY23" fmla="*/ 147814 h 5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3689" h="591173">
                    <a:moveTo>
                      <a:pt x="386734" y="42538"/>
                    </a:moveTo>
                    <a:cubicBezTo>
                      <a:pt x="347810" y="15520"/>
                      <a:pt x="301248" y="903"/>
                      <a:pt x="251977" y="0"/>
                    </a:cubicBezTo>
                    <a:cubicBezTo>
                      <a:pt x="248610" y="0"/>
                      <a:pt x="245161" y="0"/>
                      <a:pt x="241794" y="0"/>
                    </a:cubicBezTo>
                    <a:cubicBezTo>
                      <a:pt x="192523" y="821"/>
                      <a:pt x="145962" y="15520"/>
                      <a:pt x="107037" y="42538"/>
                    </a:cubicBezTo>
                    <a:cubicBezTo>
                      <a:pt x="70494" y="67912"/>
                      <a:pt x="41260" y="103305"/>
                      <a:pt x="22455" y="145022"/>
                    </a:cubicBezTo>
                    <a:cubicBezTo>
                      <a:pt x="3485" y="187149"/>
                      <a:pt x="-3659" y="233217"/>
                      <a:pt x="1761" y="278136"/>
                    </a:cubicBezTo>
                    <a:cubicBezTo>
                      <a:pt x="7509" y="325930"/>
                      <a:pt x="27711" y="371177"/>
                      <a:pt x="60147" y="409034"/>
                    </a:cubicBezTo>
                    <a:lnTo>
                      <a:pt x="163946" y="530159"/>
                    </a:lnTo>
                    <a:cubicBezTo>
                      <a:pt x="169694" y="536811"/>
                      <a:pt x="172814" y="545269"/>
                      <a:pt x="172814" y="554056"/>
                    </a:cubicBezTo>
                    <a:lnTo>
                      <a:pt x="172814" y="591173"/>
                    </a:lnTo>
                    <a:lnTo>
                      <a:pt x="320875" y="591173"/>
                    </a:lnTo>
                    <a:lnTo>
                      <a:pt x="320875" y="554056"/>
                    </a:lnTo>
                    <a:cubicBezTo>
                      <a:pt x="320875" y="545269"/>
                      <a:pt x="323995" y="536811"/>
                      <a:pt x="329744" y="530159"/>
                    </a:cubicBezTo>
                    <a:lnTo>
                      <a:pt x="433542" y="409034"/>
                    </a:lnTo>
                    <a:cubicBezTo>
                      <a:pt x="465979" y="371177"/>
                      <a:pt x="486180" y="325930"/>
                      <a:pt x="491928" y="278136"/>
                    </a:cubicBezTo>
                    <a:cubicBezTo>
                      <a:pt x="497348" y="233217"/>
                      <a:pt x="490204" y="187149"/>
                      <a:pt x="471234" y="145022"/>
                    </a:cubicBezTo>
                    <a:cubicBezTo>
                      <a:pt x="452511" y="103305"/>
                      <a:pt x="423195" y="67830"/>
                      <a:pt x="386652" y="42538"/>
                    </a:cubicBezTo>
                    <a:close/>
                    <a:moveTo>
                      <a:pt x="246886" y="147732"/>
                    </a:moveTo>
                    <a:cubicBezTo>
                      <a:pt x="185707" y="147732"/>
                      <a:pt x="135943" y="197496"/>
                      <a:pt x="135943" y="258674"/>
                    </a:cubicBezTo>
                    <a:cubicBezTo>
                      <a:pt x="135943" y="278958"/>
                      <a:pt x="119519" y="295464"/>
                      <a:pt x="99154" y="295464"/>
                    </a:cubicBezTo>
                    <a:cubicBezTo>
                      <a:pt x="78788" y="295464"/>
                      <a:pt x="62365" y="279040"/>
                      <a:pt x="62365" y="258674"/>
                    </a:cubicBezTo>
                    <a:cubicBezTo>
                      <a:pt x="62365" y="156929"/>
                      <a:pt x="145140" y="74235"/>
                      <a:pt x="246804" y="74235"/>
                    </a:cubicBezTo>
                    <a:cubicBezTo>
                      <a:pt x="267087" y="74235"/>
                      <a:pt x="283593" y="90659"/>
                      <a:pt x="283593" y="111025"/>
                    </a:cubicBezTo>
                    <a:cubicBezTo>
                      <a:pt x="283593" y="131390"/>
                      <a:pt x="267169" y="147814"/>
                      <a:pt x="246804" y="147814"/>
                    </a:cubicBezTo>
                    <a:close/>
                  </a:path>
                </a:pathLst>
              </a:custGeom>
              <a:grpFill/>
              <a:ln w="8212" cap="flat">
                <a:noFill/>
                <a:prstDash val="solid"/>
                <a:miter/>
              </a:ln>
            </p:spPr>
            <p:txBody>
              <a:bodyPr rtlCol="0" anchor="ctr"/>
              <a:lstStyle/>
              <a:p>
                <a:endParaRPr lang="en-US"/>
              </a:p>
            </p:txBody>
          </p:sp>
          <p:sp>
            <p:nvSpPr>
              <p:cNvPr id="59" name="Freeform: Shape 8">
                <a:extLst>
                  <a:ext uri="{FF2B5EF4-FFF2-40B4-BE49-F238E27FC236}">
                    <a16:creationId xmlns:a16="http://schemas.microsoft.com/office/drawing/2014/main" id="{CCB3FD97-6798-BE77-DE4D-73C7CA0A7D0F}"/>
                  </a:ext>
                </a:extLst>
              </p:cNvPr>
              <p:cNvSpPr/>
              <p:nvPr/>
            </p:nvSpPr>
            <p:spPr>
              <a:xfrm>
                <a:off x="2105024" y="2554434"/>
                <a:ext cx="1749788" cy="1749787"/>
              </a:xfrm>
              <a:custGeom>
                <a:avLst/>
                <a:gdLst>
                  <a:gd name="connsiteX0" fmla="*/ 874894 w 1749788"/>
                  <a:gd name="connsiteY0" fmla="*/ 0 h 1749787"/>
                  <a:gd name="connsiteX1" fmla="*/ 0 w 1749788"/>
                  <a:gd name="connsiteY1" fmla="*/ 874894 h 1749787"/>
                  <a:gd name="connsiteX2" fmla="*/ 874894 w 1749788"/>
                  <a:gd name="connsiteY2" fmla="*/ 1749788 h 1749787"/>
                  <a:gd name="connsiteX3" fmla="*/ 1749788 w 1749788"/>
                  <a:gd name="connsiteY3" fmla="*/ 874894 h 1749787"/>
                  <a:gd name="connsiteX4" fmla="*/ 874894 w 1749788"/>
                  <a:gd name="connsiteY4" fmla="*/ 0 h 1749787"/>
                  <a:gd name="connsiteX5" fmla="*/ 985672 w 1749788"/>
                  <a:gd name="connsiteY5" fmla="*/ 1299366 h 1749787"/>
                  <a:gd name="connsiteX6" fmla="*/ 764116 w 1749788"/>
                  <a:gd name="connsiteY6" fmla="*/ 1299366 h 1749787"/>
                  <a:gd name="connsiteX7" fmla="*/ 727327 w 1749788"/>
                  <a:gd name="connsiteY7" fmla="*/ 1262577 h 1749787"/>
                  <a:gd name="connsiteX8" fmla="*/ 764116 w 1749788"/>
                  <a:gd name="connsiteY8" fmla="*/ 1225788 h 1749787"/>
                  <a:gd name="connsiteX9" fmla="*/ 985672 w 1749788"/>
                  <a:gd name="connsiteY9" fmla="*/ 1225788 h 1749787"/>
                  <a:gd name="connsiteX10" fmla="*/ 1022462 w 1749788"/>
                  <a:gd name="connsiteY10" fmla="*/ 1262577 h 1749787"/>
                  <a:gd name="connsiteX11" fmla="*/ 985672 w 1749788"/>
                  <a:gd name="connsiteY11" fmla="*/ 1299366 h 1749787"/>
                  <a:gd name="connsiteX12" fmla="*/ 1192940 w 1749788"/>
                  <a:gd name="connsiteY12" fmla="*/ 810841 h 1749787"/>
                  <a:gd name="connsiteX13" fmla="*/ 1117391 w 1749788"/>
                  <a:gd name="connsiteY13" fmla="*/ 980745 h 1749787"/>
                  <a:gd name="connsiteX14" fmla="*/ 1022462 w 1749788"/>
                  <a:gd name="connsiteY14" fmla="*/ 1091523 h 1749787"/>
                  <a:gd name="connsiteX15" fmla="*/ 1022462 w 1749788"/>
                  <a:gd name="connsiteY15" fmla="*/ 1151799 h 1749787"/>
                  <a:gd name="connsiteX16" fmla="*/ 985672 w 1749788"/>
                  <a:gd name="connsiteY16" fmla="*/ 1188588 h 1749787"/>
                  <a:gd name="connsiteX17" fmla="*/ 764116 w 1749788"/>
                  <a:gd name="connsiteY17" fmla="*/ 1188588 h 1749787"/>
                  <a:gd name="connsiteX18" fmla="*/ 727327 w 1749788"/>
                  <a:gd name="connsiteY18" fmla="*/ 1151799 h 1749787"/>
                  <a:gd name="connsiteX19" fmla="*/ 727327 w 1749788"/>
                  <a:gd name="connsiteY19" fmla="*/ 1091523 h 1749787"/>
                  <a:gd name="connsiteX20" fmla="*/ 632397 w 1749788"/>
                  <a:gd name="connsiteY20" fmla="*/ 980745 h 1749787"/>
                  <a:gd name="connsiteX21" fmla="*/ 556848 w 1749788"/>
                  <a:gd name="connsiteY21" fmla="*/ 810841 h 1749787"/>
                  <a:gd name="connsiteX22" fmla="*/ 583454 w 1749788"/>
                  <a:gd name="connsiteY22" fmla="*/ 638720 h 1749787"/>
                  <a:gd name="connsiteX23" fmla="*/ 693165 w 1749788"/>
                  <a:gd name="connsiteY23" fmla="*/ 505934 h 1749787"/>
                  <a:gd name="connsiteX24" fmla="*/ 868571 w 1749788"/>
                  <a:gd name="connsiteY24" fmla="*/ 450340 h 1749787"/>
                  <a:gd name="connsiteX25" fmla="*/ 881217 w 1749788"/>
                  <a:gd name="connsiteY25" fmla="*/ 450340 h 1749787"/>
                  <a:gd name="connsiteX26" fmla="*/ 1056623 w 1749788"/>
                  <a:gd name="connsiteY26" fmla="*/ 505934 h 1749787"/>
                  <a:gd name="connsiteX27" fmla="*/ 1166334 w 1749788"/>
                  <a:gd name="connsiteY27" fmla="*/ 638720 h 1749787"/>
                  <a:gd name="connsiteX28" fmla="*/ 1192940 w 1749788"/>
                  <a:gd name="connsiteY28" fmla="*/ 810841 h 174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49788" h="1749787">
                    <a:moveTo>
                      <a:pt x="874894" y="0"/>
                    </a:moveTo>
                    <a:cubicBezTo>
                      <a:pt x="391707" y="0"/>
                      <a:pt x="0" y="391707"/>
                      <a:pt x="0" y="874894"/>
                    </a:cubicBezTo>
                    <a:cubicBezTo>
                      <a:pt x="0" y="1358081"/>
                      <a:pt x="391707" y="1749788"/>
                      <a:pt x="874894" y="1749788"/>
                    </a:cubicBezTo>
                    <a:cubicBezTo>
                      <a:pt x="1358081" y="1749788"/>
                      <a:pt x="1749788" y="1358081"/>
                      <a:pt x="1749788" y="874894"/>
                    </a:cubicBezTo>
                    <a:cubicBezTo>
                      <a:pt x="1749788" y="391707"/>
                      <a:pt x="1358081" y="0"/>
                      <a:pt x="874894" y="0"/>
                    </a:cubicBezTo>
                    <a:close/>
                    <a:moveTo>
                      <a:pt x="985672" y="1299366"/>
                    </a:moveTo>
                    <a:lnTo>
                      <a:pt x="764116" y="1299366"/>
                    </a:lnTo>
                    <a:cubicBezTo>
                      <a:pt x="743832" y="1299366"/>
                      <a:pt x="727327" y="1282942"/>
                      <a:pt x="727327" y="1262577"/>
                    </a:cubicBezTo>
                    <a:cubicBezTo>
                      <a:pt x="727327" y="1242212"/>
                      <a:pt x="743750" y="1225788"/>
                      <a:pt x="764116" y="1225788"/>
                    </a:cubicBezTo>
                    <a:lnTo>
                      <a:pt x="985672" y="1225788"/>
                    </a:lnTo>
                    <a:cubicBezTo>
                      <a:pt x="1005956" y="1225788"/>
                      <a:pt x="1022462" y="1242212"/>
                      <a:pt x="1022462" y="1262577"/>
                    </a:cubicBezTo>
                    <a:cubicBezTo>
                      <a:pt x="1022462" y="1282942"/>
                      <a:pt x="1006038" y="1299366"/>
                      <a:pt x="985672" y="1299366"/>
                    </a:cubicBezTo>
                    <a:close/>
                    <a:moveTo>
                      <a:pt x="1192940" y="810841"/>
                    </a:moveTo>
                    <a:cubicBezTo>
                      <a:pt x="1185386" y="873087"/>
                      <a:pt x="1159272" y="931802"/>
                      <a:pt x="1117391" y="980745"/>
                    </a:cubicBezTo>
                    <a:lnTo>
                      <a:pt x="1022462" y="1091523"/>
                    </a:lnTo>
                    <a:lnTo>
                      <a:pt x="1022462" y="1151799"/>
                    </a:lnTo>
                    <a:cubicBezTo>
                      <a:pt x="1022462" y="1172082"/>
                      <a:pt x="1006038" y="1188588"/>
                      <a:pt x="985672" y="1188588"/>
                    </a:cubicBezTo>
                    <a:lnTo>
                      <a:pt x="764116" y="1188588"/>
                    </a:lnTo>
                    <a:cubicBezTo>
                      <a:pt x="743832" y="1188588"/>
                      <a:pt x="727327" y="1172164"/>
                      <a:pt x="727327" y="1151799"/>
                    </a:cubicBezTo>
                    <a:lnTo>
                      <a:pt x="727327" y="1091523"/>
                    </a:lnTo>
                    <a:lnTo>
                      <a:pt x="632397" y="980745"/>
                    </a:lnTo>
                    <a:cubicBezTo>
                      <a:pt x="590434" y="931802"/>
                      <a:pt x="564321" y="873087"/>
                      <a:pt x="556848" y="810841"/>
                    </a:cubicBezTo>
                    <a:cubicBezTo>
                      <a:pt x="549786" y="752619"/>
                      <a:pt x="558983" y="693083"/>
                      <a:pt x="583454" y="638720"/>
                    </a:cubicBezTo>
                    <a:cubicBezTo>
                      <a:pt x="607679" y="584850"/>
                      <a:pt x="645618" y="538946"/>
                      <a:pt x="693165" y="505934"/>
                    </a:cubicBezTo>
                    <a:cubicBezTo>
                      <a:pt x="744079" y="470623"/>
                      <a:pt x="804683" y="451407"/>
                      <a:pt x="868571" y="450340"/>
                    </a:cubicBezTo>
                    <a:cubicBezTo>
                      <a:pt x="872841" y="450340"/>
                      <a:pt x="877029" y="450340"/>
                      <a:pt x="881217" y="450340"/>
                    </a:cubicBezTo>
                    <a:cubicBezTo>
                      <a:pt x="945106" y="451407"/>
                      <a:pt x="1005709" y="470623"/>
                      <a:pt x="1056623" y="505934"/>
                    </a:cubicBezTo>
                    <a:cubicBezTo>
                      <a:pt x="1104170" y="538864"/>
                      <a:pt x="1142109" y="584768"/>
                      <a:pt x="1166334" y="638720"/>
                    </a:cubicBezTo>
                    <a:cubicBezTo>
                      <a:pt x="1190805" y="693083"/>
                      <a:pt x="1200003" y="752619"/>
                      <a:pt x="1192940" y="810841"/>
                    </a:cubicBezTo>
                    <a:close/>
                  </a:path>
                </a:pathLst>
              </a:custGeom>
              <a:grpFill/>
              <a:ln w="8212" cap="flat">
                <a:noFill/>
                <a:prstDash val="solid"/>
                <a:miter/>
              </a:ln>
            </p:spPr>
            <p:txBody>
              <a:bodyPr rtlCol="0" anchor="ctr"/>
              <a:lstStyle/>
              <a:p>
                <a:endParaRPr lang="en-US"/>
              </a:p>
            </p:txBody>
          </p:sp>
        </p:grpSp>
        <p:grpSp>
          <p:nvGrpSpPr>
            <p:cNvPr id="38" name="Graphic 2">
              <a:extLst>
                <a:ext uri="{FF2B5EF4-FFF2-40B4-BE49-F238E27FC236}">
                  <a16:creationId xmlns:a16="http://schemas.microsoft.com/office/drawing/2014/main" id="{C55D9707-8580-E943-B366-D4506D54DAAA}"/>
                </a:ext>
              </a:extLst>
            </p:cNvPr>
            <p:cNvGrpSpPr/>
            <p:nvPr/>
          </p:nvGrpSpPr>
          <p:grpSpPr>
            <a:xfrm>
              <a:off x="4372407" y="2781081"/>
              <a:ext cx="1746092" cy="299076"/>
              <a:chOff x="4372407" y="2781081"/>
              <a:chExt cx="1746092" cy="299076"/>
            </a:xfrm>
            <a:solidFill>
              <a:srgbClr val="022E33"/>
            </a:solidFill>
          </p:grpSpPr>
          <p:sp>
            <p:nvSpPr>
              <p:cNvPr id="52" name="Freeform: Shape 10">
                <a:extLst>
                  <a:ext uri="{FF2B5EF4-FFF2-40B4-BE49-F238E27FC236}">
                    <a16:creationId xmlns:a16="http://schemas.microsoft.com/office/drawing/2014/main" id="{2E6ADC8B-9B59-91E2-D771-264799F2761B}"/>
                  </a:ext>
                </a:extLst>
              </p:cNvPr>
              <p:cNvSpPr/>
              <p:nvPr/>
            </p:nvSpPr>
            <p:spPr>
              <a:xfrm>
                <a:off x="5400452" y="2784366"/>
                <a:ext cx="232642" cy="292343"/>
              </a:xfrm>
              <a:custGeom>
                <a:avLst/>
                <a:gdLst>
                  <a:gd name="connsiteX0" fmla="*/ 88114 w 232642"/>
                  <a:gd name="connsiteY0" fmla="*/ 48450 h 292343"/>
                  <a:gd name="connsiteX1" fmla="*/ 0 w 232642"/>
                  <a:gd name="connsiteY1" fmla="*/ 48450 h 292343"/>
                  <a:gd name="connsiteX2" fmla="*/ 0 w 232642"/>
                  <a:gd name="connsiteY2" fmla="*/ 0 h 292343"/>
                  <a:gd name="connsiteX3" fmla="*/ 232643 w 232642"/>
                  <a:gd name="connsiteY3" fmla="*/ 0 h 292343"/>
                  <a:gd name="connsiteX4" fmla="*/ 232643 w 232642"/>
                  <a:gd name="connsiteY4" fmla="*/ 48450 h 292343"/>
                  <a:gd name="connsiteX5" fmla="*/ 144940 w 232642"/>
                  <a:gd name="connsiteY5" fmla="*/ 48450 h 292343"/>
                  <a:gd name="connsiteX6" fmla="*/ 144940 w 232642"/>
                  <a:gd name="connsiteY6" fmla="*/ 292343 h 292343"/>
                  <a:gd name="connsiteX7" fmla="*/ 88114 w 232642"/>
                  <a:gd name="connsiteY7" fmla="*/ 292343 h 292343"/>
                  <a:gd name="connsiteX8" fmla="*/ 88114 w 232642"/>
                  <a:gd name="connsiteY8" fmla="*/ 48450 h 29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642" h="292343">
                    <a:moveTo>
                      <a:pt x="88114" y="48450"/>
                    </a:moveTo>
                    <a:lnTo>
                      <a:pt x="0" y="48450"/>
                    </a:lnTo>
                    <a:lnTo>
                      <a:pt x="0" y="0"/>
                    </a:lnTo>
                    <a:lnTo>
                      <a:pt x="232643" y="0"/>
                    </a:lnTo>
                    <a:lnTo>
                      <a:pt x="232643" y="48450"/>
                    </a:lnTo>
                    <a:lnTo>
                      <a:pt x="144940" y="48450"/>
                    </a:lnTo>
                    <a:lnTo>
                      <a:pt x="144940" y="292343"/>
                    </a:lnTo>
                    <a:lnTo>
                      <a:pt x="88114" y="292343"/>
                    </a:lnTo>
                    <a:lnTo>
                      <a:pt x="88114" y="48450"/>
                    </a:lnTo>
                    <a:close/>
                  </a:path>
                </a:pathLst>
              </a:custGeom>
              <a:solidFill>
                <a:srgbClr val="022E33"/>
              </a:solidFill>
              <a:ln w="8212" cap="flat">
                <a:noFill/>
                <a:prstDash val="solid"/>
                <a:miter/>
              </a:ln>
            </p:spPr>
            <p:txBody>
              <a:bodyPr rtlCol="0" anchor="ctr"/>
              <a:lstStyle/>
              <a:p>
                <a:endParaRPr lang="en-US"/>
              </a:p>
            </p:txBody>
          </p:sp>
          <p:sp>
            <p:nvSpPr>
              <p:cNvPr id="53" name="Freeform: Shape 11">
                <a:extLst>
                  <a:ext uri="{FF2B5EF4-FFF2-40B4-BE49-F238E27FC236}">
                    <a16:creationId xmlns:a16="http://schemas.microsoft.com/office/drawing/2014/main" id="{43342978-3FBF-E633-F9EF-7F880A0AA93A}"/>
                  </a:ext>
                </a:extLst>
              </p:cNvPr>
              <p:cNvSpPr/>
              <p:nvPr/>
            </p:nvSpPr>
            <p:spPr>
              <a:xfrm>
                <a:off x="5675058" y="2784284"/>
                <a:ext cx="200123" cy="292425"/>
              </a:xfrm>
              <a:custGeom>
                <a:avLst/>
                <a:gdLst>
                  <a:gd name="connsiteX0" fmla="*/ 77356 w 200123"/>
                  <a:gd name="connsiteY0" fmla="*/ 82 h 292425"/>
                  <a:gd name="connsiteX1" fmla="*/ 200124 w 200123"/>
                  <a:gd name="connsiteY1" fmla="*/ 82 h 292425"/>
                  <a:gd name="connsiteX2" fmla="*/ 200124 w 200123"/>
                  <a:gd name="connsiteY2" fmla="*/ 48532 h 292425"/>
                  <a:gd name="connsiteX3" fmla="*/ 82612 w 200123"/>
                  <a:gd name="connsiteY3" fmla="*/ 48532 h 292425"/>
                  <a:gd name="connsiteX4" fmla="*/ 56826 w 200123"/>
                  <a:gd name="connsiteY4" fmla="*/ 74318 h 292425"/>
                  <a:gd name="connsiteX5" fmla="*/ 56826 w 200123"/>
                  <a:gd name="connsiteY5" fmla="*/ 122029 h 292425"/>
                  <a:gd name="connsiteX6" fmla="*/ 200124 w 200123"/>
                  <a:gd name="connsiteY6" fmla="*/ 122029 h 292425"/>
                  <a:gd name="connsiteX7" fmla="*/ 200124 w 200123"/>
                  <a:gd name="connsiteY7" fmla="*/ 170479 h 292425"/>
                  <a:gd name="connsiteX8" fmla="*/ 56826 w 200123"/>
                  <a:gd name="connsiteY8" fmla="*/ 170479 h 292425"/>
                  <a:gd name="connsiteX9" fmla="*/ 56826 w 200123"/>
                  <a:gd name="connsiteY9" fmla="*/ 218190 h 292425"/>
                  <a:gd name="connsiteX10" fmla="*/ 82612 w 200123"/>
                  <a:gd name="connsiteY10" fmla="*/ 243975 h 292425"/>
                  <a:gd name="connsiteX11" fmla="*/ 200124 w 200123"/>
                  <a:gd name="connsiteY11" fmla="*/ 243975 h 292425"/>
                  <a:gd name="connsiteX12" fmla="*/ 200124 w 200123"/>
                  <a:gd name="connsiteY12" fmla="*/ 292425 h 292425"/>
                  <a:gd name="connsiteX13" fmla="*/ 77356 w 200123"/>
                  <a:gd name="connsiteY13" fmla="*/ 292425 h 292425"/>
                  <a:gd name="connsiteX14" fmla="*/ 0 w 200123"/>
                  <a:gd name="connsiteY14" fmla="*/ 215069 h 292425"/>
                  <a:gd name="connsiteX15" fmla="*/ 0 w 200123"/>
                  <a:gd name="connsiteY15" fmla="*/ 77356 h 292425"/>
                  <a:gd name="connsiteX16" fmla="*/ 77356 w 200123"/>
                  <a:gd name="connsiteY16"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123" h="292425">
                    <a:moveTo>
                      <a:pt x="77356" y="82"/>
                    </a:moveTo>
                    <a:lnTo>
                      <a:pt x="200124" y="82"/>
                    </a:lnTo>
                    <a:lnTo>
                      <a:pt x="200124" y="48532"/>
                    </a:lnTo>
                    <a:lnTo>
                      <a:pt x="82612" y="48532"/>
                    </a:lnTo>
                    <a:cubicBezTo>
                      <a:pt x="68405" y="48532"/>
                      <a:pt x="56826" y="60111"/>
                      <a:pt x="56826" y="74318"/>
                    </a:cubicBezTo>
                    <a:lnTo>
                      <a:pt x="56826" y="122029"/>
                    </a:lnTo>
                    <a:lnTo>
                      <a:pt x="200124" y="122029"/>
                    </a:lnTo>
                    <a:lnTo>
                      <a:pt x="200124" y="170479"/>
                    </a:lnTo>
                    <a:lnTo>
                      <a:pt x="56826" y="170479"/>
                    </a:lnTo>
                    <a:lnTo>
                      <a:pt x="56826" y="218190"/>
                    </a:lnTo>
                    <a:cubicBezTo>
                      <a:pt x="56826" y="232396"/>
                      <a:pt x="68405" y="243975"/>
                      <a:pt x="82612" y="243975"/>
                    </a:cubicBezTo>
                    <a:lnTo>
                      <a:pt x="200124" y="243975"/>
                    </a:lnTo>
                    <a:lnTo>
                      <a:pt x="200124" y="292425"/>
                    </a:lnTo>
                    <a:lnTo>
                      <a:pt x="77356" y="292425"/>
                    </a:lnTo>
                    <a:cubicBezTo>
                      <a:pt x="34654" y="292425"/>
                      <a:pt x="0" y="257771"/>
                      <a:pt x="0" y="215069"/>
                    </a:cubicBezTo>
                    <a:lnTo>
                      <a:pt x="0" y="77356"/>
                    </a:lnTo>
                    <a:cubicBezTo>
                      <a:pt x="0" y="34654"/>
                      <a:pt x="34654" y="0"/>
                      <a:pt x="77356" y="0"/>
                    </a:cubicBezTo>
                    <a:close/>
                  </a:path>
                </a:pathLst>
              </a:custGeom>
              <a:solidFill>
                <a:srgbClr val="022E33"/>
              </a:solidFill>
              <a:ln w="8212" cap="flat">
                <a:noFill/>
                <a:prstDash val="solid"/>
                <a:miter/>
              </a:ln>
            </p:spPr>
            <p:txBody>
              <a:bodyPr rtlCol="0" anchor="ctr"/>
              <a:lstStyle/>
              <a:p>
                <a:endParaRPr lang="en-US"/>
              </a:p>
            </p:txBody>
          </p:sp>
          <p:sp>
            <p:nvSpPr>
              <p:cNvPr id="54" name="Freeform: Shape 12">
                <a:extLst>
                  <a:ext uri="{FF2B5EF4-FFF2-40B4-BE49-F238E27FC236}">
                    <a16:creationId xmlns:a16="http://schemas.microsoft.com/office/drawing/2014/main" id="{79262B31-F38D-5E60-294D-650EC648703B}"/>
                  </a:ext>
                </a:extLst>
              </p:cNvPr>
              <p:cNvSpPr/>
              <p:nvPr/>
            </p:nvSpPr>
            <p:spPr>
              <a:xfrm>
                <a:off x="5924206" y="2784366"/>
                <a:ext cx="194293" cy="292425"/>
              </a:xfrm>
              <a:custGeom>
                <a:avLst/>
                <a:gdLst>
                  <a:gd name="connsiteX0" fmla="*/ 0 w 194293"/>
                  <a:gd name="connsiteY0" fmla="*/ 0 h 292425"/>
                  <a:gd name="connsiteX1" fmla="*/ 56826 w 194293"/>
                  <a:gd name="connsiteY1" fmla="*/ 0 h 292425"/>
                  <a:gd name="connsiteX2" fmla="*/ 56826 w 194293"/>
                  <a:gd name="connsiteY2" fmla="*/ 218190 h 292425"/>
                  <a:gd name="connsiteX3" fmla="*/ 82612 w 194293"/>
                  <a:gd name="connsiteY3" fmla="*/ 243975 h 292425"/>
                  <a:gd name="connsiteX4" fmla="*/ 194293 w 194293"/>
                  <a:gd name="connsiteY4" fmla="*/ 243975 h 292425"/>
                  <a:gd name="connsiteX5" fmla="*/ 194293 w 194293"/>
                  <a:gd name="connsiteY5" fmla="*/ 292425 h 292425"/>
                  <a:gd name="connsiteX6" fmla="*/ 77438 w 194293"/>
                  <a:gd name="connsiteY6" fmla="*/ 292425 h 292425"/>
                  <a:gd name="connsiteX7" fmla="*/ 82 w 194293"/>
                  <a:gd name="connsiteY7" fmla="*/ 215069 h 292425"/>
                  <a:gd name="connsiteX8" fmla="*/ 82 w 194293"/>
                  <a:gd name="connsiteY8"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293" h="292425">
                    <a:moveTo>
                      <a:pt x="0" y="0"/>
                    </a:moveTo>
                    <a:lnTo>
                      <a:pt x="56826" y="0"/>
                    </a:lnTo>
                    <a:lnTo>
                      <a:pt x="56826" y="218190"/>
                    </a:lnTo>
                    <a:cubicBezTo>
                      <a:pt x="56826" y="232396"/>
                      <a:pt x="68405" y="243975"/>
                      <a:pt x="82612" y="243975"/>
                    </a:cubicBezTo>
                    <a:lnTo>
                      <a:pt x="194293" y="243975"/>
                    </a:lnTo>
                    <a:lnTo>
                      <a:pt x="194293" y="292425"/>
                    </a:lnTo>
                    <a:lnTo>
                      <a:pt x="77438" y="292425"/>
                    </a:lnTo>
                    <a:cubicBezTo>
                      <a:pt x="34736" y="292425"/>
                      <a:pt x="82" y="257771"/>
                      <a:pt x="82" y="215069"/>
                    </a:cubicBezTo>
                    <a:lnTo>
                      <a:pt x="82" y="0"/>
                    </a:lnTo>
                    <a:close/>
                  </a:path>
                </a:pathLst>
              </a:custGeom>
              <a:solidFill>
                <a:srgbClr val="022E33"/>
              </a:solidFill>
              <a:ln w="8212" cap="flat">
                <a:noFill/>
                <a:prstDash val="solid"/>
                <a:miter/>
              </a:ln>
            </p:spPr>
            <p:txBody>
              <a:bodyPr rtlCol="0" anchor="ctr"/>
              <a:lstStyle/>
              <a:p>
                <a:endParaRPr lang="en-US"/>
              </a:p>
            </p:txBody>
          </p:sp>
          <p:sp>
            <p:nvSpPr>
              <p:cNvPr id="55" name="Freeform: Shape 13">
                <a:extLst>
                  <a:ext uri="{FF2B5EF4-FFF2-40B4-BE49-F238E27FC236}">
                    <a16:creationId xmlns:a16="http://schemas.microsoft.com/office/drawing/2014/main" id="{3E5F2CDB-D2ED-2F5F-4B59-1C9FA498DC2C}"/>
                  </a:ext>
                </a:extLst>
              </p:cNvPr>
              <p:cNvSpPr/>
              <p:nvPr/>
            </p:nvSpPr>
            <p:spPr>
              <a:xfrm>
                <a:off x="5114433" y="2784366"/>
                <a:ext cx="244385" cy="292425"/>
              </a:xfrm>
              <a:custGeom>
                <a:avLst/>
                <a:gdLst>
                  <a:gd name="connsiteX0" fmla="*/ 244386 w 244385"/>
                  <a:gd name="connsiteY0" fmla="*/ 77356 h 292425"/>
                  <a:gd name="connsiteX1" fmla="*/ 244386 w 244385"/>
                  <a:gd name="connsiteY1" fmla="*/ 292425 h 292425"/>
                  <a:gd name="connsiteX2" fmla="*/ 187559 w 244385"/>
                  <a:gd name="connsiteY2" fmla="*/ 292425 h 292425"/>
                  <a:gd name="connsiteX3" fmla="*/ 187559 w 244385"/>
                  <a:gd name="connsiteY3" fmla="*/ 74235 h 292425"/>
                  <a:gd name="connsiteX4" fmla="*/ 161774 w 244385"/>
                  <a:gd name="connsiteY4" fmla="*/ 48450 h 292425"/>
                  <a:gd name="connsiteX5" fmla="*/ 56826 w 244385"/>
                  <a:gd name="connsiteY5" fmla="*/ 48450 h 292425"/>
                  <a:gd name="connsiteX6" fmla="*/ 56826 w 244385"/>
                  <a:gd name="connsiteY6" fmla="*/ 292343 h 292425"/>
                  <a:gd name="connsiteX7" fmla="*/ 0 w 244385"/>
                  <a:gd name="connsiteY7" fmla="*/ 292343 h 292425"/>
                  <a:gd name="connsiteX8" fmla="*/ 0 w 244385"/>
                  <a:gd name="connsiteY8" fmla="*/ 0 h 292425"/>
                  <a:gd name="connsiteX9" fmla="*/ 167030 w 244385"/>
                  <a:gd name="connsiteY9" fmla="*/ 0 h 292425"/>
                  <a:gd name="connsiteX10" fmla="*/ 244386 w 244385"/>
                  <a:gd name="connsiteY10" fmla="*/ 77356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385" h="292425">
                    <a:moveTo>
                      <a:pt x="244386" y="77356"/>
                    </a:moveTo>
                    <a:lnTo>
                      <a:pt x="244386" y="292425"/>
                    </a:lnTo>
                    <a:lnTo>
                      <a:pt x="187559" y="292425"/>
                    </a:lnTo>
                    <a:lnTo>
                      <a:pt x="187559" y="74235"/>
                    </a:lnTo>
                    <a:cubicBezTo>
                      <a:pt x="187559" y="60029"/>
                      <a:pt x="175981" y="48450"/>
                      <a:pt x="161774" y="48450"/>
                    </a:cubicBezTo>
                    <a:lnTo>
                      <a:pt x="56826" y="48450"/>
                    </a:lnTo>
                    <a:lnTo>
                      <a:pt x="56826" y="292343"/>
                    </a:lnTo>
                    <a:lnTo>
                      <a:pt x="0" y="292343"/>
                    </a:lnTo>
                    <a:lnTo>
                      <a:pt x="0" y="0"/>
                    </a:lnTo>
                    <a:lnTo>
                      <a:pt x="167030" y="0"/>
                    </a:lnTo>
                    <a:cubicBezTo>
                      <a:pt x="209732" y="0"/>
                      <a:pt x="244386" y="34654"/>
                      <a:pt x="244386" y="77356"/>
                    </a:cubicBezTo>
                    <a:close/>
                  </a:path>
                </a:pathLst>
              </a:custGeom>
              <a:solidFill>
                <a:srgbClr val="022E33"/>
              </a:solidFill>
              <a:ln w="8212" cap="flat">
                <a:noFill/>
                <a:prstDash val="solid"/>
                <a:miter/>
              </a:ln>
            </p:spPr>
            <p:txBody>
              <a:bodyPr rtlCol="0" anchor="ctr"/>
              <a:lstStyle/>
              <a:p>
                <a:endParaRPr lang="en-US"/>
              </a:p>
            </p:txBody>
          </p:sp>
          <p:sp>
            <p:nvSpPr>
              <p:cNvPr id="56" name="Freeform: Shape 14">
                <a:extLst>
                  <a:ext uri="{FF2B5EF4-FFF2-40B4-BE49-F238E27FC236}">
                    <a16:creationId xmlns:a16="http://schemas.microsoft.com/office/drawing/2014/main" id="{60FC30EF-B2F3-36B0-DA01-3F88FE916F79}"/>
                  </a:ext>
                </a:extLst>
              </p:cNvPr>
              <p:cNvSpPr/>
              <p:nvPr/>
            </p:nvSpPr>
            <p:spPr>
              <a:xfrm>
                <a:off x="4372407" y="2784366"/>
                <a:ext cx="354260" cy="292425"/>
              </a:xfrm>
              <a:custGeom>
                <a:avLst/>
                <a:gdLst>
                  <a:gd name="connsiteX0" fmla="*/ 276905 w 354260"/>
                  <a:gd name="connsiteY0" fmla="*/ 0 h 292425"/>
                  <a:gd name="connsiteX1" fmla="*/ 354261 w 354260"/>
                  <a:gd name="connsiteY1" fmla="*/ 77356 h 292425"/>
                  <a:gd name="connsiteX2" fmla="*/ 354261 w 354260"/>
                  <a:gd name="connsiteY2" fmla="*/ 292425 h 292425"/>
                  <a:gd name="connsiteX3" fmla="*/ 297434 w 354260"/>
                  <a:gd name="connsiteY3" fmla="*/ 292425 h 292425"/>
                  <a:gd name="connsiteX4" fmla="*/ 297434 w 354260"/>
                  <a:gd name="connsiteY4" fmla="*/ 74235 h 292425"/>
                  <a:gd name="connsiteX5" fmla="*/ 271649 w 354260"/>
                  <a:gd name="connsiteY5" fmla="*/ 48450 h 292425"/>
                  <a:gd name="connsiteX6" fmla="*/ 205544 w 354260"/>
                  <a:gd name="connsiteY6" fmla="*/ 48450 h 292425"/>
                  <a:gd name="connsiteX7" fmla="*/ 205544 w 354260"/>
                  <a:gd name="connsiteY7" fmla="*/ 292343 h 292425"/>
                  <a:gd name="connsiteX8" fmla="*/ 148717 w 354260"/>
                  <a:gd name="connsiteY8" fmla="*/ 292343 h 292425"/>
                  <a:gd name="connsiteX9" fmla="*/ 148717 w 354260"/>
                  <a:gd name="connsiteY9" fmla="*/ 48450 h 292425"/>
                  <a:gd name="connsiteX10" fmla="*/ 82612 w 354260"/>
                  <a:gd name="connsiteY10" fmla="*/ 48450 h 292425"/>
                  <a:gd name="connsiteX11" fmla="*/ 56826 w 354260"/>
                  <a:gd name="connsiteY11" fmla="*/ 74235 h 292425"/>
                  <a:gd name="connsiteX12" fmla="*/ 56826 w 354260"/>
                  <a:gd name="connsiteY12" fmla="*/ 292425 h 292425"/>
                  <a:gd name="connsiteX13" fmla="*/ 0 w 354260"/>
                  <a:gd name="connsiteY13" fmla="*/ 292425 h 292425"/>
                  <a:gd name="connsiteX14" fmla="*/ 0 w 354260"/>
                  <a:gd name="connsiteY14" fmla="*/ 77356 h 292425"/>
                  <a:gd name="connsiteX15" fmla="*/ 77356 w 354260"/>
                  <a:gd name="connsiteY15" fmla="*/ 0 h 292425"/>
                  <a:gd name="connsiteX16" fmla="*/ 276905 w 354260"/>
                  <a:gd name="connsiteY16"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260" h="292425">
                    <a:moveTo>
                      <a:pt x="276905" y="0"/>
                    </a:moveTo>
                    <a:cubicBezTo>
                      <a:pt x="319607" y="0"/>
                      <a:pt x="354261" y="34654"/>
                      <a:pt x="354261" y="77356"/>
                    </a:cubicBezTo>
                    <a:lnTo>
                      <a:pt x="354261" y="292425"/>
                    </a:lnTo>
                    <a:lnTo>
                      <a:pt x="297434" y="292425"/>
                    </a:lnTo>
                    <a:lnTo>
                      <a:pt x="297434" y="74235"/>
                    </a:lnTo>
                    <a:cubicBezTo>
                      <a:pt x="297434" y="60029"/>
                      <a:pt x="285856" y="48450"/>
                      <a:pt x="271649" y="48450"/>
                    </a:cubicBezTo>
                    <a:lnTo>
                      <a:pt x="205544" y="48450"/>
                    </a:lnTo>
                    <a:lnTo>
                      <a:pt x="205544" y="292343"/>
                    </a:lnTo>
                    <a:lnTo>
                      <a:pt x="148717" y="292343"/>
                    </a:lnTo>
                    <a:lnTo>
                      <a:pt x="148717" y="48450"/>
                    </a:lnTo>
                    <a:lnTo>
                      <a:pt x="82612" y="48450"/>
                    </a:lnTo>
                    <a:cubicBezTo>
                      <a:pt x="68405" y="48450"/>
                      <a:pt x="56826" y="60029"/>
                      <a:pt x="56826" y="74235"/>
                    </a:cubicBezTo>
                    <a:lnTo>
                      <a:pt x="56826" y="292425"/>
                    </a:lnTo>
                    <a:lnTo>
                      <a:pt x="0" y="292425"/>
                    </a:lnTo>
                    <a:lnTo>
                      <a:pt x="0" y="77356"/>
                    </a:lnTo>
                    <a:cubicBezTo>
                      <a:pt x="0" y="34654"/>
                      <a:pt x="34654" y="0"/>
                      <a:pt x="77356" y="0"/>
                    </a:cubicBezTo>
                    <a:lnTo>
                      <a:pt x="276905" y="0"/>
                    </a:lnTo>
                    <a:close/>
                  </a:path>
                </a:pathLst>
              </a:custGeom>
              <a:solidFill>
                <a:srgbClr val="022E33"/>
              </a:solidFill>
              <a:ln w="8212" cap="flat">
                <a:noFill/>
                <a:prstDash val="solid"/>
                <a:miter/>
              </a:ln>
            </p:spPr>
            <p:txBody>
              <a:bodyPr rtlCol="0" anchor="ctr"/>
              <a:lstStyle/>
              <a:p>
                <a:endParaRPr lang="en-US"/>
              </a:p>
            </p:txBody>
          </p:sp>
          <p:sp>
            <p:nvSpPr>
              <p:cNvPr id="57" name="Freeform: Shape 15">
                <a:extLst>
                  <a:ext uri="{FF2B5EF4-FFF2-40B4-BE49-F238E27FC236}">
                    <a16:creationId xmlns:a16="http://schemas.microsoft.com/office/drawing/2014/main" id="{B94A67F0-4D11-08EF-AED3-57759824CEED}"/>
                  </a:ext>
                </a:extLst>
              </p:cNvPr>
              <p:cNvSpPr/>
              <p:nvPr/>
            </p:nvSpPr>
            <p:spPr>
              <a:xfrm>
                <a:off x="4771176" y="2781081"/>
                <a:ext cx="299076" cy="299076"/>
              </a:xfrm>
              <a:custGeom>
                <a:avLst/>
                <a:gdLst>
                  <a:gd name="connsiteX0" fmla="*/ 149538 w 299076"/>
                  <a:gd name="connsiteY0" fmla="*/ 55020 h 299076"/>
                  <a:gd name="connsiteX1" fmla="*/ 244057 w 299076"/>
                  <a:gd name="connsiteY1" fmla="*/ 149538 h 299076"/>
                  <a:gd name="connsiteX2" fmla="*/ 149538 w 299076"/>
                  <a:gd name="connsiteY2" fmla="*/ 244057 h 299076"/>
                  <a:gd name="connsiteX3" fmla="*/ 55019 w 299076"/>
                  <a:gd name="connsiteY3" fmla="*/ 149538 h 299076"/>
                  <a:gd name="connsiteX4" fmla="*/ 149538 w 299076"/>
                  <a:gd name="connsiteY4" fmla="*/ 55020 h 299076"/>
                  <a:gd name="connsiteX5" fmla="*/ 149538 w 299076"/>
                  <a:gd name="connsiteY5" fmla="*/ 0 h 299076"/>
                  <a:gd name="connsiteX6" fmla="*/ 0 w 299076"/>
                  <a:gd name="connsiteY6" fmla="*/ 149538 h 299076"/>
                  <a:gd name="connsiteX7" fmla="*/ 149538 w 299076"/>
                  <a:gd name="connsiteY7" fmla="*/ 299077 h 299076"/>
                  <a:gd name="connsiteX8" fmla="*/ 299077 w 299076"/>
                  <a:gd name="connsiteY8" fmla="*/ 149538 h 299076"/>
                  <a:gd name="connsiteX9" fmla="*/ 149538 w 299076"/>
                  <a:gd name="connsiteY9" fmla="*/ 0 h 299076"/>
                  <a:gd name="connsiteX10" fmla="*/ 149538 w 299076"/>
                  <a:gd name="connsiteY10" fmla="*/ 0 h 29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9076" h="299076">
                    <a:moveTo>
                      <a:pt x="149538" y="55020"/>
                    </a:moveTo>
                    <a:cubicBezTo>
                      <a:pt x="201684" y="55020"/>
                      <a:pt x="244057" y="97393"/>
                      <a:pt x="244057" y="149538"/>
                    </a:cubicBezTo>
                    <a:cubicBezTo>
                      <a:pt x="244057" y="201684"/>
                      <a:pt x="201684" y="244057"/>
                      <a:pt x="149538" y="244057"/>
                    </a:cubicBezTo>
                    <a:cubicBezTo>
                      <a:pt x="97393" y="244057"/>
                      <a:pt x="55019" y="201684"/>
                      <a:pt x="55019" y="149538"/>
                    </a:cubicBezTo>
                    <a:cubicBezTo>
                      <a:pt x="55019" y="97393"/>
                      <a:pt x="97393" y="55020"/>
                      <a:pt x="149538" y="55020"/>
                    </a:cubicBezTo>
                    <a:moveTo>
                      <a:pt x="149538" y="0"/>
                    </a:moveTo>
                    <a:cubicBezTo>
                      <a:pt x="66927" y="0"/>
                      <a:pt x="0" y="66927"/>
                      <a:pt x="0" y="149538"/>
                    </a:cubicBezTo>
                    <a:cubicBezTo>
                      <a:pt x="0" y="232150"/>
                      <a:pt x="66927" y="299077"/>
                      <a:pt x="149538" y="299077"/>
                    </a:cubicBezTo>
                    <a:cubicBezTo>
                      <a:pt x="232150" y="299077"/>
                      <a:pt x="299077" y="232150"/>
                      <a:pt x="299077" y="149538"/>
                    </a:cubicBezTo>
                    <a:cubicBezTo>
                      <a:pt x="299077" y="66927"/>
                      <a:pt x="232150" y="0"/>
                      <a:pt x="149538" y="0"/>
                    </a:cubicBezTo>
                    <a:lnTo>
                      <a:pt x="149538" y="0"/>
                    </a:lnTo>
                    <a:close/>
                  </a:path>
                </a:pathLst>
              </a:custGeom>
              <a:solidFill>
                <a:srgbClr val="022E33"/>
              </a:solidFill>
              <a:ln w="8212" cap="flat">
                <a:noFill/>
                <a:prstDash val="solid"/>
                <a:miter/>
              </a:ln>
            </p:spPr>
            <p:txBody>
              <a:bodyPr rtlCol="0" anchor="ctr"/>
              <a:lstStyle/>
              <a:p>
                <a:endParaRPr lang="en-US"/>
              </a:p>
            </p:txBody>
          </p:sp>
        </p:grpSp>
        <p:grpSp>
          <p:nvGrpSpPr>
            <p:cNvPr id="39" name="Graphic 2">
              <a:extLst>
                <a:ext uri="{FF2B5EF4-FFF2-40B4-BE49-F238E27FC236}">
                  <a16:creationId xmlns:a16="http://schemas.microsoft.com/office/drawing/2014/main" id="{C4A2299B-CC37-8EA1-1C30-FA1EF5890512}"/>
                </a:ext>
              </a:extLst>
            </p:cNvPr>
            <p:cNvGrpSpPr/>
            <p:nvPr/>
          </p:nvGrpSpPr>
          <p:grpSpPr>
            <a:xfrm>
              <a:off x="4372407" y="3202023"/>
              <a:ext cx="5711447" cy="794171"/>
              <a:chOff x="4372407" y="3219924"/>
              <a:chExt cx="5711447" cy="794171"/>
            </a:xfrm>
            <a:solidFill>
              <a:srgbClr val="022E33"/>
            </a:solidFill>
          </p:grpSpPr>
          <p:sp>
            <p:nvSpPr>
              <p:cNvPr id="40" name="Freeform: Shape 17">
                <a:extLst>
                  <a:ext uri="{FF2B5EF4-FFF2-40B4-BE49-F238E27FC236}">
                    <a16:creationId xmlns:a16="http://schemas.microsoft.com/office/drawing/2014/main" id="{CF86D32B-0AF1-E6EC-AB50-D9A16867E1B9}"/>
                  </a:ext>
                </a:extLst>
              </p:cNvPr>
              <p:cNvSpPr/>
              <p:nvPr/>
            </p:nvSpPr>
            <p:spPr>
              <a:xfrm>
                <a:off x="4372407" y="3229861"/>
                <a:ext cx="530569" cy="775201"/>
              </a:xfrm>
              <a:custGeom>
                <a:avLst/>
                <a:gdLst>
                  <a:gd name="connsiteX0" fmla="*/ 0 w 530569"/>
                  <a:gd name="connsiteY0" fmla="*/ 0 h 775201"/>
                  <a:gd name="connsiteX1" fmla="*/ 292425 w 530569"/>
                  <a:gd name="connsiteY1" fmla="*/ 0 h 775201"/>
                  <a:gd name="connsiteX2" fmla="*/ 530570 w 530569"/>
                  <a:gd name="connsiteY2" fmla="*/ 217040 h 775201"/>
                  <a:gd name="connsiteX3" fmla="*/ 292425 w 530569"/>
                  <a:gd name="connsiteY3" fmla="*/ 434080 h 775201"/>
                  <a:gd name="connsiteX4" fmla="*/ 74236 w 530569"/>
                  <a:gd name="connsiteY4" fmla="*/ 434080 h 775201"/>
                  <a:gd name="connsiteX5" fmla="*/ 74236 w 530569"/>
                  <a:gd name="connsiteY5" fmla="*/ 775202 h 775201"/>
                  <a:gd name="connsiteX6" fmla="*/ 0 w 530569"/>
                  <a:gd name="connsiteY6" fmla="*/ 775202 h 775201"/>
                  <a:gd name="connsiteX7" fmla="*/ 0 w 530569"/>
                  <a:gd name="connsiteY7" fmla="*/ 0 h 775201"/>
                  <a:gd name="connsiteX8" fmla="*/ 286841 w 530569"/>
                  <a:gd name="connsiteY8" fmla="*/ 369945 h 775201"/>
                  <a:gd name="connsiteX9" fmla="*/ 456253 w 530569"/>
                  <a:gd name="connsiteY9" fmla="*/ 217122 h 775201"/>
                  <a:gd name="connsiteX10" fmla="*/ 286841 w 530569"/>
                  <a:gd name="connsiteY10" fmla="*/ 65367 h 775201"/>
                  <a:gd name="connsiteX11" fmla="*/ 74236 w 530569"/>
                  <a:gd name="connsiteY11" fmla="*/ 65367 h 775201"/>
                  <a:gd name="connsiteX12" fmla="*/ 74236 w 530569"/>
                  <a:gd name="connsiteY12" fmla="*/ 369945 h 775201"/>
                  <a:gd name="connsiteX13" fmla="*/ 286841 w 530569"/>
                  <a:gd name="connsiteY13" fmla="*/ 369945 h 77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0569" h="775201">
                    <a:moveTo>
                      <a:pt x="0" y="0"/>
                    </a:moveTo>
                    <a:lnTo>
                      <a:pt x="292425" y="0"/>
                    </a:lnTo>
                    <a:cubicBezTo>
                      <a:pt x="436380" y="0"/>
                      <a:pt x="530570" y="86389"/>
                      <a:pt x="530570" y="217040"/>
                    </a:cubicBezTo>
                    <a:cubicBezTo>
                      <a:pt x="530570" y="347691"/>
                      <a:pt x="436462" y="434080"/>
                      <a:pt x="292425" y="434080"/>
                    </a:cubicBezTo>
                    <a:lnTo>
                      <a:pt x="74236" y="434080"/>
                    </a:lnTo>
                    <a:lnTo>
                      <a:pt x="74236" y="775202"/>
                    </a:lnTo>
                    <a:lnTo>
                      <a:pt x="0" y="775202"/>
                    </a:lnTo>
                    <a:lnTo>
                      <a:pt x="0" y="0"/>
                    </a:lnTo>
                    <a:close/>
                    <a:moveTo>
                      <a:pt x="286841" y="369945"/>
                    </a:moveTo>
                    <a:cubicBezTo>
                      <a:pt x="389818" y="369945"/>
                      <a:pt x="456253" y="309013"/>
                      <a:pt x="456253" y="217122"/>
                    </a:cubicBezTo>
                    <a:cubicBezTo>
                      <a:pt x="456253" y="125231"/>
                      <a:pt x="389818" y="65367"/>
                      <a:pt x="286841" y="65367"/>
                    </a:cubicBezTo>
                    <a:lnTo>
                      <a:pt x="74236" y="65367"/>
                    </a:lnTo>
                    <a:lnTo>
                      <a:pt x="74236" y="369945"/>
                    </a:lnTo>
                    <a:lnTo>
                      <a:pt x="286841" y="369945"/>
                    </a:lnTo>
                    <a:close/>
                  </a:path>
                </a:pathLst>
              </a:custGeom>
              <a:solidFill>
                <a:srgbClr val="022E33"/>
              </a:solidFill>
              <a:ln w="8212" cap="flat">
                <a:noFill/>
                <a:prstDash val="solid"/>
                <a:miter/>
              </a:ln>
            </p:spPr>
            <p:txBody>
              <a:bodyPr rtlCol="0" anchor="ctr"/>
              <a:lstStyle/>
              <a:p>
                <a:endParaRPr lang="en-US"/>
              </a:p>
            </p:txBody>
          </p:sp>
          <p:sp>
            <p:nvSpPr>
              <p:cNvPr id="41" name="Freeform: Shape 18">
                <a:extLst>
                  <a:ext uri="{FF2B5EF4-FFF2-40B4-BE49-F238E27FC236}">
                    <a16:creationId xmlns:a16="http://schemas.microsoft.com/office/drawing/2014/main" id="{655995B5-2F18-0980-F5DF-B57984B473BA}"/>
                  </a:ext>
                </a:extLst>
              </p:cNvPr>
              <p:cNvSpPr/>
              <p:nvPr/>
            </p:nvSpPr>
            <p:spPr>
              <a:xfrm>
                <a:off x="4996017" y="3446901"/>
                <a:ext cx="481791" cy="566948"/>
              </a:xfrm>
              <a:custGeom>
                <a:avLst/>
                <a:gdLst>
                  <a:gd name="connsiteX0" fmla="*/ 0 w 481791"/>
                  <a:gd name="connsiteY0" fmla="*/ 360009 h 566948"/>
                  <a:gd name="connsiteX1" fmla="*/ 0 w 481791"/>
                  <a:gd name="connsiteY1" fmla="*/ 82 h 566948"/>
                  <a:gd name="connsiteX2" fmla="*/ 69801 w 481791"/>
                  <a:gd name="connsiteY2" fmla="*/ 82 h 566948"/>
                  <a:gd name="connsiteX3" fmla="*/ 69801 w 481791"/>
                  <a:gd name="connsiteY3" fmla="*/ 353357 h 566948"/>
                  <a:gd name="connsiteX4" fmla="*/ 211538 w 481791"/>
                  <a:gd name="connsiteY4" fmla="*/ 503963 h 566948"/>
                  <a:gd name="connsiteX5" fmla="*/ 411990 w 481791"/>
                  <a:gd name="connsiteY5" fmla="*/ 238145 h 566948"/>
                  <a:gd name="connsiteX6" fmla="*/ 411990 w 481791"/>
                  <a:gd name="connsiteY6" fmla="*/ 0 h 566948"/>
                  <a:gd name="connsiteX7" fmla="*/ 481791 w 481791"/>
                  <a:gd name="connsiteY7" fmla="*/ 0 h 566948"/>
                  <a:gd name="connsiteX8" fmla="*/ 481791 w 481791"/>
                  <a:gd name="connsiteY8" fmla="*/ 558162 h 566948"/>
                  <a:gd name="connsiteX9" fmla="*/ 411990 w 481791"/>
                  <a:gd name="connsiteY9" fmla="*/ 558162 h 566948"/>
                  <a:gd name="connsiteX10" fmla="*/ 411990 w 481791"/>
                  <a:gd name="connsiteY10" fmla="*/ 431863 h 566948"/>
                  <a:gd name="connsiteX11" fmla="*/ 200452 w 481791"/>
                  <a:gd name="connsiteY11" fmla="*/ 566948 h 566948"/>
                  <a:gd name="connsiteX12" fmla="*/ 0 w 481791"/>
                  <a:gd name="connsiteY12" fmla="*/ 359845 h 56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1791" h="566948">
                    <a:moveTo>
                      <a:pt x="0" y="360009"/>
                    </a:moveTo>
                    <a:lnTo>
                      <a:pt x="0" y="82"/>
                    </a:lnTo>
                    <a:lnTo>
                      <a:pt x="69801" y="82"/>
                    </a:lnTo>
                    <a:lnTo>
                      <a:pt x="69801" y="353357"/>
                    </a:lnTo>
                    <a:cubicBezTo>
                      <a:pt x="69801" y="453050"/>
                      <a:pt x="125149" y="503963"/>
                      <a:pt x="211538" y="503963"/>
                    </a:cubicBezTo>
                    <a:cubicBezTo>
                      <a:pt x="334470" y="503963"/>
                      <a:pt x="411990" y="398769"/>
                      <a:pt x="411990" y="238145"/>
                    </a:cubicBezTo>
                    <a:lnTo>
                      <a:pt x="411990" y="0"/>
                    </a:lnTo>
                    <a:lnTo>
                      <a:pt x="481791" y="0"/>
                    </a:lnTo>
                    <a:lnTo>
                      <a:pt x="481791" y="558162"/>
                    </a:lnTo>
                    <a:lnTo>
                      <a:pt x="411990" y="558162"/>
                    </a:lnTo>
                    <a:lnTo>
                      <a:pt x="411990" y="431863"/>
                    </a:lnTo>
                    <a:cubicBezTo>
                      <a:pt x="377665" y="511600"/>
                      <a:pt x="300145" y="566948"/>
                      <a:pt x="200452" y="566948"/>
                    </a:cubicBezTo>
                    <a:cubicBezTo>
                      <a:pt x="85239" y="566948"/>
                      <a:pt x="0" y="496080"/>
                      <a:pt x="0" y="359845"/>
                    </a:cubicBezTo>
                    <a:close/>
                  </a:path>
                </a:pathLst>
              </a:custGeom>
              <a:solidFill>
                <a:srgbClr val="022E33"/>
              </a:solidFill>
              <a:ln w="8212" cap="flat">
                <a:noFill/>
                <a:prstDash val="solid"/>
                <a:miter/>
              </a:ln>
            </p:spPr>
            <p:txBody>
              <a:bodyPr rtlCol="0" anchor="ctr"/>
              <a:lstStyle/>
              <a:p>
                <a:endParaRPr lang="en-US"/>
              </a:p>
            </p:txBody>
          </p:sp>
          <p:sp>
            <p:nvSpPr>
              <p:cNvPr id="42" name="Freeform: Shape 19">
                <a:extLst>
                  <a:ext uri="{FF2B5EF4-FFF2-40B4-BE49-F238E27FC236}">
                    <a16:creationId xmlns:a16="http://schemas.microsoft.com/office/drawing/2014/main" id="{3B6661C6-5DC1-29D9-414C-AC2461D90391}"/>
                  </a:ext>
                </a:extLst>
              </p:cNvPr>
              <p:cNvSpPr/>
              <p:nvPr/>
            </p:nvSpPr>
            <p:spPr>
              <a:xfrm>
                <a:off x="5630549" y="3220992"/>
                <a:ext cx="554958" cy="793021"/>
              </a:xfrm>
              <a:custGeom>
                <a:avLst/>
                <a:gdLst>
                  <a:gd name="connsiteX0" fmla="*/ 69801 w 554958"/>
                  <a:gd name="connsiteY0" fmla="*/ 671157 h 793021"/>
                  <a:gd name="connsiteX1" fmla="*/ 69801 w 554958"/>
                  <a:gd name="connsiteY1" fmla="*/ 784153 h 793021"/>
                  <a:gd name="connsiteX2" fmla="*/ 0 w 554958"/>
                  <a:gd name="connsiteY2" fmla="*/ 784153 h 793021"/>
                  <a:gd name="connsiteX3" fmla="*/ 0 w 554958"/>
                  <a:gd name="connsiteY3" fmla="*/ 0 h 793021"/>
                  <a:gd name="connsiteX4" fmla="*/ 69801 w 554958"/>
                  <a:gd name="connsiteY4" fmla="*/ 0 h 793021"/>
                  <a:gd name="connsiteX5" fmla="*/ 69801 w 554958"/>
                  <a:gd name="connsiteY5" fmla="*/ 338904 h 793021"/>
                  <a:gd name="connsiteX6" fmla="*/ 280272 w 554958"/>
                  <a:gd name="connsiteY6" fmla="*/ 217040 h 793021"/>
                  <a:gd name="connsiteX7" fmla="*/ 554959 w 554958"/>
                  <a:gd name="connsiteY7" fmla="*/ 505031 h 793021"/>
                  <a:gd name="connsiteX8" fmla="*/ 280272 w 554958"/>
                  <a:gd name="connsiteY8" fmla="*/ 793022 h 793021"/>
                  <a:gd name="connsiteX9" fmla="*/ 69801 w 554958"/>
                  <a:gd name="connsiteY9" fmla="*/ 671157 h 793021"/>
                  <a:gd name="connsiteX10" fmla="*/ 276905 w 554958"/>
                  <a:gd name="connsiteY10" fmla="*/ 730940 h 793021"/>
                  <a:gd name="connsiteX11" fmla="*/ 484008 w 554958"/>
                  <a:gd name="connsiteY11" fmla="*/ 505031 h 793021"/>
                  <a:gd name="connsiteX12" fmla="*/ 276905 w 554958"/>
                  <a:gd name="connsiteY12" fmla="*/ 279122 h 793021"/>
                  <a:gd name="connsiteX13" fmla="*/ 70869 w 554958"/>
                  <a:gd name="connsiteY13" fmla="*/ 505031 h 793021"/>
                  <a:gd name="connsiteX14" fmla="*/ 276905 w 554958"/>
                  <a:gd name="connsiteY14" fmla="*/ 730940 h 79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4958" h="793021">
                    <a:moveTo>
                      <a:pt x="69801" y="671157"/>
                    </a:moveTo>
                    <a:lnTo>
                      <a:pt x="69801" y="784153"/>
                    </a:lnTo>
                    <a:lnTo>
                      <a:pt x="0" y="784153"/>
                    </a:lnTo>
                    <a:lnTo>
                      <a:pt x="0" y="0"/>
                    </a:lnTo>
                    <a:lnTo>
                      <a:pt x="69801" y="0"/>
                    </a:lnTo>
                    <a:lnTo>
                      <a:pt x="69801" y="338904"/>
                    </a:lnTo>
                    <a:cubicBezTo>
                      <a:pt x="104127" y="265819"/>
                      <a:pt x="189448" y="217040"/>
                      <a:pt x="280272" y="217040"/>
                    </a:cubicBezTo>
                    <a:cubicBezTo>
                      <a:pt x="444181" y="217040"/>
                      <a:pt x="554959" y="333320"/>
                      <a:pt x="554959" y="505031"/>
                    </a:cubicBezTo>
                    <a:cubicBezTo>
                      <a:pt x="554959" y="676741"/>
                      <a:pt x="444181" y="793022"/>
                      <a:pt x="280272" y="793022"/>
                    </a:cubicBezTo>
                    <a:cubicBezTo>
                      <a:pt x="189448" y="793022"/>
                      <a:pt x="104209" y="743175"/>
                      <a:pt x="69801" y="671157"/>
                    </a:cubicBezTo>
                    <a:close/>
                    <a:moveTo>
                      <a:pt x="276905" y="730940"/>
                    </a:moveTo>
                    <a:cubicBezTo>
                      <a:pt x="396552" y="730940"/>
                      <a:pt x="484008" y="637899"/>
                      <a:pt x="484008" y="505031"/>
                    </a:cubicBezTo>
                    <a:cubicBezTo>
                      <a:pt x="484008" y="372163"/>
                      <a:pt x="396470" y="279122"/>
                      <a:pt x="276905" y="279122"/>
                    </a:cubicBezTo>
                    <a:cubicBezTo>
                      <a:pt x="157340" y="279122"/>
                      <a:pt x="70869" y="372163"/>
                      <a:pt x="70869" y="505031"/>
                    </a:cubicBezTo>
                    <a:cubicBezTo>
                      <a:pt x="70869" y="637899"/>
                      <a:pt x="157258" y="730940"/>
                      <a:pt x="276905" y="730940"/>
                    </a:cubicBezTo>
                    <a:close/>
                  </a:path>
                </a:pathLst>
              </a:custGeom>
              <a:solidFill>
                <a:srgbClr val="022E33"/>
              </a:solidFill>
              <a:ln w="8212" cap="flat">
                <a:noFill/>
                <a:prstDash val="solid"/>
                <a:miter/>
              </a:ln>
            </p:spPr>
            <p:txBody>
              <a:bodyPr rtlCol="0" anchor="ctr"/>
              <a:lstStyle/>
              <a:p>
                <a:endParaRPr lang="en-US"/>
              </a:p>
            </p:txBody>
          </p:sp>
          <p:sp>
            <p:nvSpPr>
              <p:cNvPr id="43" name="Freeform: Shape 20">
                <a:extLst>
                  <a:ext uri="{FF2B5EF4-FFF2-40B4-BE49-F238E27FC236}">
                    <a16:creationId xmlns:a16="http://schemas.microsoft.com/office/drawing/2014/main" id="{CF7C0B50-0368-1FF6-63CC-66BB35FC9F98}"/>
                  </a:ext>
                </a:extLst>
              </p:cNvPr>
              <p:cNvSpPr/>
              <p:nvPr/>
            </p:nvSpPr>
            <p:spPr>
              <a:xfrm>
                <a:off x="6299572" y="3220992"/>
                <a:ext cx="70868" cy="784152"/>
              </a:xfrm>
              <a:custGeom>
                <a:avLst/>
                <a:gdLst>
                  <a:gd name="connsiteX0" fmla="*/ 0 w 70868"/>
                  <a:gd name="connsiteY0" fmla="*/ 0 h 784152"/>
                  <a:gd name="connsiteX1" fmla="*/ 70868 w 70868"/>
                  <a:gd name="connsiteY1" fmla="*/ 0 h 784152"/>
                  <a:gd name="connsiteX2" fmla="*/ 70868 w 70868"/>
                  <a:gd name="connsiteY2" fmla="*/ 784153 h 784152"/>
                  <a:gd name="connsiteX3" fmla="*/ 0 w 70868"/>
                  <a:gd name="connsiteY3" fmla="*/ 784153 h 784152"/>
                  <a:gd name="connsiteX4" fmla="*/ 0 w 70868"/>
                  <a:gd name="connsiteY4" fmla="*/ 0 h 784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8" h="784152">
                    <a:moveTo>
                      <a:pt x="0" y="0"/>
                    </a:moveTo>
                    <a:lnTo>
                      <a:pt x="70868" y="0"/>
                    </a:lnTo>
                    <a:lnTo>
                      <a:pt x="70868" y="784153"/>
                    </a:lnTo>
                    <a:lnTo>
                      <a:pt x="0" y="784153"/>
                    </a:lnTo>
                    <a:lnTo>
                      <a:pt x="0" y="0"/>
                    </a:lnTo>
                    <a:close/>
                  </a:path>
                </a:pathLst>
              </a:custGeom>
              <a:solidFill>
                <a:srgbClr val="022E33"/>
              </a:solidFill>
              <a:ln w="8212" cap="flat">
                <a:noFill/>
                <a:prstDash val="solid"/>
                <a:miter/>
              </a:ln>
            </p:spPr>
            <p:txBody>
              <a:bodyPr rtlCol="0" anchor="ctr"/>
              <a:lstStyle/>
              <a:p>
                <a:endParaRPr lang="en-US"/>
              </a:p>
            </p:txBody>
          </p:sp>
          <p:sp>
            <p:nvSpPr>
              <p:cNvPr id="44" name="Freeform: Shape 21">
                <a:extLst>
                  <a:ext uri="{FF2B5EF4-FFF2-40B4-BE49-F238E27FC236}">
                    <a16:creationId xmlns:a16="http://schemas.microsoft.com/office/drawing/2014/main" id="{FB97918E-0C4C-5921-C511-D4802D991C26}"/>
                  </a:ext>
                </a:extLst>
              </p:cNvPr>
              <p:cNvSpPr/>
              <p:nvPr/>
            </p:nvSpPr>
            <p:spPr>
              <a:xfrm>
                <a:off x="6503390" y="3219924"/>
                <a:ext cx="106261" cy="785220"/>
              </a:xfrm>
              <a:custGeom>
                <a:avLst/>
                <a:gdLst>
                  <a:gd name="connsiteX0" fmla="*/ 53131 w 106261"/>
                  <a:gd name="connsiteY0" fmla="*/ 0 h 785220"/>
                  <a:gd name="connsiteX1" fmla="*/ 106262 w 106261"/>
                  <a:gd name="connsiteY1" fmla="*/ 52063 h 785220"/>
                  <a:gd name="connsiteX2" fmla="*/ 53131 w 106261"/>
                  <a:gd name="connsiteY2" fmla="*/ 102977 h 785220"/>
                  <a:gd name="connsiteX3" fmla="*/ 0 w 106261"/>
                  <a:gd name="connsiteY3" fmla="*/ 52063 h 785220"/>
                  <a:gd name="connsiteX4" fmla="*/ 53131 w 106261"/>
                  <a:gd name="connsiteY4" fmla="*/ 0 h 785220"/>
                  <a:gd name="connsiteX5" fmla="*/ 17656 w 106261"/>
                  <a:gd name="connsiteY5" fmla="*/ 227059 h 785220"/>
                  <a:gd name="connsiteX6" fmla="*/ 88524 w 106261"/>
                  <a:gd name="connsiteY6" fmla="*/ 227059 h 785220"/>
                  <a:gd name="connsiteX7" fmla="*/ 88524 w 106261"/>
                  <a:gd name="connsiteY7" fmla="*/ 785220 h 785220"/>
                  <a:gd name="connsiteX8" fmla="*/ 17656 w 106261"/>
                  <a:gd name="connsiteY8" fmla="*/ 785220 h 785220"/>
                  <a:gd name="connsiteX9" fmla="*/ 17656 w 106261"/>
                  <a:gd name="connsiteY9" fmla="*/ 227059 h 78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261" h="785220">
                    <a:moveTo>
                      <a:pt x="53131" y="0"/>
                    </a:moveTo>
                    <a:cubicBezTo>
                      <a:pt x="84172" y="0"/>
                      <a:pt x="106262" y="22172"/>
                      <a:pt x="106262" y="52063"/>
                    </a:cubicBezTo>
                    <a:cubicBezTo>
                      <a:pt x="106262" y="81955"/>
                      <a:pt x="84090" y="102977"/>
                      <a:pt x="53131" y="102977"/>
                    </a:cubicBezTo>
                    <a:cubicBezTo>
                      <a:pt x="22172" y="102977"/>
                      <a:pt x="0" y="80805"/>
                      <a:pt x="0" y="52063"/>
                    </a:cubicBezTo>
                    <a:cubicBezTo>
                      <a:pt x="0" y="23322"/>
                      <a:pt x="22172" y="0"/>
                      <a:pt x="53131" y="0"/>
                    </a:cubicBezTo>
                    <a:close/>
                    <a:moveTo>
                      <a:pt x="17656" y="227059"/>
                    </a:moveTo>
                    <a:lnTo>
                      <a:pt x="88524" y="227059"/>
                    </a:lnTo>
                    <a:lnTo>
                      <a:pt x="88524" y="785220"/>
                    </a:lnTo>
                    <a:lnTo>
                      <a:pt x="17656" y="785220"/>
                    </a:lnTo>
                    <a:lnTo>
                      <a:pt x="17656" y="227059"/>
                    </a:lnTo>
                    <a:close/>
                  </a:path>
                </a:pathLst>
              </a:custGeom>
              <a:solidFill>
                <a:srgbClr val="022E33"/>
              </a:solidFill>
              <a:ln w="8212" cap="flat">
                <a:noFill/>
                <a:prstDash val="solid"/>
                <a:miter/>
              </a:ln>
            </p:spPr>
            <p:txBody>
              <a:bodyPr rtlCol="0" anchor="ctr"/>
              <a:lstStyle/>
              <a:p>
                <a:endParaRPr lang="en-US"/>
              </a:p>
            </p:txBody>
          </p:sp>
          <p:sp>
            <p:nvSpPr>
              <p:cNvPr id="45" name="Freeform: Shape 22">
                <a:extLst>
                  <a:ext uri="{FF2B5EF4-FFF2-40B4-BE49-F238E27FC236}">
                    <a16:creationId xmlns:a16="http://schemas.microsoft.com/office/drawing/2014/main" id="{3863349F-6B91-214A-04C0-D127953854A4}"/>
                  </a:ext>
                </a:extLst>
              </p:cNvPr>
              <p:cNvSpPr/>
              <p:nvPr/>
            </p:nvSpPr>
            <p:spPr>
              <a:xfrm>
                <a:off x="6704910" y="3438032"/>
                <a:ext cx="519401" cy="575817"/>
              </a:xfrm>
              <a:custGeom>
                <a:avLst/>
                <a:gdLst>
                  <a:gd name="connsiteX0" fmla="*/ 0 w 519401"/>
                  <a:gd name="connsiteY0" fmla="*/ 287991 h 575817"/>
                  <a:gd name="connsiteX1" fmla="*/ 271320 w 519401"/>
                  <a:gd name="connsiteY1" fmla="*/ 0 h 575817"/>
                  <a:gd name="connsiteX2" fmla="*/ 513899 w 519401"/>
                  <a:gd name="connsiteY2" fmla="*/ 184932 h 575817"/>
                  <a:gd name="connsiteX3" fmla="*/ 444098 w 519401"/>
                  <a:gd name="connsiteY3" fmla="*/ 184932 h 575817"/>
                  <a:gd name="connsiteX4" fmla="*/ 271320 w 519401"/>
                  <a:gd name="connsiteY4" fmla="*/ 62000 h 575817"/>
                  <a:gd name="connsiteX5" fmla="*/ 71936 w 519401"/>
                  <a:gd name="connsiteY5" fmla="*/ 287909 h 575817"/>
                  <a:gd name="connsiteX6" fmla="*/ 271320 w 519401"/>
                  <a:gd name="connsiteY6" fmla="*/ 513818 h 575817"/>
                  <a:gd name="connsiteX7" fmla="*/ 449601 w 519401"/>
                  <a:gd name="connsiteY7" fmla="*/ 379800 h 575817"/>
                  <a:gd name="connsiteX8" fmla="*/ 519402 w 519401"/>
                  <a:gd name="connsiteY8" fmla="*/ 379800 h 575817"/>
                  <a:gd name="connsiteX9" fmla="*/ 271320 w 519401"/>
                  <a:gd name="connsiteY9" fmla="*/ 575817 h 575817"/>
                  <a:gd name="connsiteX10" fmla="*/ 0 w 519401"/>
                  <a:gd name="connsiteY10" fmla="*/ 287826 h 57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9401" h="575817">
                    <a:moveTo>
                      <a:pt x="0" y="287991"/>
                    </a:moveTo>
                    <a:cubicBezTo>
                      <a:pt x="0" y="121864"/>
                      <a:pt x="115212" y="0"/>
                      <a:pt x="271320" y="0"/>
                    </a:cubicBezTo>
                    <a:cubicBezTo>
                      <a:pt x="404189" y="0"/>
                      <a:pt x="495012" y="76453"/>
                      <a:pt x="513899" y="184932"/>
                    </a:cubicBezTo>
                    <a:lnTo>
                      <a:pt x="444098" y="184932"/>
                    </a:lnTo>
                    <a:cubicBezTo>
                      <a:pt x="426361" y="110696"/>
                      <a:pt x="359927" y="62000"/>
                      <a:pt x="271320" y="62000"/>
                    </a:cubicBezTo>
                    <a:cubicBezTo>
                      <a:pt x="157257" y="62000"/>
                      <a:pt x="71936" y="156108"/>
                      <a:pt x="71936" y="287909"/>
                    </a:cubicBezTo>
                    <a:cubicBezTo>
                      <a:pt x="71936" y="419709"/>
                      <a:pt x="157175" y="513818"/>
                      <a:pt x="271320" y="513818"/>
                    </a:cubicBezTo>
                    <a:cubicBezTo>
                      <a:pt x="367646" y="513818"/>
                      <a:pt x="437447" y="457320"/>
                      <a:pt x="449601" y="379800"/>
                    </a:cubicBezTo>
                    <a:lnTo>
                      <a:pt x="519402" y="379800"/>
                    </a:lnTo>
                    <a:cubicBezTo>
                      <a:pt x="503881" y="488361"/>
                      <a:pt x="406406" y="575817"/>
                      <a:pt x="271320" y="575817"/>
                    </a:cubicBezTo>
                    <a:cubicBezTo>
                      <a:pt x="115130" y="575817"/>
                      <a:pt x="0" y="452885"/>
                      <a:pt x="0" y="287826"/>
                    </a:cubicBezTo>
                    <a:close/>
                  </a:path>
                </a:pathLst>
              </a:custGeom>
              <a:solidFill>
                <a:srgbClr val="022E33"/>
              </a:solidFill>
              <a:ln w="8212" cap="flat">
                <a:noFill/>
                <a:prstDash val="solid"/>
                <a:miter/>
              </a:ln>
            </p:spPr>
            <p:txBody>
              <a:bodyPr rtlCol="0" anchor="ctr"/>
              <a:lstStyle/>
              <a:p>
                <a:endParaRPr lang="en-US"/>
              </a:p>
            </p:txBody>
          </p:sp>
          <p:sp>
            <p:nvSpPr>
              <p:cNvPr id="46" name="Freeform: Shape 23">
                <a:extLst>
                  <a:ext uri="{FF2B5EF4-FFF2-40B4-BE49-F238E27FC236}">
                    <a16:creationId xmlns:a16="http://schemas.microsoft.com/office/drawing/2014/main" id="{2EC78DF6-4C25-8639-48DC-71C0F27D7918}"/>
                  </a:ext>
                </a:extLst>
              </p:cNvPr>
              <p:cNvSpPr/>
              <p:nvPr/>
            </p:nvSpPr>
            <p:spPr>
              <a:xfrm>
                <a:off x="7301668" y="3438032"/>
                <a:ext cx="456334" cy="575981"/>
              </a:xfrm>
              <a:custGeom>
                <a:avLst/>
                <a:gdLst>
                  <a:gd name="connsiteX0" fmla="*/ 164 w 456334"/>
                  <a:gd name="connsiteY0" fmla="*/ 419791 h 575981"/>
                  <a:gd name="connsiteX1" fmla="*/ 260399 w 456334"/>
                  <a:gd name="connsiteY1" fmla="*/ 233710 h 575981"/>
                  <a:gd name="connsiteX2" fmla="*/ 386697 w 456334"/>
                  <a:gd name="connsiteY2" fmla="*/ 220407 h 575981"/>
                  <a:gd name="connsiteX3" fmla="*/ 386697 w 456334"/>
                  <a:gd name="connsiteY3" fmla="*/ 196018 h 575981"/>
                  <a:gd name="connsiteX4" fmla="*/ 234942 w 456334"/>
                  <a:gd name="connsiteY4" fmla="*/ 62000 h 575981"/>
                  <a:gd name="connsiteX5" fmla="*/ 76535 w 456334"/>
                  <a:gd name="connsiteY5" fmla="*/ 196018 h 575981"/>
                  <a:gd name="connsiteX6" fmla="*/ 4516 w 456334"/>
                  <a:gd name="connsiteY6" fmla="*/ 196018 h 575981"/>
                  <a:gd name="connsiteX7" fmla="*/ 234860 w 456334"/>
                  <a:gd name="connsiteY7" fmla="*/ 0 h 575981"/>
                  <a:gd name="connsiteX8" fmla="*/ 456334 w 456334"/>
                  <a:gd name="connsiteY8" fmla="*/ 201602 h 575981"/>
                  <a:gd name="connsiteX9" fmla="*/ 456334 w 456334"/>
                  <a:gd name="connsiteY9" fmla="*/ 567113 h 575981"/>
                  <a:gd name="connsiteX10" fmla="*/ 386533 w 456334"/>
                  <a:gd name="connsiteY10" fmla="*/ 567113 h 575981"/>
                  <a:gd name="connsiteX11" fmla="*/ 386533 w 456334"/>
                  <a:gd name="connsiteY11" fmla="*/ 451900 h 575981"/>
                  <a:gd name="connsiteX12" fmla="*/ 192733 w 456334"/>
                  <a:gd name="connsiteY12" fmla="*/ 575982 h 575981"/>
                  <a:gd name="connsiteX13" fmla="*/ 0 w 456334"/>
                  <a:gd name="connsiteY13" fmla="*/ 419791 h 575981"/>
                  <a:gd name="connsiteX14" fmla="*/ 197331 w 456334"/>
                  <a:gd name="connsiteY14" fmla="*/ 513900 h 575981"/>
                  <a:gd name="connsiteX15" fmla="*/ 386697 w 456334"/>
                  <a:gd name="connsiteY15" fmla="*/ 305728 h 575981"/>
                  <a:gd name="connsiteX16" fmla="*/ 386697 w 456334"/>
                  <a:gd name="connsiteY16" fmla="*/ 276905 h 575981"/>
                  <a:gd name="connsiteX17" fmla="*/ 264833 w 456334"/>
                  <a:gd name="connsiteY17" fmla="*/ 290208 h 575981"/>
                  <a:gd name="connsiteX18" fmla="*/ 71032 w 456334"/>
                  <a:gd name="connsiteY18" fmla="*/ 417574 h 575981"/>
                  <a:gd name="connsiteX19" fmla="*/ 197250 w 456334"/>
                  <a:gd name="connsiteY19" fmla="*/ 513900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6334" h="575981">
                    <a:moveTo>
                      <a:pt x="164" y="419791"/>
                    </a:moveTo>
                    <a:cubicBezTo>
                      <a:pt x="164" y="305728"/>
                      <a:pt x="78834" y="252515"/>
                      <a:pt x="260399" y="233710"/>
                    </a:cubicBezTo>
                    <a:lnTo>
                      <a:pt x="386697" y="220407"/>
                    </a:lnTo>
                    <a:lnTo>
                      <a:pt x="386697" y="196018"/>
                    </a:lnTo>
                    <a:cubicBezTo>
                      <a:pt x="386697" y="114063"/>
                      <a:pt x="324698" y="62000"/>
                      <a:pt x="234942" y="62000"/>
                    </a:cubicBezTo>
                    <a:cubicBezTo>
                      <a:pt x="145186" y="62000"/>
                      <a:pt x="88770" y="111846"/>
                      <a:pt x="76535" y="196018"/>
                    </a:cubicBezTo>
                    <a:lnTo>
                      <a:pt x="4516" y="196018"/>
                    </a:lnTo>
                    <a:cubicBezTo>
                      <a:pt x="20037" y="87457"/>
                      <a:pt x="104209" y="0"/>
                      <a:pt x="234860" y="0"/>
                    </a:cubicBezTo>
                    <a:cubicBezTo>
                      <a:pt x="365511" y="0"/>
                      <a:pt x="456334" y="78670"/>
                      <a:pt x="456334" y="201602"/>
                    </a:cubicBezTo>
                    <a:lnTo>
                      <a:pt x="456334" y="567113"/>
                    </a:lnTo>
                    <a:lnTo>
                      <a:pt x="386533" y="567113"/>
                    </a:lnTo>
                    <a:lnTo>
                      <a:pt x="386533" y="451900"/>
                    </a:lnTo>
                    <a:cubicBezTo>
                      <a:pt x="366579" y="521701"/>
                      <a:pt x="284624" y="575982"/>
                      <a:pt x="192733" y="575982"/>
                    </a:cubicBezTo>
                    <a:cubicBezTo>
                      <a:pt x="74235" y="575982"/>
                      <a:pt x="0" y="515049"/>
                      <a:pt x="0" y="419791"/>
                    </a:cubicBezTo>
                    <a:close/>
                    <a:moveTo>
                      <a:pt x="197331" y="513900"/>
                    </a:moveTo>
                    <a:cubicBezTo>
                      <a:pt x="310327" y="513900"/>
                      <a:pt x="386697" y="428660"/>
                      <a:pt x="386697" y="305728"/>
                    </a:cubicBezTo>
                    <a:lnTo>
                      <a:pt x="386697" y="276905"/>
                    </a:lnTo>
                    <a:lnTo>
                      <a:pt x="264833" y="290208"/>
                    </a:lnTo>
                    <a:cubicBezTo>
                      <a:pt x="128598" y="305728"/>
                      <a:pt x="71032" y="336769"/>
                      <a:pt x="71032" y="417574"/>
                    </a:cubicBezTo>
                    <a:cubicBezTo>
                      <a:pt x="71032" y="476289"/>
                      <a:pt x="119729" y="513900"/>
                      <a:pt x="197250" y="513900"/>
                    </a:cubicBezTo>
                    <a:close/>
                  </a:path>
                </a:pathLst>
              </a:custGeom>
              <a:solidFill>
                <a:srgbClr val="022E33"/>
              </a:solidFill>
              <a:ln w="8212" cap="flat">
                <a:noFill/>
                <a:prstDash val="solid"/>
                <a:miter/>
              </a:ln>
            </p:spPr>
            <p:txBody>
              <a:bodyPr rtlCol="0" anchor="ctr"/>
              <a:lstStyle/>
              <a:p>
                <a:endParaRPr lang="en-US"/>
              </a:p>
            </p:txBody>
          </p:sp>
          <p:sp>
            <p:nvSpPr>
              <p:cNvPr id="47" name="Freeform: Shape 24">
                <a:extLst>
                  <a:ext uri="{FF2B5EF4-FFF2-40B4-BE49-F238E27FC236}">
                    <a16:creationId xmlns:a16="http://schemas.microsoft.com/office/drawing/2014/main" id="{7056F47E-1AD5-2877-9864-D3CDB397BDC2}"/>
                  </a:ext>
                </a:extLst>
              </p:cNvPr>
              <p:cNvSpPr/>
              <p:nvPr/>
            </p:nvSpPr>
            <p:spPr>
              <a:xfrm>
                <a:off x="7824601" y="3301797"/>
                <a:ext cx="315664" cy="712216"/>
              </a:xfrm>
              <a:custGeom>
                <a:avLst/>
                <a:gdLst>
                  <a:gd name="connsiteX0" fmla="*/ 97475 w 315664"/>
                  <a:gd name="connsiteY0" fmla="*/ 549375 h 712216"/>
                  <a:gd name="connsiteX1" fmla="*/ 97475 w 315664"/>
                  <a:gd name="connsiteY1" fmla="*/ 203819 h 712216"/>
                  <a:gd name="connsiteX2" fmla="*/ 0 w 315664"/>
                  <a:gd name="connsiteY2" fmla="*/ 203819 h 712216"/>
                  <a:gd name="connsiteX3" fmla="*/ 0 w 315664"/>
                  <a:gd name="connsiteY3" fmla="*/ 145104 h 712216"/>
                  <a:gd name="connsiteX4" fmla="*/ 97475 w 315664"/>
                  <a:gd name="connsiteY4" fmla="*/ 145104 h 712216"/>
                  <a:gd name="connsiteX5" fmla="*/ 97475 w 315664"/>
                  <a:gd name="connsiteY5" fmla="*/ 0 h 712216"/>
                  <a:gd name="connsiteX6" fmla="*/ 167276 w 315664"/>
                  <a:gd name="connsiteY6" fmla="*/ 0 h 712216"/>
                  <a:gd name="connsiteX7" fmla="*/ 167276 w 315664"/>
                  <a:gd name="connsiteY7" fmla="*/ 145104 h 712216"/>
                  <a:gd name="connsiteX8" fmla="*/ 314597 w 315664"/>
                  <a:gd name="connsiteY8" fmla="*/ 145104 h 712216"/>
                  <a:gd name="connsiteX9" fmla="*/ 314597 w 315664"/>
                  <a:gd name="connsiteY9" fmla="*/ 203819 h 712216"/>
                  <a:gd name="connsiteX10" fmla="*/ 167276 w 315664"/>
                  <a:gd name="connsiteY10" fmla="*/ 203819 h 712216"/>
                  <a:gd name="connsiteX11" fmla="*/ 167276 w 315664"/>
                  <a:gd name="connsiteY11" fmla="*/ 544941 h 712216"/>
                  <a:gd name="connsiteX12" fmla="*/ 252515 w 315664"/>
                  <a:gd name="connsiteY12" fmla="*/ 649067 h 712216"/>
                  <a:gd name="connsiteX13" fmla="*/ 315665 w 315664"/>
                  <a:gd name="connsiteY13" fmla="*/ 637981 h 712216"/>
                  <a:gd name="connsiteX14" fmla="*/ 315665 w 315664"/>
                  <a:gd name="connsiteY14" fmla="*/ 698913 h 712216"/>
                  <a:gd name="connsiteX15" fmla="*/ 245864 w 315664"/>
                  <a:gd name="connsiteY15" fmla="*/ 712217 h 712216"/>
                  <a:gd name="connsiteX16" fmla="*/ 97475 w 315664"/>
                  <a:gd name="connsiteY16" fmla="*/ 549375 h 71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5664" h="712216">
                    <a:moveTo>
                      <a:pt x="97475" y="549375"/>
                    </a:moveTo>
                    <a:lnTo>
                      <a:pt x="97475" y="203819"/>
                    </a:lnTo>
                    <a:lnTo>
                      <a:pt x="0" y="203819"/>
                    </a:lnTo>
                    <a:lnTo>
                      <a:pt x="0" y="145104"/>
                    </a:lnTo>
                    <a:lnTo>
                      <a:pt x="97475" y="145104"/>
                    </a:lnTo>
                    <a:lnTo>
                      <a:pt x="97475" y="0"/>
                    </a:lnTo>
                    <a:lnTo>
                      <a:pt x="167276" y="0"/>
                    </a:lnTo>
                    <a:lnTo>
                      <a:pt x="167276" y="145104"/>
                    </a:lnTo>
                    <a:lnTo>
                      <a:pt x="314597" y="145104"/>
                    </a:lnTo>
                    <a:lnTo>
                      <a:pt x="314597" y="203819"/>
                    </a:lnTo>
                    <a:lnTo>
                      <a:pt x="167276" y="203819"/>
                    </a:lnTo>
                    <a:lnTo>
                      <a:pt x="167276" y="544941"/>
                    </a:lnTo>
                    <a:cubicBezTo>
                      <a:pt x="167276" y="615809"/>
                      <a:pt x="201602" y="649067"/>
                      <a:pt x="252515" y="649067"/>
                    </a:cubicBezTo>
                    <a:cubicBezTo>
                      <a:pt x="273538" y="649067"/>
                      <a:pt x="297927" y="644633"/>
                      <a:pt x="315665" y="637981"/>
                    </a:cubicBezTo>
                    <a:lnTo>
                      <a:pt x="315665" y="698913"/>
                    </a:lnTo>
                    <a:cubicBezTo>
                      <a:pt x="296860" y="707782"/>
                      <a:pt x="269186" y="712217"/>
                      <a:pt x="245864" y="712217"/>
                    </a:cubicBezTo>
                    <a:cubicBezTo>
                      <a:pt x="158407" y="712217"/>
                      <a:pt x="97475" y="656869"/>
                      <a:pt x="97475" y="549375"/>
                    </a:cubicBezTo>
                    <a:close/>
                  </a:path>
                </a:pathLst>
              </a:custGeom>
              <a:solidFill>
                <a:srgbClr val="022E33"/>
              </a:solidFill>
              <a:ln w="8212" cap="flat">
                <a:noFill/>
                <a:prstDash val="solid"/>
                <a:miter/>
              </a:ln>
            </p:spPr>
            <p:txBody>
              <a:bodyPr rtlCol="0" anchor="ctr"/>
              <a:lstStyle/>
              <a:p>
                <a:endParaRPr lang="en-US"/>
              </a:p>
            </p:txBody>
          </p:sp>
          <p:sp>
            <p:nvSpPr>
              <p:cNvPr id="48" name="Freeform: Shape 25">
                <a:extLst>
                  <a:ext uri="{FF2B5EF4-FFF2-40B4-BE49-F238E27FC236}">
                    <a16:creationId xmlns:a16="http://schemas.microsoft.com/office/drawing/2014/main" id="{F37AB345-D49F-2B6D-1DFF-97D3CEC257F8}"/>
                  </a:ext>
                </a:extLst>
              </p:cNvPr>
              <p:cNvSpPr/>
              <p:nvPr/>
            </p:nvSpPr>
            <p:spPr>
              <a:xfrm>
                <a:off x="8210066" y="3219924"/>
                <a:ext cx="106261" cy="785220"/>
              </a:xfrm>
              <a:custGeom>
                <a:avLst/>
                <a:gdLst>
                  <a:gd name="connsiteX0" fmla="*/ 53131 w 106261"/>
                  <a:gd name="connsiteY0" fmla="*/ 0 h 785220"/>
                  <a:gd name="connsiteX1" fmla="*/ 106262 w 106261"/>
                  <a:gd name="connsiteY1" fmla="*/ 52063 h 785220"/>
                  <a:gd name="connsiteX2" fmla="*/ 53131 w 106261"/>
                  <a:gd name="connsiteY2" fmla="*/ 102977 h 785220"/>
                  <a:gd name="connsiteX3" fmla="*/ 0 w 106261"/>
                  <a:gd name="connsiteY3" fmla="*/ 52063 h 785220"/>
                  <a:gd name="connsiteX4" fmla="*/ 53131 w 106261"/>
                  <a:gd name="connsiteY4" fmla="*/ 0 h 785220"/>
                  <a:gd name="connsiteX5" fmla="*/ 17656 w 106261"/>
                  <a:gd name="connsiteY5" fmla="*/ 227059 h 785220"/>
                  <a:gd name="connsiteX6" fmla="*/ 88524 w 106261"/>
                  <a:gd name="connsiteY6" fmla="*/ 227059 h 785220"/>
                  <a:gd name="connsiteX7" fmla="*/ 88524 w 106261"/>
                  <a:gd name="connsiteY7" fmla="*/ 785220 h 785220"/>
                  <a:gd name="connsiteX8" fmla="*/ 17656 w 106261"/>
                  <a:gd name="connsiteY8" fmla="*/ 785220 h 785220"/>
                  <a:gd name="connsiteX9" fmla="*/ 17656 w 106261"/>
                  <a:gd name="connsiteY9" fmla="*/ 227059 h 78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261" h="785220">
                    <a:moveTo>
                      <a:pt x="53131" y="0"/>
                    </a:moveTo>
                    <a:cubicBezTo>
                      <a:pt x="84172" y="0"/>
                      <a:pt x="106262" y="22172"/>
                      <a:pt x="106262" y="52063"/>
                    </a:cubicBezTo>
                    <a:cubicBezTo>
                      <a:pt x="106262" y="81955"/>
                      <a:pt x="84090" y="102977"/>
                      <a:pt x="53131" y="102977"/>
                    </a:cubicBezTo>
                    <a:cubicBezTo>
                      <a:pt x="22172" y="102977"/>
                      <a:pt x="0" y="80805"/>
                      <a:pt x="0" y="52063"/>
                    </a:cubicBezTo>
                    <a:cubicBezTo>
                      <a:pt x="0" y="23322"/>
                      <a:pt x="22172" y="0"/>
                      <a:pt x="53131" y="0"/>
                    </a:cubicBezTo>
                    <a:close/>
                    <a:moveTo>
                      <a:pt x="17656" y="227059"/>
                    </a:moveTo>
                    <a:lnTo>
                      <a:pt x="88524" y="227059"/>
                    </a:lnTo>
                    <a:lnTo>
                      <a:pt x="88524" y="785220"/>
                    </a:lnTo>
                    <a:lnTo>
                      <a:pt x="17656" y="785220"/>
                    </a:lnTo>
                    <a:lnTo>
                      <a:pt x="17656" y="227059"/>
                    </a:lnTo>
                    <a:close/>
                  </a:path>
                </a:pathLst>
              </a:custGeom>
              <a:solidFill>
                <a:srgbClr val="022E33"/>
              </a:solidFill>
              <a:ln w="8212" cap="flat">
                <a:noFill/>
                <a:prstDash val="solid"/>
                <a:miter/>
              </a:ln>
            </p:spPr>
            <p:txBody>
              <a:bodyPr rtlCol="0" anchor="ctr"/>
              <a:lstStyle/>
              <a:p>
                <a:endParaRPr lang="en-US"/>
              </a:p>
            </p:txBody>
          </p:sp>
          <p:sp>
            <p:nvSpPr>
              <p:cNvPr id="49" name="Freeform: Shape 26">
                <a:extLst>
                  <a:ext uri="{FF2B5EF4-FFF2-40B4-BE49-F238E27FC236}">
                    <a16:creationId xmlns:a16="http://schemas.microsoft.com/office/drawing/2014/main" id="{54368A8B-ED36-B322-1E80-16C2C7B11513}"/>
                  </a:ext>
                </a:extLst>
              </p:cNvPr>
              <p:cNvSpPr/>
              <p:nvPr/>
            </p:nvSpPr>
            <p:spPr>
              <a:xfrm>
                <a:off x="8411586" y="3438032"/>
                <a:ext cx="554877" cy="575981"/>
              </a:xfrm>
              <a:custGeom>
                <a:avLst/>
                <a:gdLst>
                  <a:gd name="connsiteX0" fmla="*/ 0 w 554877"/>
                  <a:gd name="connsiteY0" fmla="*/ 287991 h 575981"/>
                  <a:gd name="connsiteX1" fmla="*/ 277973 w 554877"/>
                  <a:gd name="connsiteY1" fmla="*/ 0 h 575981"/>
                  <a:gd name="connsiteX2" fmla="*/ 554877 w 554877"/>
                  <a:gd name="connsiteY2" fmla="*/ 287991 h 575981"/>
                  <a:gd name="connsiteX3" fmla="*/ 277973 w 554877"/>
                  <a:gd name="connsiteY3" fmla="*/ 575982 h 575981"/>
                  <a:gd name="connsiteX4" fmla="*/ 0 w 554877"/>
                  <a:gd name="connsiteY4" fmla="*/ 287991 h 575981"/>
                  <a:gd name="connsiteX5" fmla="*/ 277973 w 554877"/>
                  <a:gd name="connsiteY5" fmla="*/ 513900 h 575981"/>
                  <a:gd name="connsiteX6" fmla="*/ 484008 w 554877"/>
                  <a:gd name="connsiteY6" fmla="*/ 287991 h 575981"/>
                  <a:gd name="connsiteX7" fmla="*/ 277973 w 554877"/>
                  <a:gd name="connsiteY7" fmla="*/ 62082 h 575981"/>
                  <a:gd name="connsiteX8" fmla="*/ 71936 w 554877"/>
                  <a:gd name="connsiteY8" fmla="*/ 287991 h 575981"/>
                  <a:gd name="connsiteX9" fmla="*/ 277973 w 554877"/>
                  <a:gd name="connsiteY9" fmla="*/ 513900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4877" h="575981">
                    <a:moveTo>
                      <a:pt x="0" y="287991"/>
                    </a:moveTo>
                    <a:cubicBezTo>
                      <a:pt x="0" y="119647"/>
                      <a:pt x="117430" y="0"/>
                      <a:pt x="277973" y="0"/>
                    </a:cubicBezTo>
                    <a:cubicBezTo>
                      <a:pt x="438515" y="0"/>
                      <a:pt x="554877" y="119647"/>
                      <a:pt x="554877" y="287991"/>
                    </a:cubicBezTo>
                    <a:cubicBezTo>
                      <a:pt x="554877" y="456334"/>
                      <a:pt x="437447" y="575982"/>
                      <a:pt x="277973" y="575982"/>
                    </a:cubicBezTo>
                    <a:cubicBezTo>
                      <a:pt x="118497" y="575982"/>
                      <a:pt x="0" y="456334"/>
                      <a:pt x="0" y="287991"/>
                    </a:cubicBezTo>
                    <a:close/>
                    <a:moveTo>
                      <a:pt x="277973" y="513900"/>
                    </a:moveTo>
                    <a:cubicBezTo>
                      <a:pt x="397620" y="513900"/>
                      <a:pt x="484008" y="420859"/>
                      <a:pt x="484008" y="287991"/>
                    </a:cubicBezTo>
                    <a:cubicBezTo>
                      <a:pt x="484008" y="155122"/>
                      <a:pt x="397620" y="62082"/>
                      <a:pt x="277973" y="62082"/>
                    </a:cubicBezTo>
                    <a:cubicBezTo>
                      <a:pt x="158325" y="62082"/>
                      <a:pt x="71936" y="155122"/>
                      <a:pt x="71936" y="287991"/>
                    </a:cubicBezTo>
                    <a:cubicBezTo>
                      <a:pt x="71936" y="420859"/>
                      <a:pt x="158325" y="513900"/>
                      <a:pt x="277973" y="513900"/>
                    </a:cubicBezTo>
                    <a:close/>
                  </a:path>
                </a:pathLst>
              </a:custGeom>
              <a:solidFill>
                <a:srgbClr val="022E33"/>
              </a:solidFill>
              <a:ln w="8212" cap="flat">
                <a:noFill/>
                <a:prstDash val="solid"/>
                <a:miter/>
              </a:ln>
            </p:spPr>
            <p:txBody>
              <a:bodyPr rtlCol="0" anchor="ctr"/>
              <a:lstStyle/>
              <a:p>
                <a:endParaRPr lang="en-US"/>
              </a:p>
            </p:txBody>
          </p:sp>
          <p:sp>
            <p:nvSpPr>
              <p:cNvPr id="50" name="Freeform: Shape 27">
                <a:extLst>
                  <a:ext uri="{FF2B5EF4-FFF2-40B4-BE49-F238E27FC236}">
                    <a16:creationId xmlns:a16="http://schemas.microsoft.com/office/drawing/2014/main" id="{83CEFC43-47CE-F71A-38BE-57E5CCFC06A9}"/>
                  </a:ext>
                </a:extLst>
              </p:cNvPr>
              <p:cNvSpPr/>
              <p:nvPr/>
            </p:nvSpPr>
            <p:spPr>
              <a:xfrm>
                <a:off x="9081676" y="3438114"/>
                <a:ext cx="484008" cy="567194"/>
              </a:xfrm>
              <a:custGeom>
                <a:avLst/>
                <a:gdLst>
                  <a:gd name="connsiteX0" fmla="*/ 0 w 484008"/>
                  <a:gd name="connsiteY0" fmla="*/ 8869 h 567194"/>
                  <a:gd name="connsiteX1" fmla="*/ 69801 w 484008"/>
                  <a:gd name="connsiteY1" fmla="*/ 8869 h 567194"/>
                  <a:gd name="connsiteX2" fmla="*/ 69801 w 484008"/>
                  <a:gd name="connsiteY2" fmla="*/ 134018 h 567194"/>
                  <a:gd name="connsiteX3" fmla="*/ 282406 w 484008"/>
                  <a:gd name="connsiteY3" fmla="*/ 0 h 567194"/>
                  <a:gd name="connsiteX4" fmla="*/ 484008 w 484008"/>
                  <a:gd name="connsiteY4" fmla="*/ 199385 h 567194"/>
                  <a:gd name="connsiteX5" fmla="*/ 484008 w 484008"/>
                  <a:gd name="connsiteY5" fmla="*/ 567113 h 567194"/>
                  <a:gd name="connsiteX6" fmla="*/ 413140 w 484008"/>
                  <a:gd name="connsiteY6" fmla="*/ 567113 h 567194"/>
                  <a:gd name="connsiteX7" fmla="*/ 413140 w 484008"/>
                  <a:gd name="connsiteY7" fmla="*/ 213837 h 567194"/>
                  <a:gd name="connsiteX8" fmla="*/ 270253 w 484008"/>
                  <a:gd name="connsiteY8" fmla="*/ 63231 h 567194"/>
                  <a:gd name="connsiteX9" fmla="*/ 69801 w 484008"/>
                  <a:gd name="connsiteY9" fmla="*/ 329050 h 567194"/>
                  <a:gd name="connsiteX10" fmla="*/ 69801 w 484008"/>
                  <a:gd name="connsiteY10" fmla="*/ 567195 h 567194"/>
                  <a:gd name="connsiteX11" fmla="*/ 0 w 484008"/>
                  <a:gd name="connsiteY11" fmla="*/ 567195 h 567194"/>
                  <a:gd name="connsiteX12" fmla="*/ 0 w 484008"/>
                  <a:gd name="connsiteY12" fmla="*/ 8869 h 56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008" h="567194">
                    <a:moveTo>
                      <a:pt x="0" y="8869"/>
                    </a:moveTo>
                    <a:lnTo>
                      <a:pt x="69801" y="8869"/>
                    </a:lnTo>
                    <a:lnTo>
                      <a:pt x="69801" y="134018"/>
                    </a:lnTo>
                    <a:cubicBezTo>
                      <a:pt x="103059" y="57565"/>
                      <a:pt x="180579" y="0"/>
                      <a:pt x="282406" y="0"/>
                    </a:cubicBezTo>
                    <a:cubicBezTo>
                      <a:pt x="398687" y="0"/>
                      <a:pt x="484008" y="70869"/>
                      <a:pt x="484008" y="199385"/>
                    </a:cubicBezTo>
                    <a:lnTo>
                      <a:pt x="484008" y="567113"/>
                    </a:lnTo>
                    <a:lnTo>
                      <a:pt x="413140" y="567113"/>
                    </a:lnTo>
                    <a:lnTo>
                      <a:pt x="413140" y="213837"/>
                    </a:lnTo>
                    <a:cubicBezTo>
                      <a:pt x="413140" y="114145"/>
                      <a:pt x="357792" y="63231"/>
                      <a:pt x="270253" y="63231"/>
                    </a:cubicBezTo>
                    <a:cubicBezTo>
                      <a:pt x="148389" y="63231"/>
                      <a:pt x="69801" y="168426"/>
                      <a:pt x="69801" y="329050"/>
                    </a:cubicBezTo>
                    <a:lnTo>
                      <a:pt x="69801" y="567195"/>
                    </a:lnTo>
                    <a:lnTo>
                      <a:pt x="0" y="567195"/>
                    </a:lnTo>
                    <a:lnTo>
                      <a:pt x="0" y="8869"/>
                    </a:lnTo>
                    <a:close/>
                  </a:path>
                </a:pathLst>
              </a:custGeom>
              <a:solidFill>
                <a:srgbClr val="022E33"/>
              </a:solidFill>
              <a:ln w="8212" cap="flat">
                <a:noFill/>
                <a:prstDash val="solid"/>
                <a:miter/>
              </a:ln>
            </p:spPr>
            <p:txBody>
              <a:bodyPr rtlCol="0" anchor="ctr"/>
              <a:lstStyle/>
              <a:p>
                <a:endParaRPr lang="en-US"/>
              </a:p>
            </p:txBody>
          </p:sp>
          <p:sp>
            <p:nvSpPr>
              <p:cNvPr id="51" name="Freeform: Shape 28">
                <a:extLst>
                  <a:ext uri="{FF2B5EF4-FFF2-40B4-BE49-F238E27FC236}">
                    <a16:creationId xmlns:a16="http://schemas.microsoft.com/office/drawing/2014/main" id="{53336379-AF7D-F58F-9BEE-011C15477633}"/>
                  </a:ext>
                </a:extLst>
              </p:cNvPr>
              <p:cNvSpPr/>
              <p:nvPr/>
            </p:nvSpPr>
            <p:spPr>
              <a:xfrm>
                <a:off x="9667429" y="3438114"/>
                <a:ext cx="416424" cy="575981"/>
              </a:xfrm>
              <a:custGeom>
                <a:avLst/>
                <a:gdLst>
                  <a:gd name="connsiteX0" fmla="*/ 82 w 416424"/>
                  <a:gd name="connsiteY0" fmla="*/ 386533 h 575981"/>
                  <a:gd name="connsiteX1" fmla="*/ 72101 w 416424"/>
                  <a:gd name="connsiteY1" fmla="*/ 386533 h 575981"/>
                  <a:gd name="connsiteX2" fmla="*/ 216055 w 416424"/>
                  <a:gd name="connsiteY2" fmla="*/ 513900 h 575981"/>
                  <a:gd name="connsiteX3" fmla="*/ 344489 w 416424"/>
                  <a:gd name="connsiteY3" fmla="*/ 409773 h 575981"/>
                  <a:gd name="connsiteX4" fmla="*/ 15521 w 416424"/>
                  <a:gd name="connsiteY4" fmla="*/ 145104 h 575981"/>
                  <a:gd name="connsiteX5" fmla="*/ 198235 w 416424"/>
                  <a:gd name="connsiteY5" fmla="*/ 0 h 575981"/>
                  <a:gd name="connsiteX6" fmla="*/ 402054 w 416424"/>
                  <a:gd name="connsiteY6" fmla="*/ 161692 h 575981"/>
                  <a:gd name="connsiteX7" fmla="*/ 330036 w 416424"/>
                  <a:gd name="connsiteY7" fmla="*/ 161692 h 575981"/>
                  <a:gd name="connsiteX8" fmla="*/ 198235 w 416424"/>
                  <a:gd name="connsiteY8" fmla="*/ 62000 h 575981"/>
                  <a:gd name="connsiteX9" fmla="*/ 85239 w 416424"/>
                  <a:gd name="connsiteY9" fmla="*/ 142887 h 575981"/>
                  <a:gd name="connsiteX10" fmla="*/ 416425 w 416424"/>
                  <a:gd name="connsiteY10" fmla="*/ 408705 h 575981"/>
                  <a:gd name="connsiteX11" fmla="*/ 215973 w 416424"/>
                  <a:gd name="connsiteY11" fmla="*/ 575981 h 575981"/>
                  <a:gd name="connsiteX12" fmla="*/ 0 w 416424"/>
                  <a:gd name="connsiteY12" fmla="*/ 386615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6424" h="575981">
                    <a:moveTo>
                      <a:pt x="82" y="386533"/>
                    </a:moveTo>
                    <a:lnTo>
                      <a:pt x="72101" y="386533"/>
                    </a:lnTo>
                    <a:cubicBezTo>
                      <a:pt x="78752" y="461836"/>
                      <a:pt x="127449" y="513900"/>
                      <a:pt x="216055" y="513900"/>
                    </a:cubicBezTo>
                    <a:cubicBezTo>
                      <a:pt x="292508" y="513900"/>
                      <a:pt x="344489" y="477357"/>
                      <a:pt x="344489" y="409773"/>
                    </a:cubicBezTo>
                    <a:cubicBezTo>
                      <a:pt x="344489" y="254733"/>
                      <a:pt x="15521" y="348841"/>
                      <a:pt x="15521" y="145104"/>
                    </a:cubicBezTo>
                    <a:cubicBezTo>
                      <a:pt x="15521" y="60932"/>
                      <a:pt x="89756" y="0"/>
                      <a:pt x="198235" y="0"/>
                    </a:cubicBezTo>
                    <a:cubicBezTo>
                      <a:pt x="317882" y="0"/>
                      <a:pt x="388751" y="59782"/>
                      <a:pt x="402054" y="161692"/>
                    </a:cubicBezTo>
                    <a:lnTo>
                      <a:pt x="330036" y="161692"/>
                    </a:lnTo>
                    <a:cubicBezTo>
                      <a:pt x="321167" y="97475"/>
                      <a:pt x="272471" y="62000"/>
                      <a:pt x="198235" y="62000"/>
                    </a:cubicBezTo>
                    <a:cubicBezTo>
                      <a:pt x="134018" y="62000"/>
                      <a:pt x="85239" y="90823"/>
                      <a:pt x="85239" y="142887"/>
                    </a:cubicBezTo>
                    <a:cubicBezTo>
                      <a:pt x="85239" y="285774"/>
                      <a:pt x="416425" y="188298"/>
                      <a:pt x="416425" y="408705"/>
                    </a:cubicBezTo>
                    <a:cubicBezTo>
                      <a:pt x="416425" y="509465"/>
                      <a:pt x="331185" y="575981"/>
                      <a:pt x="215973" y="575981"/>
                    </a:cubicBezTo>
                    <a:cubicBezTo>
                      <a:pt x="73086" y="575981"/>
                      <a:pt x="4435" y="481873"/>
                      <a:pt x="0" y="386615"/>
                    </a:cubicBezTo>
                    <a:close/>
                  </a:path>
                </a:pathLst>
              </a:custGeom>
              <a:solidFill>
                <a:srgbClr val="022E33"/>
              </a:solidFill>
              <a:ln w="821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46010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4" name="Bilde 13">
            <a:extLst>
              <a:ext uri="{FF2B5EF4-FFF2-40B4-BE49-F238E27FC236}">
                <a16:creationId xmlns:a16="http://schemas.microsoft.com/office/drawing/2014/main" id="{8C109D9A-DDF6-50EB-6060-D6488CD7456C}"/>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6" name="Plassholder for tekst 5">
            <a:extLst>
              <a:ext uri="{FF2B5EF4-FFF2-40B4-BE49-F238E27FC236}">
                <a16:creationId xmlns:a16="http://schemas.microsoft.com/office/drawing/2014/main" id="{2AA9A442-D2B2-74D7-B2DE-DF1F141E5DB6}"/>
              </a:ext>
            </a:extLst>
          </p:cNvPr>
          <p:cNvSpPr>
            <a:spLocks noGrp="1"/>
          </p:cNvSpPr>
          <p:nvPr>
            <p:ph type="body" sz="quarter" idx="16" hasCustomPrompt="1"/>
          </p:nvPr>
        </p:nvSpPr>
        <p:spPr>
          <a:xfrm>
            <a:off x="981493" y="2072789"/>
            <a:ext cx="10104020"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8" name="Bilde 17">
            <a:extLst>
              <a:ext uri="{FF2B5EF4-FFF2-40B4-BE49-F238E27FC236}">
                <a16:creationId xmlns:a16="http://schemas.microsoft.com/office/drawing/2014/main" id="{2A94FDF5-1A9F-1EB1-3E32-B48230DFB923}"/>
              </a:ext>
            </a:extLst>
          </p:cNvPr>
          <p:cNvPicPr>
            <a:picLocks noChangeAspect="1"/>
          </p:cNvPicPr>
          <p:nvPr userDrawn="1"/>
        </p:nvPicPr>
        <p:blipFill>
          <a:blip r:embed="rId5">
            <a:alphaModFix amt="40000"/>
          </a:blip>
          <a:stretch>
            <a:fillRect/>
          </a:stretch>
        </p:blipFill>
        <p:spPr>
          <a:xfrm>
            <a:off x="10805098" y="4091087"/>
            <a:ext cx="2091727" cy="2768600"/>
          </a:xfrm>
          <a:prstGeom prst="rect">
            <a:avLst/>
          </a:prstGeom>
        </p:spPr>
      </p:pic>
      <p:sp>
        <p:nvSpPr>
          <p:cNvPr id="19" name="TekstSylinder 18">
            <a:extLst>
              <a:ext uri="{FF2B5EF4-FFF2-40B4-BE49-F238E27FC236}">
                <a16:creationId xmlns:a16="http://schemas.microsoft.com/office/drawing/2014/main" id="{402040AE-AA56-4AC0-D2C7-062D83522292}"/>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3851611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fade">
                                      <p:cBhvr>
                                        <p:cTn id="11" dur="500"/>
                                        <p:tgtEl>
                                          <p:spTgt spid="1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500"/>
                                        <p:tgtEl>
                                          <p:spTgt spid="1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55BAE5AE-F22D-885D-1C63-BD6C0F21CC3F}"/>
              </a:ext>
            </a:extLst>
          </p:cNvPr>
          <p:cNvSpPr>
            <a:spLocks noGrp="1"/>
          </p:cNvSpPr>
          <p:nvPr>
            <p:ph type="body" sz="quarter" idx="16" hasCustomPrompt="1"/>
          </p:nvPr>
        </p:nvSpPr>
        <p:spPr>
          <a:xfrm>
            <a:off x="981493" y="2072789"/>
            <a:ext cx="5957189"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CAE188F2-AD36-FAFF-7D17-BD3ABD31DF54}"/>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1330211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BA265EDC-1F39-AFC6-3A79-0A978E063B65}"/>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2" name="Bilde 11">
            <a:extLst>
              <a:ext uri="{FF2B5EF4-FFF2-40B4-BE49-F238E27FC236}">
                <a16:creationId xmlns:a16="http://schemas.microsoft.com/office/drawing/2014/main" id="{0E55D9D3-F9CB-FDE3-C4E4-F20A5D52E06A}"/>
              </a:ext>
            </a:extLst>
          </p:cNvPr>
          <p:cNvPicPr>
            <a:picLocks noChangeAspect="1"/>
          </p:cNvPicPr>
          <p:nvPr userDrawn="1"/>
        </p:nvPicPr>
        <p:blipFill>
          <a:blip r:embed="rId2">
            <a:alphaModFix amt="40000"/>
          </a:blip>
          <a:stretch>
            <a:fillRect/>
          </a:stretch>
        </p:blipFill>
        <p:spPr>
          <a:xfrm>
            <a:off x="10805098" y="4091087"/>
            <a:ext cx="2091727" cy="2768600"/>
          </a:xfrm>
          <a:prstGeom prst="rect">
            <a:avLst/>
          </a:prstGeom>
        </p:spPr>
      </p:pic>
      <p:pic>
        <p:nvPicPr>
          <p:cNvPr id="13" name="Bilde 12">
            <a:extLst>
              <a:ext uri="{FF2B5EF4-FFF2-40B4-BE49-F238E27FC236}">
                <a16:creationId xmlns:a16="http://schemas.microsoft.com/office/drawing/2014/main" id="{B445DB7C-82F5-3E6A-D166-1B92F8513E13}"/>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4" name="TekstSylinder 13">
            <a:extLst>
              <a:ext uri="{FF2B5EF4-FFF2-40B4-BE49-F238E27FC236}">
                <a16:creationId xmlns:a16="http://schemas.microsoft.com/office/drawing/2014/main" id="{6DB4B2A3-3813-3375-6030-F9CD261CDEFC}"/>
              </a:ext>
            </a:extLst>
          </p:cNvPr>
          <p:cNvSpPr txBox="1"/>
          <p:nvPr userDrawn="1"/>
        </p:nvSpPr>
        <p:spPr>
          <a:xfrm>
            <a:off x="56335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1813296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D5B8F4EF-18E9-14E2-0C9E-86DDDF9F2D12}"/>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A7E3E140-7C94-FD9E-60F2-7FDEE362C14A}"/>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3945696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Montel Markedplace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grpSp>
        <p:nvGrpSpPr>
          <p:cNvPr id="34" name="Gruppe 33">
            <a:extLst>
              <a:ext uri="{FF2B5EF4-FFF2-40B4-BE49-F238E27FC236}">
                <a16:creationId xmlns:a16="http://schemas.microsoft.com/office/drawing/2014/main" id="{65B905BD-E06E-39A5-2A9A-BE4AF14AF8CD}"/>
              </a:ext>
            </a:extLst>
          </p:cNvPr>
          <p:cNvGrpSpPr/>
          <p:nvPr userDrawn="1"/>
        </p:nvGrpSpPr>
        <p:grpSpPr>
          <a:xfrm>
            <a:off x="1467857" y="2279376"/>
            <a:ext cx="5690172" cy="1222106"/>
            <a:chOff x="1737360" y="2493122"/>
            <a:chExt cx="8718236" cy="1872458"/>
          </a:xfrm>
        </p:grpSpPr>
        <p:grpSp>
          <p:nvGrpSpPr>
            <p:cNvPr id="35" name="Graphic 3">
              <a:extLst>
                <a:ext uri="{FF2B5EF4-FFF2-40B4-BE49-F238E27FC236}">
                  <a16:creationId xmlns:a16="http://schemas.microsoft.com/office/drawing/2014/main" id="{B45D6F03-EAC5-18DB-7EFE-7BFF311A1E49}"/>
                </a:ext>
              </a:extLst>
            </p:cNvPr>
            <p:cNvGrpSpPr/>
            <p:nvPr/>
          </p:nvGrpSpPr>
          <p:grpSpPr>
            <a:xfrm>
              <a:off x="1737360" y="2493122"/>
              <a:ext cx="1872457" cy="1872458"/>
              <a:chOff x="1737360" y="2493122"/>
              <a:chExt cx="1872457" cy="1872458"/>
            </a:xfrm>
          </p:grpSpPr>
          <p:sp>
            <p:nvSpPr>
              <p:cNvPr id="55" name="Freeform: Shape 7">
                <a:extLst>
                  <a:ext uri="{FF2B5EF4-FFF2-40B4-BE49-F238E27FC236}">
                    <a16:creationId xmlns:a16="http://schemas.microsoft.com/office/drawing/2014/main" id="{2375A116-1F6C-6AE9-D335-9ACCFD2539EC}"/>
                  </a:ext>
                </a:extLst>
              </p:cNvPr>
              <p:cNvSpPr/>
              <p:nvPr/>
            </p:nvSpPr>
            <p:spPr>
              <a:xfrm>
                <a:off x="1737360" y="2493122"/>
                <a:ext cx="1872457" cy="1872458"/>
              </a:xfrm>
              <a:custGeom>
                <a:avLst/>
                <a:gdLst>
                  <a:gd name="connsiteX0" fmla="*/ 1872458 w 1872457"/>
                  <a:gd name="connsiteY0" fmla="*/ 936229 h 1872458"/>
                  <a:gd name="connsiteX1" fmla="*/ 936229 w 1872457"/>
                  <a:gd name="connsiteY1" fmla="*/ 1872458 h 1872458"/>
                  <a:gd name="connsiteX2" fmla="*/ 0 w 1872457"/>
                  <a:gd name="connsiteY2" fmla="*/ 936229 h 1872458"/>
                  <a:gd name="connsiteX3" fmla="*/ 936229 w 1872457"/>
                  <a:gd name="connsiteY3" fmla="*/ 0 h 1872458"/>
                  <a:gd name="connsiteX4" fmla="*/ 1872458 w 1872457"/>
                  <a:gd name="connsiteY4" fmla="*/ 936229 h 187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457" h="1872458">
                    <a:moveTo>
                      <a:pt x="1872458" y="936229"/>
                    </a:moveTo>
                    <a:cubicBezTo>
                      <a:pt x="1872458" y="1453294"/>
                      <a:pt x="1453294" y="1872458"/>
                      <a:pt x="936229" y="1872458"/>
                    </a:cubicBezTo>
                    <a:cubicBezTo>
                      <a:pt x="419164" y="1872458"/>
                      <a:pt x="0" y="1453294"/>
                      <a:pt x="0" y="936229"/>
                    </a:cubicBezTo>
                    <a:cubicBezTo>
                      <a:pt x="0" y="419164"/>
                      <a:pt x="419164" y="0"/>
                      <a:pt x="936229" y="0"/>
                    </a:cubicBezTo>
                    <a:cubicBezTo>
                      <a:pt x="1453294" y="0"/>
                      <a:pt x="1872458" y="419164"/>
                      <a:pt x="1872458" y="936229"/>
                    </a:cubicBezTo>
                    <a:close/>
                  </a:path>
                </a:pathLst>
              </a:custGeom>
              <a:solidFill>
                <a:srgbClr val="022E33"/>
              </a:solidFill>
              <a:ln w="8786" cap="flat">
                <a:noFill/>
                <a:prstDash val="solid"/>
                <a:miter/>
              </a:ln>
            </p:spPr>
            <p:txBody>
              <a:bodyPr rtlCol="0" anchor="ctr"/>
              <a:lstStyle/>
              <a:p>
                <a:endParaRPr lang="en-US"/>
              </a:p>
            </p:txBody>
          </p:sp>
          <p:grpSp>
            <p:nvGrpSpPr>
              <p:cNvPr id="56" name="Graphic 3">
                <a:extLst>
                  <a:ext uri="{FF2B5EF4-FFF2-40B4-BE49-F238E27FC236}">
                    <a16:creationId xmlns:a16="http://schemas.microsoft.com/office/drawing/2014/main" id="{C97A1549-017D-D1B4-415C-2F94E850CD25}"/>
                  </a:ext>
                </a:extLst>
              </p:cNvPr>
              <p:cNvGrpSpPr/>
              <p:nvPr/>
            </p:nvGrpSpPr>
            <p:grpSpPr>
              <a:xfrm>
                <a:off x="2120322" y="3034261"/>
                <a:ext cx="1106619" cy="790179"/>
                <a:chOff x="2120322" y="3034261"/>
                <a:chExt cx="1106619" cy="790179"/>
              </a:xfrm>
              <a:solidFill>
                <a:srgbClr val="FFFFFF"/>
              </a:solidFill>
            </p:grpSpPr>
            <p:sp>
              <p:nvSpPr>
                <p:cNvPr id="57" name="Freeform: Shape 9">
                  <a:extLst>
                    <a:ext uri="{FF2B5EF4-FFF2-40B4-BE49-F238E27FC236}">
                      <a16:creationId xmlns:a16="http://schemas.microsoft.com/office/drawing/2014/main" id="{76B56077-317D-1AE8-D2A8-F08C8464CCD1}"/>
                    </a:ext>
                  </a:extLst>
                </p:cNvPr>
                <p:cNvSpPr/>
                <p:nvPr/>
              </p:nvSpPr>
              <p:spPr>
                <a:xfrm>
                  <a:off x="2436587" y="3043021"/>
                  <a:ext cx="790354" cy="781418"/>
                </a:xfrm>
                <a:custGeom>
                  <a:avLst/>
                  <a:gdLst>
                    <a:gd name="connsiteX0" fmla="*/ 702567 w 790354"/>
                    <a:gd name="connsiteY0" fmla="*/ 138080 h 781418"/>
                    <a:gd name="connsiteX1" fmla="*/ 482878 w 790354"/>
                    <a:gd name="connsiteY1" fmla="*/ 994 h 781418"/>
                    <a:gd name="connsiteX2" fmla="*/ 435864 w 790354"/>
                    <a:gd name="connsiteY2" fmla="*/ 30608 h 781418"/>
                    <a:gd name="connsiteX3" fmla="*/ 465478 w 790354"/>
                    <a:gd name="connsiteY3" fmla="*/ 77621 h 781418"/>
                    <a:gd name="connsiteX4" fmla="*/ 641406 w 790354"/>
                    <a:gd name="connsiteY4" fmla="*/ 187466 h 781418"/>
                    <a:gd name="connsiteX5" fmla="*/ 711618 w 790354"/>
                    <a:gd name="connsiteY5" fmla="*/ 386329 h 781418"/>
                    <a:gd name="connsiteX6" fmla="*/ 395090 w 790354"/>
                    <a:gd name="connsiteY6" fmla="*/ 702858 h 781418"/>
                    <a:gd name="connsiteX7" fmla="*/ 78561 w 790354"/>
                    <a:gd name="connsiteY7" fmla="*/ 386329 h 781418"/>
                    <a:gd name="connsiteX8" fmla="*/ 123553 w 790354"/>
                    <a:gd name="connsiteY8" fmla="*/ 223583 h 781418"/>
                    <a:gd name="connsiteX9" fmla="*/ 110108 w 790354"/>
                    <a:gd name="connsiteY9" fmla="*/ 169627 h 781418"/>
                    <a:gd name="connsiteX10" fmla="*/ 56153 w 790354"/>
                    <a:gd name="connsiteY10" fmla="*/ 183072 h 781418"/>
                    <a:gd name="connsiteX11" fmla="*/ 0 w 790354"/>
                    <a:gd name="connsiteY11" fmla="*/ 386241 h 781418"/>
                    <a:gd name="connsiteX12" fmla="*/ 115732 w 790354"/>
                    <a:gd name="connsiteY12" fmla="*/ 665686 h 781418"/>
                    <a:gd name="connsiteX13" fmla="*/ 395178 w 790354"/>
                    <a:gd name="connsiteY13" fmla="*/ 781419 h 781418"/>
                    <a:gd name="connsiteX14" fmla="*/ 674623 w 790354"/>
                    <a:gd name="connsiteY14" fmla="*/ 665686 h 781418"/>
                    <a:gd name="connsiteX15" fmla="*/ 790355 w 790354"/>
                    <a:gd name="connsiteY15" fmla="*/ 386241 h 781418"/>
                    <a:gd name="connsiteX16" fmla="*/ 702655 w 790354"/>
                    <a:gd name="connsiteY16" fmla="*/ 137992 h 78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0354" h="781418">
                      <a:moveTo>
                        <a:pt x="702567" y="138080"/>
                      </a:moveTo>
                      <a:cubicBezTo>
                        <a:pt x="646854" y="69185"/>
                        <a:pt x="568820" y="20502"/>
                        <a:pt x="482878" y="994"/>
                      </a:cubicBezTo>
                      <a:cubicBezTo>
                        <a:pt x="461700" y="-3840"/>
                        <a:pt x="440609" y="9430"/>
                        <a:pt x="435864" y="30608"/>
                      </a:cubicBezTo>
                      <a:cubicBezTo>
                        <a:pt x="431031" y="51786"/>
                        <a:pt x="444300" y="72876"/>
                        <a:pt x="465478" y="77621"/>
                      </a:cubicBezTo>
                      <a:cubicBezTo>
                        <a:pt x="534285" y="93263"/>
                        <a:pt x="596765" y="132280"/>
                        <a:pt x="641406" y="187466"/>
                      </a:cubicBezTo>
                      <a:cubicBezTo>
                        <a:pt x="687365" y="244322"/>
                        <a:pt x="711618" y="313041"/>
                        <a:pt x="711618" y="386329"/>
                      </a:cubicBezTo>
                      <a:cubicBezTo>
                        <a:pt x="711618" y="560850"/>
                        <a:pt x="569611" y="702858"/>
                        <a:pt x="395090" y="702858"/>
                      </a:cubicBezTo>
                      <a:cubicBezTo>
                        <a:pt x="220568" y="702858"/>
                        <a:pt x="78561" y="560850"/>
                        <a:pt x="78561" y="386329"/>
                      </a:cubicBezTo>
                      <a:cubicBezTo>
                        <a:pt x="78561" y="328858"/>
                        <a:pt x="94115" y="272618"/>
                        <a:pt x="123553" y="223583"/>
                      </a:cubicBezTo>
                      <a:cubicBezTo>
                        <a:pt x="134714" y="204953"/>
                        <a:pt x="128738" y="180787"/>
                        <a:pt x="110108" y="169627"/>
                      </a:cubicBezTo>
                      <a:cubicBezTo>
                        <a:pt x="91479" y="158467"/>
                        <a:pt x="67313" y="164443"/>
                        <a:pt x="56153" y="183072"/>
                      </a:cubicBezTo>
                      <a:cubicBezTo>
                        <a:pt x="19421" y="244234"/>
                        <a:pt x="0" y="314535"/>
                        <a:pt x="0" y="386241"/>
                      </a:cubicBezTo>
                      <a:cubicBezTo>
                        <a:pt x="0" y="491780"/>
                        <a:pt x="41126" y="590992"/>
                        <a:pt x="115732" y="665686"/>
                      </a:cubicBezTo>
                      <a:cubicBezTo>
                        <a:pt x="190339" y="740293"/>
                        <a:pt x="289639" y="781419"/>
                        <a:pt x="395178" y="781419"/>
                      </a:cubicBezTo>
                      <a:cubicBezTo>
                        <a:pt x="500716" y="781419"/>
                        <a:pt x="599928" y="740293"/>
                        <a:pt x="674623" y="665686"/>
                      </a:cubicBezTo>
                      <a:cubicBezTo>
                        <a:pt x="749229" y="591080"/>
                        <a:pt x="790355" y="491780"/>
                        <a:pt x="790355" y="386241"/>
                      </a:cubicBezTo>
                      <a:cubicBezTo>
                        <a:pt x="790355" y="296081"/>
                        <a:pt x="759159" y="207941"/>
                        <a:pt x="702655" y="137992"/>
                      </a:cubicBezTo>
                      <a:close/>
                    </a:path>
                  </a:pathLst>
                </a:custGeom>
                <a:solidFill>
                  <a:srgbClr val="A3EDE3"/>
                </a:solidFill>
                <a:ln w="8786" cap="flat">
                  <a:noFill/>
                  <a:prstDash val="solid"/>
                  <a:miter/>
                </a:ln>
              </p:spPr>
              <p:txBody>
                <a:bodyPr rtlCol="0" anchor="ctr"/>
                <a:lstStyle/>
                <a:p>
                  <a:endParaRPr lang="en-US"/>
                </a:p>
              </p:txBody>
            </p:sp>
            <p:sp>
              <p:nvSpPr>
                <p:cNvPr id="58" name="Freeform: Shape 10">
                  <a:extLst>
                    <a:ext uri="{FF2B5EF4-FFF2-40B4-BE49-F238E27FC236}">
                      <a16:creationId xmlns:a16="http://schemas.microsoft.com/office/drawing/2014/main" id="{05D53F7A-DE1D-057A-921A-69047117F56E}"/>
                    </a:ext>
                  </a:extLst>
                </p:cNvPr>
                <p:cNvSpPr/>
                <p:nvPr/>
              </p:nvSpPr>
              <p:spPr>
                <a:xfrm>
                  <a:off x="2120322" y="3034261"/>
                  <a:ext cx="790355" cy="781479"/>
                </a:xfrm>
                <a:custGeom>
                  <a:avLst/>
                  <a:gdLst>
                    <a:gd name="connsiteX0" fmla="*/ 324877 w 790355"/>
                    <a:gd name="connsiteY0" fmla="*/ 703797 h 781479"/>
                    <a:gd name="connsiteX1" fmla="*/ 148949 w 790355"/>
                    <a:gd name="connsiteY1" fmla="*/ 593953 h 781479"/>
                    <a:gd name="connsiteX2" fmla="*/ 78737 w 790355"/>
                    <a:gd name="connsiteY2" fmla="*/ 395090 h 781479"/>
                    <a:gd name="connsiteX3" fmla="*/ 395265 w 790355"/>
                    <a:gd name="connsiteY3" fmla="*/ 78561 h 781479"/>
                    <a:gd name="connsiteX4" fmla="*/ 711794 w 790355"/>
                    <a:gd name="connsiteY4" fmla="*/ 395090 h 781479"/>
                    <a:gd name="connsiteX5" fmla="*/ 666802 w 790355"/>
                    <a:gd name="connsiteY5" fmla="*/ 557836 h 781479"/>
                    <a:gd name="connsiteX6" fmla="*/ 680247 w 790355"/>
                    <a:gd name="connsiteY6" fmla="*/ 611791 h 781479"/>
                    <a:gd name="connsiteX7" fmla="*/ 734202 w 790355"/>
                    <a:gd name="connsiteY7" fmla="*/ 598346 h 781479"/>
                    <a:gd name="connsiteX8" fmla="*/ 790355 w 790355"/>
                    <a:gd name="connsiteY8" fmla="*/ 395178 h 781479"/>
                    <a:gd name="connsiteX9" fmla="*/ 674623 w 790355"/>
                    <a:gd name="connsiteY9" fmla="*/ 115732 h 781479"/>
                    <a:gd name="connsiteX10" fmla="*/ 395178 w 790355"/>
                    <a:gd name="connsiteY10" fmla="*/ 0 h 781479"/>
                    <a:gd name="connsiteX11" fmla="*/ 115732 w 790355"/>
                    <a:gd name="connsiteY11" fmla="*/ 115732 h 781479"/>
                    <a:gd name="connsiteX12" fmla="*/ 0 w 790355"/>
                    <a:gd name="connsiteY12" fmla="*/ 395178 h 781479"/>
                    <a:gd name="connsiteX13" fmla="*/ 87700 w 790355"/>
                    <a:gd name="connsiteY13" fmla="*/ 643427 h 781479"/>
                    <a:gd name="connsiteX14" fmla="*/ 307390 w 790355"/>
                    <a:gd name="connsiteY14" fmla="*/ 780513 h 781479"/>
                    <a:gd name="connsiteX15" fmla="*/ 316089 w 790355"/>
                    <a:gd name="connsiteY15" fmla="*/ 781480 h 781479"/>
                    <a:gd name="connsiteX16" fmla="*/ 354403 w 790355"/>
                    <a:gd name="connsiteY16" fmla="*/ 750811 h 781479"/>
                    <a:gd name="connsiteX17" fmla="*/ 324789 w 790355"/>
                    <a:gd name="connsiteY17" fmla="*/ 703797 h 781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0355" h="781479">
                      <a:moveTo>
                        <a:pt x="324877" y="703797"/>
                      </a:moveTo>
                      <a:cubicBezTo>
                        <a:pt x="256070" y="688156"/>
                        <a:pt x="193590" y="649139"/>
                        <a:pt x="148949" y="593953"/>
                      </a:cubicBezTo>
                      <a:cubicBezTo>
                        <a:pt x="102990" y="537097"/>
                        <a:pt x="78737" y="468378"/>
                        <a:pt x="78737" y="395090"/>
                      </a:cubicBezTo>
                      <a:cubicBezTo>
                        <a:pt x="78737" y="220568"/>
                        <a:pt x="220744" y="78561"/>
                        <a:pt x="395265" y="78561"/>
                      </a:cubicBezTo>
                      <a:cubicBezTo>
                        <a:pt x="569787" y="78561"/>
                        <a:pt x="711794" y="220568"/>
                        <a:pt x="711794" y="395090"/>
                      </a:cubicBezTo>
                      <a:cubicBezTo>
                        <a:pt x="711794" y="452560"/>
                        <a:pt x="696240" y="508801"/>
                        <a:pt x="666802" y="557836"/>
                      </a:cubicBezTo>
                      <a:cubicBezTo>
                        <a:pt x="655641" y="576465"/>
                        <a:pt x="661617" y="600631"/>
                        <a:pt x="680247" y="611791"/>
                      </a:cubicBezTo>
                      <a:cubicBezTo>
                        <a:pt x="698876" y="622952"/>
                        <a:pt x="723042" y="616976"/>
                        <a:pt x="734202" y="598346"/>
                      </a:cubicBezTo>
                      <a:cubicBezTo>
                        <a:pt x="770934" y="537185"/>
                        <a:pt x="790355" y="466884"/>
                        <a:pt x="790355" y="395178"/>
                      </a:cubicBezTo>
                      <a:cubicBezTo>
                        <a:pt x="790355" y="289639"/>
                        <a:pt x="749229" y="190427"/>
                        <a:pt x="674623" y="115732"/>
                      </a:cubicBezTo>
                      <a:cubicBezTo>
                        <a:pt x="600016" y="41126"/>
                        <a:pt x="500716" y="0"/>
                        <a:pt x="395178" y="0"/>
                      </a:cubicBezTo>
                      <a:cubicBezTo>
                        <a:pt x="289639" y="0"/>
                        <a:pt x="190427" y="41126"/>
                        <a:pt x="115732" y="115732"/>
                      </a:cubicBezTo>
                      <a:cubicBezTo>
                        <a:pt x="41126" y="190339"/>
                        <a:pt x="0" y="289639"/>
                        <a:pt x="0" y="395178"/>
                      </a:cubicBezTo>
                      <a:cubicBezTo>
                        <a:pt x="0" y="485338"/>
                        <a:pt x="31196" y="573478"/>
                        <a:pt x="87700" y="643427"/>
                      </a:cubicBezTo>
                      <a:cubicBezTo>
                        <a:pt x="143413" y="712321"/>
                        <a:pt x="221447" y="761005"/>
                        <a:pt x="307390" y="780513"/>
                      </a:cubicBezTo>
                      <a:cubicBezTo>
                        <a:pt x="310289" y="781216"/>
                        <a:pt x="313277" y="781480"/>
                        <a:pt x="316089" y="781480"/>
                      </a:cubicBezTo>
                      <a:cubicBezTo>
                        <a:pt x="334016" y="781480"/>
                        <a:pt x="350273" y="769089"/>
                        <a:pt x="354403" y="750811"/>
                      </a:cubicBezTo>
                      <a:cubicBezTo>
                        <a:pt x="359236" y="729633"/>
                        <a:pt x="345967" y="708543"/>
                        <a:pt x="324789" y="703797"/>
                      </a:cubicBezTo>
                      <a:close/>
                    </a:path>
                  </a:pathLst>
                </a:custGeom>
                <a:solidFill>
                  <a:srgbClr val="A3EDE3"/>
                </a:solidFill>
                <a:ln w="8786" cap="flat">
                  <a:noFill/>
                  <a:prstDash val="solid"/>
                  <a:miter/>
                </a:ln>
              </p:spPr>
              <p:txBody>
                <a:bodyPr rtlCol="0" anchor="ctr"/>
                <a:lstStyle/>
                <a:p>
                  <a:endParaRPr lang="en-US"/>
                </a:p>
              </p:txBody>
            </p:sp>
          </p:grpSp>
        </p:grpSp>
        <p:grpSp>
          <p:nvGrpSpPr>
            <p:cNvPr id="36" name="Graphic 3">
              <a:extLst>
                <a:ext uri="{FF2B5EF4-FFF2-40B4-BE49-F238E27FC236}">
                  <a16:creationId xmlns:a16="http://schemas.microsoft.com/office/drawing/2014/main" id="{D6E8C30B-2FEA-CBDD-78EB-C61A40DCBF9C}"/>
                </a:ext>
              </a:extLst>
            </p:cNvPr>
            <p:cNvGrpSpPr/>
            <p:nvPr/>
          </p:nvGrpSpPr>
          <p:grpSpPr>
            <a:xfrm>
              <a:off x="4163698" y="2735659"/>
              <a:ext cx="1868503" cy="320043"/>
              <a:chOff x="4163698" y="2735659"/>
              <a:chExt cx="1868503" cy="320043"/>
            </a:xfrm>
            <a:solidFill>
              <a:srgbClr val="022E33"/>
            </a:solidFill>
          </p:grpSpPr>
          <p:sp>
            <p:nvSpPr>
              <p:cNvPr id="49" name="Freeform: Shape 12">
                <a:extLst>
                  <a:ext uri="{FF2B5EF4-FFF2-40B4-BE49-F238E27FC236}">
                    <a16:creationId xmlns:a16="http://schemas.microsoft.com/office/drawing/2014/main" id="{8AD977ED-DC68-9C87-76C7-629491483E0F}"/>
                  </a:ext>
                </a:extLst>
              </p:cNvPr>
              <p:cNvSpPr/>
              <p:nvPr/>
            </p:nvSpPr>
            <p:spPr>
              <a:xfrm>
                <a:off x="5263816" y="2739174"/>
                <a:ext cx="248952" cy="312837"/>
              </a:xfrm>
              <a:custGeom>
                <a:avLst/>
                <a:gdLst>
                  <a:gd name="connsiteX0" fmla="*/ 94291 w 248952"/>
                  <a:gd name="connsiteY0" fmla="*/ 51847 h 312837"/>
                  <a:gd name="connsiteX1" fmla="*/ 0 w 248952"/>
                  <a:gd name="connsiteY1" fmla="*/ 51847 h 312837"/>
                  <a:gd name="connsiteX2" fmla="*/ 0 w 248952"/>
                  <a:gd name="connsiteY2" fmla="*/ 0 h 312837"/>
                  <a:gd name="connsiteX3" fmla="*/ 248952 w 248952"/>
                  <a:gd name="connsiteY3" fmla="*/ 0 h 312837"/>
                  <a:gd name="connsiteX4" fmla="*/ 248952 w 248952"/>
                  <a:gd name="connsiteY4" fmla="*/ 51847 h 312837"/>
                  <a:gd name="connsiteX5" fmla="*/ 155101 w 248952"/>
                  <a:gd name="connsiteY5" fmla="*/ 51847 h 312837"/>
                  <a:gd name="connsiteX6" fmla="*/ 155101 w 248952"/>
                  <a:gd name="connsiteY6" fmla="*/ 312838 h 312837"/>
                  <a:gd name="connsiteX7" fmla="*/ 94291 w 248952"/>
                  <a:gd name="connsiteY7" fmla="*/ 312838 h 312837"/>
                  <a:gd name="connsiteX8" fmla="*/ 94291 w 248952"/>
                  <a:gd name="connsiteY8" fmla="*/ 51847 h 3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52" h="312837">
                    <a:moveTo>
                      <a:pt x="94291" y="51847"/>
                    </a:moveTo>
                    <a:lnTo>
                      <a:pt x="0" y="51847"/>
                    </a:lnTo>
                    <a:lnTo>
                      <a:pt x="0" y="0"/>
                    </a:lnTo>
                    <a:lnTo>
                      <a:pt x="248952" y="0"/>
                    </a:lnTo>
                    <a:lnTo>
                      <a:pt x="248952" y="51847"/>
                    </a:lnTo>
                    <a:lnTo>
                      <a:pt x="155101" y="51847"/>
                    </a:lnTo>
                    <a:lnTo>
                      <a:pt x="155101" y="312838"/>
                    </a:lnTo>
                    <a:lnTo>
                      <a:pt x="94291" y="312838"/>
                    </a:lnTo>
                    <a:lnTo>
                      <a:pt x="94291" y="51847"/>
                    </a:lnTo>
                    <a:close/>
                  </a:path>
                </a:pathLst>
              </a:custGeom>
              <a:solidFill>
                <a:srgbClr val="022E33"/>
              </a:solidFill>
              <a:ln w="8786" cap="flat">
                <a:noFill/>
                <a:prstDash val="solid"/>
                <a:miter/>
              </a:ln>
            </p:spPr>
            <p:txBody>
              <a:bodyPr rtlCol="0" anchor="ctr"/>
              <a:lstStyle/>
              <a:p>
                <a:endParaRPr lang="en-US"/>
              </a:p>
            </p:txBody>
          </p:sp>
          <p:sp>
            <p:nvSpPr>
              <p:cNvPr id="50" name="Freeform: Shape 13">
                <a:extLst>
                  <a:ext uri="{FF2B5EF4-FFF2-40B4-BE49-F238E27FC236}">
                    <a16:creationId xmlns:a16="http://schemas.microsoft.com/office/drawing/2014/main" id="{0FE1627B-CF55-9DAE-84D8-FC082B4298B9}"/>
                  </a:ext>
                </a:extLst>
              </p:cNvPr>
              <p:cNvSpPr/>
              <p:nvPr/>
            </p:nvSpPr>
            <p:spPr>
              <a:xfrm>
                <a:off x="5557672" y="2739086"/>
                <a:ext cx="214153" cy="312925"/>
              </a:xfrm>
              <a:custGeom>
                <a:avLst/>
                <a:gdLst>
                  <a:gd name="connsiteX0" fmla="*/ 82779 w 214153"/>
                  <a:gd name="connsiteY0" fmla="*/ 88 h 312925"/>
                  <a:gd name="connsiteX1" fmla="*/ 214153 w 214153"/>
                  <a:gd name="connsiteY1" fmla="*/ 88 h 312925"/>
                  <a:gd name="connsiteX2" fmla="*/ 214153 w 214153"/>
                  <a:gd name="connsiteY2" fmla="*/ 51935 h 312925"/>
                  <a:gd name="connsiteX3" fmla="*/ 88403 w 214153"/>
                  <a:gd name="connsiteY3" fmla="*/ 51935 h 312925"/>
                  <a:gd name="connsiteX4" fmla="*/ 60810 w 214153"/>
                  <a:gd name="connsiteY4" fmla="*/ 79528 h 312925"/>
                  <a:gd name="connsiteX5" fmla="*/ 60810 w 214153"/>
                  <a:gd name="connsiteY5" fmla="*/ 130583 h 312925"/>
                  <a:gd name="connsiteX6" fmla="*/ 214153 w 214153"/>
                  <a:gd name="connsiteY6" fmla="*/ 130583 h 312925"/>
                  <a:gd name="connsiteX7" fmla="*/ 214153 w 214153"/>
                  <a:gd name="connsiteY7" fmla="*/ 182430 h 312925"/>
                  <a:gd name="connsiteX8" fmla="*/ 60810 w 214153"/>
                  <a:gd name="connsiteY8" fmla="*/ 182430 h 312925"/>
                  <a:gd name="connsiteX9" fmla="*/ 60810 w 214153"/>
                  <a:gd name="connsiteY9" fmla="*/ 233486 h 312925"/>
                  <a:gd name="connsiteX10" fmla="*/ 88403 w 214153"/>
                  <a:gd name="connsiteY10" fmla="*/ 261079 h 312925"/>
                  <a:gd name="connsiteX11" fmla="*/ 214153 w 214153"/>
                  <a:gd name="connsiteY11" fmla="*/ 261079 h 312925"/>
                  <a:gd name="connsiteX12" fmla="*/ 214153 w 214153"/>
                  <a:gd name="connsiteY12" fmla="*/ 312926 h 312925"/>
                  <a:gd name="connsiteX13" fmla="*/ 82779 w 214153"/>
                  <a:gd name="connsiteY13" fmla="*/ 312926 h 312925"/>
                  <a:gd name="connsiteX14" fmla="*/ 0 w 214153"/>
                  <a:gd name="connsiteY14" fmla="*/ 230147 h 312925"/>
                  <a:gd name="connsiteX15" fmla="*/ 0 w 214153"/>
                  <a:gd name="connsiteY15" fmla="*/ 82779 h 312925"/>
                  <a:gd name="connsiteX16" fmla="*/ 82779 w 214153"/>
                  <a:gd name="connsiteY16"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4153" h="312925">
                    <a:moveTo>
                      <a:pt x="82779" y="88"/>
                    </a:moveTo>
                    <a:lnTo>
                      <a:pt x="214153" y="88"/>
                    </a:lnTo>
                    <a:lnTo>
                      <a:pt x="214153" y="51935"/>
                    </a:lnTo>
                    <a:lnTo>
                      <a:pt x="88403" y="51935"/>
                    </a:lnTo>
                    <a:cubicBezTo>
                      <a:pt x="73201" y="51935"/>
                      <a:pt x="60810" y="64325"/>
                      <a:pt x="60810" y="79528"/>
                    </a:cubicBezTo>
                    <a:lnTo>
                      <a:pt x="60810" y="130583"/>
                    </a:lnTo>
                    <a:lnTo>
                      <a:pt x="214153" y="130583"/>
                    </a:lnTo>
                    <a:lnTo>
                      <a:pt x="214153" y="182430"/>
                    </a:lnTo>
                    <a:lnTo>
                      <a:pt x="60810" y="182430"/>
                    </a:lnTo>
                    <a:lnTo>
                      <a:pt x="60810" y="233486"/>
                    </a:lnTo>
                    <a:cubicBezTo>
                      <a:pt x="60810" y="248689"/>
                      <a:pt x="73201" y="261079"/>
                      <a:pt x="88403" y="261079"/>
                    </a:cubicBezTo>
                    <a:lnTo>
                      <a:pt x="214153" y="261079"/>
                    </a:lnTo>
                    <a:lnTo>
                      <a:pt x="214153" y="312926"/>
                    </a:lnTo>
                    <a:lnTo>
                      <a:pt x="82779" y="312926"/>
                    </a:lnTo>
                    <a:cubicBezTo>
                      <a:pt x="37084" y="312926"/>
                      <a:pt x="0" y="275842"/>
                      <a:pt x="0" y="230147"/>
                    </a:cubicBezTo>
                    <a:lnTo>
                      <a:pt x="0" y="82779"/>
                    </a:lnTo>
                    <a:cubicBezTo>
                      <a:pt x="0" y="37084"/>
                      <a:pt x="37084" y="0"/>
                      <a:pt x="82779" y="0"/>
                    </a:cubicBezTo>
                    <a:close/>
                  </a:path>
                </a:pathLst>
              </a:custGeom>
              <a:solidFill>
                <a:srgbClr val="022E33"/>
              </a:solidFill>
              <a:ln w="8786" cap="flat">
                <a:noFill/>
                <a:prstDash val="solid"/>
                <a:miter/>
              </a:ln>
            </p:spPr>
            <p:txBody>
              <a:bodyPr rtlCol="0" anchor="ctr"/>
              <a:lstStyle/>
              <a:p>
                <a:endParaRPr lang="en-US"/>
              </a:p>
            </p:txBody>
          </p:sp>
          <p:sp>
            <p:nvSpPr>
              <p:cNvPr id="51" name="Freeform: Shape 14">
                <a:extLst>
                  <a:ext uri="{FF2B5EF4-FFF2-40B4-BE49-F238E27FC236}">
                    <a16:creationId xmlns:a16="http://schemas.microsoft.com/office/drawing/2014/main" id="{6A025B30-54B0-668D-6030-836D4770EF40}"/>
                  </a:ext>
                </a:extLst>
              </p:cNvPr>
              <p:cNvSpPr/>
              <p:nvPr/>
            </p:nvSpPr>
            <p:spPr>
              <a:xfrm>
                <a:off x="5824287" y="2739174"/>
                <a:ext cx="207914" cy="312925"/>
              </a:xfrm>
              <a:custGeom>
                <a:avLst/>
                <a:gdLst>
                  <a:gd name="connsiteX0" fmla="*/ 0 w 207914"/>
                  <a:gd name="connsiteY0" fmla="*/ 0 h 312925"/>
                  <a:gd name="connsiteX1" fmla="*/ 60810 w 207914"/>
                  <a:gd name="connsiteY1" fmla="*/ 0 h 312925"/>
                  <a:gd name="connsiteX2" fmla="*/ 60810 w 207914"/>
                  <a:gd name="connsiteY2" fmla="*/ 233486 h 312925"/>
                  <a:gd name="connsiteX3" fmla="*/ 88403 w 207914"/>
                  <a:gd name="connsiteY3" fmla="*/ 261079 h 312925"/>
                  <a:gd name="connsiteX4" fmla="*/ 207914 w 207914"/>
                  <a:gd name="connsiteY4" fmla="*/ 261079 h 312925"/>
                  <a:gd name="connsiteX5" fmla="*/ 207914 w 207914"/>
                  <a:gd name="connsiteY5" fmla="*/ 312926 h 312925"/>
                  <a:gd name="connsiteX6" fmla="*/ 82867 w 207914"/>
                  <a:gd name="connsiteY6" fmla="*/ 312926 h 312925"/>
                  <a:gd name="connsiteX7" fmla="*/ 88 w 207914"/>
                  <a:gd name="connsiteY7" fmla="*/ 230147 h 312925"/>
                  <a:gd name="connsiteX8" fmla="*/ 88 w 207914"/>
                  <a:gd name="connsiteY8"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914" h="312925">
                    <a:moveTo>
                      <a:pt x="0" y="0"/>
                    </a:moveTo>
                    <a:lnTo>
                      <a:pt x="60810" y="0"/>
                    </a:lnTo>
                    <a:lnTo>
                      <a:pt x="60810" y="233486"/>
                    </a:lnTo>
                    <a:cubicBezTo>
                      <a:pt x="60810" y="248689"/>
                      <a:pt x="73201" y="261079"/>
                      <a:pt x="88403" y="261079"/>
                    </a:cubicBezTo>
                    <a:lnTo>
                      <a:pt x="207914" y="261079"/>
                    </a:lnTo>
                    <a:lnTo>
                      <a:pt x="207914" y="312926"/>
                    </a:lnTo>
                    <a:lnTo>
                      <a:pt x="82867" y="312926"/>
                    </a:lnTo>
                    <a:cubicBezTo>
                      <a:pt x="37172" y="312926"/>
                      <a:pt x="88" y="275842"/>
                      <a:pt x="88" y="230147"/>
                    </a:cubicBezTo>
                    <a:lnTo>
                      <a:pt x="88" y="0"/>
                    </a:lnTo>
                    <a:close/>
                  </a:path>
                </a:pathLst>
              </a:custGeom>
              <a:solidFill>
                <a:srgbClr val="022E33"/>
              </a:solidFill>
              <a:ln w="8786" cap="flat">
                <a:noFill/>
                <a:prstDash val="solid"/>
                <a:miter/>
              </a:ln>
            </p:spPr>
            <p:txBody>
              <a:bodyPr rtlCol="0" anchor="ctr"/>
              <a:lstStyle/>
              <a:p>
                <a:endParaRPr lang="en-US"/>
              </a:p>
            </p:txBody>
          </p:sp>
          <p:sp>
            <p:nvSpPr>
              <p:cNvPr id="52" name="Freeform: Shape 15">
                <a:extLst>
                  <a:ext uri="{FF2B5EF4-FFF2-40B4-BE49-F238E27FC236}">
                    <a16:creationId xmlns:a16="http://schemas.microsoft.com/office/drawing/2014/main" id="{DFFD6B4A-FE26-ECB9-7C39-52E97F688E9E}"/>
                  </a:ext>
                </a:extLst>
              </p:cNvPr>
              <p:cNvSpPr/>
              <p:nvPr/>
            </p:nvSpPr>
            <p:spPr>
              <a:xfrm>
                <a:off x="4957744" y="2739174"/>
                <a:ext cx="261518" cy="312925"/>
              </a:xfrm>
              <a:custGeom>
                <a:avLst/>
                <a:gdLst>
                  <a:gd name="connsiteX0" fmla="*/ 261518 w 261518"/>
                  <a:gd name="connsiteY0" fmla="*/ 82779 h 312925"/>
                  <a:gd name="connsiteX1" fmla="*/ 261518 w 261518"/>
                  <a:gd name="connsiteY1" fmla="*/ 312926 h 312925"/>
                  <a:gd name="connsiteX2" fmla="*/ 200708 w 261518"/>
                  <a:gd name="connsiteY2" fmla="*/ 312926 h 312925"/>
                  <a:gd name="connsiteX3" fmla="*/ 200708 w 261518"/>
                  <a:gd name="connsiteY3" fmla="*/ 79440 h 312925"/>
                  <a:gd name="connsiteX4" fmla="*/ 173115 w 261518"/>
                  <a:gd name="connsiteY4" fmla="*/ 51847 h 312925"/>
                  <a:gd name="connsiteX5" fmla="*/ 60810 w 261518"/>
                  <a:gd name="connsiteY5" fmla="*/ 51847 h 312925"/>
                  <a:gd name="connsiteX6" fmla="*/ 60810 w 261518"/>
                  <a:gd name="connsiteY6" fmla="*/ 312838 h 312925"/>
                  <a:gd name="connsiteX7" fmla="*/ 0 w 261518"/>
                  <a:gd name="connsiteY7" fmla="*/ 312838 h 312925"/>
                  <a:gd name="connsiteX8" fmla="*/ 0 w 261518"/>
                  <a:gd name="connsiteY8" fmla="*/ 0 h 312925"/>
                  <a:gd name="connsiteX9" fmla="*/ 178739 w 261518"/>
                  <a:gd name="connsiteY9" fmla="*/ 0 h 312925"/>
                  <a:gd name="connsiteX10" fmla="*/ 261518 w 261518"/>
                  <a:gd name="connsiteY10" fmla="*/ 82779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1518" h="312925">
                    <a:moveTo>
                      <a:pt x="261518" y="82779"/>
                    </a:moveTo>
                    <a:lnTo>
                      <a:pt x="261518" y="312926"/>
                    </a:lnTo>
                    <a:lnTo>
                      <a:pt x="200708" y="312926"/>
                    </a:lnTo>
                    <a:lnTo>
                      <a:pt x="200708" y="79440"/>
                    </a:lnTo>
                    <a:cubicBezTo>
                      <a:pt x="200708" y="64237"/>
                      <a:pt x="188318" y="51847"/>
                      <a:pt x="173115" y="51847"/>
                    </a:cubicBezTo>
                    <a:lnTo>
                      <a:pt x="60810" y="51847"/>
                    </a:lnTo>
                    <a:lnTo>
                      <a:pt x="60810" y="312838"/>
                    </a:lnTo>
                    <a:lnTo>
                      <a:pt x="0" y="312838"/>
                    </a:lnTo>
                    <a:lnTo>
                      <a:pt x="0" y="0"/>
                    </a:lnTo>
                    <a:lnTo>
                      <a:pt x="178739" y="0"/>
                    </a:lnTo>
                    <a:cubicBezTo>
                      <a:pt x="224435" y="0"/>
                      <a:pt x="261518" y="37084"/>
                      <a:pt x="261518" y="82779"/>
                    </a:cubicBezTo>
                    <a:close/>
                  </a:path>
                </a:pathLst>
              </a:custGeom>
              <a:solidFill>
                <a:srgbClr val="022E33"/>
              </a:solidFill>
              <a:ln w="8786" cap="flat">
                <a:noFill/>
                <a:prstDash val="solid"/>
                <a:miter/>
              </a:ln>
            </p:spPr>
            <p:txBody>
              <a:bodyPr rtlCol="0" anchor="ctr"/>
              <a:lstStyle/>
              <a:p>
                <a:endParaRPr lang="en-US"/>
              </a:p>
            </p:txBody>
          </p:sp>
          <p:sp>
            <p:nvSpPr>
              <p:cNvPr id="53" name="Freeform: Shape 16">
                <a:extLst>
                  <a:ext uri="{FF2B5EF4-FFF2-40B4-BE49-F238E27FC236}">
                    <a16:creationId xmlns:a16="http://schemas.microsoft.com/office/drawing/2014/main" id="{9BFC74D3-CB24-7BF9-4927-07DCD6EAD89E}"/>
                  </a:ext>
                </a:extLst>
              </p:cNvPr>
              <p:cNvSpPr/>
              <p:nvPr/>
            </p:nvSpPr>
            <p:spPr>
              <a:xfrm>
                <a:off x="4163698" y="2739174"/>
                <a:ext cx="379096" cy="312925"/>
              </a:xfrm>
              <a:custGeom>
                <a:avLst/>
                <a:gdLst>
                  <a:gd name="connsiteX0" fmla="*/ 296317 w 379096"/>
                  <a:gd name="connsiteY0" fmla="*/ 0 h 312925"/>
                  <a:gd name="connsiteX1" fmla="*/ 379096 w 379096"/>
                  <a:gd name="connsiteY1" fmla="*/ 82779 h 312925"/>
                  <a:gd name="connsiteX2" fmla="*/ 379096 w 379096"/>
                  <a:gd name="connsiteY2" fmla="*/ 312926 h 312925"/>
                  <a:gd name="connsiteX3" fmla="*/ 318286 w 379096"/>
                  <a:gd name="connsiteY3" fmla="*/ 312926 h 312925"/>
                  <a:gd name="connsiteX4" fmla="*/ 318286 w 379096"/>
                  <a:gd name="connsiteY4" fmla="*/ 79440 h 312925"/>
                  <a:gd name="connsiteX5" fmla="*/ 290693 w 379096"/>
                  <a:gd name="connsiteY5" fmla="*/ 51847 h 312925"/>
                  <a:gd name="connsiteX6" fmla="*/ 219953 w 379096"/>
                  <a:gd name="connsiteY6" fmla="*/ 51847 h 312925"/>
                  <a:gd name="connsiteX7" fmla="*/ 219953 w 379096"/>
                  <a:gd name="connsiteY7" fmla="*/ 312838 h 312925"/>
                  <a:gd name="connsiteX8" fmla="*/ 159143 w 379096"/>
                  <a:gd name="connsiteY8" fmla="*/ 312838 h 312925"/>
                  <a:gd name="connsiteX9" fmla="*/ 159143 w 379096"/>
                  <a:gd name="connsiteY9" fmla="*/ 51847 h 312925"/>
                  <a:gd name="connsiteX10" fmla="*/ 88403 w 379096"/>
                  <a:gd name="connsiteY10" fmla="*/ 51847 h 312925"/>
                  <a:gd name="connsiteX11" fmla="*/ 60810 w 379096"/>
                  <a:gd name="connsiteY11" fmla="*/ 79440 h 312925"/>
                  <a:gd name="connsiteX12" fmla="*/ 60810 w 379096"/>
                  <a:gd name="connsiteY12" fmla="*/ 312926 h 312925"/>
                  <a:gd name="connsiteX13" fmla="*/ 0 w 379096"/>
                  <a:gd name="connsiteY13" fmla="*/ 312926 h 312925"/>
                  <a:gd name="connsiteX14" fmla="*/ 0 w 379096"/>
                  <a:gd name="connsiteY14" fmla="*/ 82779 h 312925"/>
                  <a:gd name="connsiteX15" fmla="*/ 82779 w 379096"/>
                  <a:gd name="connsiteY15" fmla="*/ 0 h 312925"/>
                  <a:gd name="connsiteX16" fmla="*/ 296317 w 379096"/>
                  <a:gd name="connsiteY16"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9096" h="312925">
                    <a:moveTo>
                      <a:pt x="296317" y="0"/>
                    </a:moveTo>
                    <a:cubicBezTo>
                      <a:pt x="342013" y="0"/>
                      <a:pt x="379096" y="37084"/>
                      <a:pt x="379096" y="82779"/>
                    </a:cubicBezTo>
                    <a:lnTo>
                      <a:pt x="379096" y="312926"/>
                    </a:lnTo>
                    <a:lnTo>
                      <a:pt x="318286" y="312926"/>
                    </a:lnTo>
                    <a:lnTo>
                      <a:pt x="318286" y="79440"/>
                    </a:lnTo>
                    <a:cubicBezTo>
                      <a:pt x="318286" y="64237"/>
                      <a:pt x="305896" y="51847"/>
                      <a:pt x="290693" y="51847"/>
                    </a:cubicBezTo>
                    <a:lnTo>
                      <a:pt x="219953" y="51847"/>
                    </a:lnTo>
                    <a:lnTo>
                      <a:pt x="219953" y="312838"/>
                    </a:lnTo>
                    <a:lnTo>
                      <a:pt x="159143" y="312838"/>
                    </a:lnTo>
                    <a:lnTo>
                      <a:pt x="159143" y="51847"/>
                    </a:lnTo>
                    <a:lnTo>
                      <a:pt x="88403" y="51847"/>
                    </a:lnTo>
                    <a:cubicBezTo>
                      <a:pt x="73201" y="51847"/>
                      <a:pt x="60810" y="64237"/>
                      <a:pt x="60810" y="79440"/>
                    </a:cubicBezTo>
                    <a:lnTo>
                      <a:pt x="60810" y="312926"/>
                    </a:lnTo>
                    <a:lnTo>
                      <a:pt x="0" y="312926"/>
                    </a:lnTo>
                    <a:lnTo>
                      <a:pt x="0" y="82779"/>
                    </a:lnTo>
                    <a:cubicBezTo>
                      <a:pt x="0" y="37084"/>
                      <a:pt x="37084" y="0"/>
                      <a:pt x="82779" y="0"/>
                    </a:cubicBezTo>
                    <a:lnTo>
                      <a:pt x="296317" y="0"/>
                    </a:lnTo>
                    <a:close/>
                  </a:path>
                </a:pathLst>
              </a:custGeom>
              <a:solidFill>
                <a:srgbClr val="022E33"/>
              </a:solidFill>
              <a:ln w="8786" cap="flat">
                <a:noFill/>
                <a:prstDash val="solid"/>
                <a:miter/>
              </a:ln>
            </p:spPr>
            <p:txBody>
              <a:bodyPr rtlCol="0" anchor="ctr"/>
              <a:lstStyle/>
              <a:p>
                <a:endParaRPr lang="en-US"/>
              </a:p>
            </p:txBody>
          </p:sp>
          <p:sp>
            <p:nvSpPr>
              <p:cNvPr id="54" name="Freeform: Shape 17">
                <a:extLst>
                  <a:ext uri="{FF2B5EF4-FFF2-40B4-BE49-F238E27FC236}">
                    <a16:creationId xmlns:a16="http://schemas.microsoft.com/office/drawing/2014/main" id="{2529D964-BAAC-0E0D-04C5-8E72325D74C9}"/>
                  </a:ext>
                </a:extLst>
              </p:cNvPr>
              <p:cNvSpPr/>
              <p:nvPr/>
            </p:nvSpPr>
            <p:spPr>
              <a:xfrm>
                <a:off x="4590423" y="2735659"/>
                <a:ext cx="320043" cy="320043"/>
              </a:xfrm>
              <a:custGeom>
                <a:avLst/>
                <a:gdLst>
                  <a:gd name="connsiteX0" fmla="*/ 160022 w 320043"/>
                  <a:gd name="connsiteY0" fmla="*/ 58877 h 320043"/>
                  <a:gd name="connsiteX1" fmla="*/ 261167 w 320043"/>
                  <a:gd name="connsiteY1" fmla="*/ 160022 h 320043"/>
                  <a:gd name="connsiteX2" fmla="*/ 160022 w 320043"/>
                  <a:gd name="connsiteY2" fmla="*/ 261167 h 320043"/>
                  <a:gd name="connsiteX3" fmla="*/ 58877 w 320043"/>
                  <a:gd name="connsiteY3" fmla="*/ 160022 h 320043"/>
                  <a:gd name="connsiteX4" fmla="*/ 160022 w 320043"/>
                  <a:gd name="connsiteY4" fmla="*/ 58877 h 320043"/>
                  <a:gd name="connsiteX5" fmla="*/ 160022 w 320043"/>
                  <a:gd name="connsiteY5" fmla="*/ 0 h 320043"/>
                  <a:gd name="connsiteX6" fmla="*/ 0 w 320043"/>
                  <a:gd name="connsiteY6" fmla="*/ 160022 h 320043"/>
                  <a:gd name="connsiteX7" fmla="*/ 160022 w 320043"/>
                  <a:gd name="connsiteY7" fmla="*/ 320044 h 320043"/>
                  <a:gd name="connsiteX8" fmla="*/ 320044 w 320043"/>
                  <a:gd name="connsiteY8" fmla="*/ 160022 h 320043"/>
                  <a:gd name="connsiteX9" fmla="*/ 160022 w 320043"/>
                  <a:gd name="connsiteY9" fmla="*/ 0 h 320043"/>
                  <a:gd name="connsiteX10" fmla="*/ 160022 w 320043"/>
                  <a:gd name="connsiteY10" fmla="*/ 0 h 32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043" h="320043">
                    <a:moveTo>
                      <a:pt x="160022" y="58877"/>
                    </a:moveTo>
                    <a:cubicBezTo>
                      <a:pt x="215823" y="58877"/>
                      <a:pt x="261167" y="104221"/>
                      <a:pt x="261167" y="160022"/>
                    </a:cubicBezTo>
                    <a:cubicBezTo>
                      <a:pt x="261167" y="215823"/>
                      <a:pt x="215823" y="261167"/>
                      <a:pt x="160022" y="261167"/>
                    </a:cubicBezTo>
                    <a:cubicBezTo>
                      <a:pt x="104221" y="261167"/>
                      <a:pt x="58877" y="215823"/>
                      <a:pt x="58877" y="160022"/>
                    </a:cubicBezTo>
                    <a:cubicBezTo>
                      <a:pt x="58877" y="104221"/>
                      <a:pt x="104221" y="58877"/>
                      <a:pt x="160022" y="58877"/>
                    </a:cubicBezTo>
                    <a:moveTo>
                      <a:pt x="160022" y="0"/>
                    </a:moveTo>
                    <a:cubicBezTo>
                      <a:pt x="71619" y="0"/>
                      <a:pt x="0" y="71619"/>
                      <a:pt x="0" y="160022"/>
                    </a:cubicBezTo>
                    <a:cubicBezTo>
                      <a:pt x="0" y="248425"/>
                      <a:pt x="71619" y="320044"/>
                      <a:pt x="160022" y="320044"/>
                    </a:cubicBezTo>
                    <a:cubicBezTo>
                      <a:pt x="248425" y="320044"/>
                      <a:pt x="320044" y="248425"/>
                      <a:pt x="320044" y="160022"/>
                    </a:cubicBezTo>
                    <a:cubicBezTo>
                      <a:pt x="320044" y="71619"/>
                      <a:pt x="248425" y="0"/>
                      <a:pt x="160022" y="0"/>
                    </a:cubicBezTo>
                    <a:lnTo>
                      <a:pt x="160022" y="0"/>
                    </a:lnTo>
                    <a:close/>
                  </a:path>
                </a:pathLst>
              </a:custGeom>
              <a:solidFill>
                <a:srgbClr val="022E33"/>
              </a:solidFill>
              <a:ln w="8786" cap="flat">
                <a:noFill/>
                <a:prstDash val="solid"/>
                <a:miter/>
              </a:ln>
            </p:spPr>
            <p:txBody>
              <a:bodyPr rtlCol="0" anchor="ctr"/>
              <a:lstStyle/>
              <a:p>
                <a:endParaRPr lang="en-US"/>
              </a:p>
            </p:txBody>
          </p:sp>
        </p:grpSp>
        <p:grpSp>
          <p:nvGrpSpPr>
            <p:cNvPr id="37" name="Graphic 3">
              <a:extLst>
                <a:ext uri="{FF2B5EF4-FFF2-40B4-BE49-F238E27FC236}">
                  <a16:creationId xmlns:a16="http://schemas.microsoft.com/office/drawing/2014/main" id="{094A31DC-6FA0-C3A0-1CA0-0A0D548086CD}"/>
                </a:ext>
              </a:extLst>
            </p:cNvPr>
            <p:cNvGrpSpPr/>
            <p:nvPr/>
          </p:nvGrpSpPr>
          <p:grpSpPr>
            <a:xfrm>
              <a:off x="4163698" y="3206410"/>
              <a:ext cx="6291898" cy="1054861"/>
              <a:chOff x="4163698" y="3206410"/>
              <a:chExt cx="6291898" cy="1054861"/>
            </a:xfrm>
            <a:solidFill>
              <a:srgbClr val="022E33"/>
            </a:solidFill>
          </p:grpSpPr>
          <p:sp>
            <p:nvSpPr>
              <p:cNvPr id="38" name="Freeform: Shape 19">
                <a:extLst>
                  <a:ext uri="{FF2B5EF4-FFF2-40B4-BE49-F238E27FC236}">
                    <a16:creationId xmlns:a16="http://schemas.microsoft.com/office/drawing/2014/main" id="{20BA13C6-65EB-305A-14FD-7B48335EE02B}"/>
                  </a:ext>
                </a:extLst>
              </p:cNvPr>
              <p:cNvSpPr/>
              <p:nvPr/>
            </p:nvSpPr>
            <p:spPr>
              <a:xfrm>
                <a:off x="4163698" y="3215812"/>
                <a:ext cx="848616" cy="829635"/>
              </a:xfrm>
              <a:custGeom>
                <a:avLst/>
                <a:gdLst>
                  <a:gd name="connsiteX0" fmla="*/ 0 w 848616"/>
                  <a:gd name="connsiteY0" fmla="*/ 88 h 829635"/>
                  <a:gd name="connsiteX1" fmla="*/ 118545 w 848616"/>
                  <a:gd name="connsiteY1" fmla="*/ 88 h 829635"/>
                  <a:gd name="connsiteX2" fmla="*/ 360291 w 848616"/>
                  <a:gd name="connsiteY2" fmla="*/ 573741 h 829635"/>
                  <a:gd name="connsiteX3" fmla="*/ 425495 w 848616"/>
                  <a:gd name="connsiteY3" fmla="*/ 762147 h 829635"/>
                  <a:gd name="connsiteX4" fmla="*/ 485953 w 848616"/>
                  <a:gd name="connsiteY4" fmla="*/ 583144 h 829635"/>
                  <a:gd name="connsiteX5" fmla="*/ 732445 w 848616"/>
                  <a:gd name="connsiteY5" fmla="*/ 0 h 829635"/>
                  <a:gd name="connsiteX6" fmla="*/ 848617 w 848616"/>
                  <a:gd name="connsiteY6" fmla="*/ 0 h 829635"/>
                  <a:gd name="connsiteX7" fmla="*/ 848617 w 848616"/>
                  <a:gd name="connsiteY7" fmla="*/ 829636 h 829635"/>
                  <a:gd name="connsiteX8" fmla="*/ 768035 w 848616"/>
                  <a:gd name="connsiteY8" fmla="*/ 829636 h 829635"/>
                  <a:gd name="connsiteX9" fmla="*/ 768035 w 848616"/>
                  <a:gd name="connsiteY9" fmla="*/ 271448 h 829635"/>
                  <a:gd name="connsiteX10" fmla="*/ 775153 w 848616"/>
                  <a:gd name="connsiteY10" fmla="*/ 69949 h 829635"/>
                  <a:gd name="connsiteX11" fmla="*/ 707576 w 848616"/>
                  <a:gd name="connsiteY11" fmla="*/ 250095 h 829635"/>
                  <a:gd name="connsiteX12" fmla="*/ 463457 w 848616"/>
                  <a:gd name="connsiteY12" fmla="*/ 829636 h 829635"/>
                  <a:gd name="connsiteX13" fmla="*/ 386390 w 848616"/>
                  <a:gd name="connsiteY13" fmla="*/ 829636 h 829635"/>
                  <a:gd name="connsiteX14" fmla="*/ 144644 w 848616"/>
                  <a:gd name="connsiteY14" fmla="*/ 258355 h 829635"/>
                  <a:gd name="connsiteX15" fmla="*/ 72322 w 848616"/>
                  <a:gd name="connsiteY15" fmla="*/ 71092 h 829635"/>
                  <a:gd name="connsiteX16" fmla="*/ 79440 w 848616"/>
                  <a:gd name="connsiteY16" fmla="*/ 263100 h 829635"/>
                  <a:gd name="connsiteX17" fmla="*/ 79440 w 848616"/>
                  <a:gd name="connsiteY17" fmla="*/ 829636 h 829635"/>
                  <a:gd name="connsiteX18" fmla="*/ 0 w 848616"/>
                  <a:gd name="connsiteY18" fmla="*/ 829636 h 829635"/>
                  <a:gd name="connsiteX19" fmla="*/ 0 w 848616"/>
                  <a:gd name="connsiteY19" fmla="*/ 88 h 82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8616" h="829635">
                    <a:moveTo>
                      <a:pt x="0" y="88"/>
                    </a:moveTo>
                    <a:lnTo>
                      <a:pt x="118545" y="88"/>
                    </a:lnTo>
                    <a:lnTo>
                      <a:pt x="360291" y="573741"/>
                    </a:lnTo>
                    <a:cubicBezTo>
                      <a:pt x="410029" y="689913"/>
                      <a:pt x="425495" y="762147"/>
                      <a:pt x="425495" y="762147"/>
                    </a:cubicBezTo>
                    <a:cubicBezTo>
                      <a:pt x="425495" y="762147"/>
                      <a:pt x="440873" y="689825"/>
                      <a:pt x="485953" y="583144"/>
                    </a:cubicBezTo>
                    <a:lnTo>
                      <a:pt x="732445" y="0"/>
                    </a:lnTo>
                    <a:lnTo>
                      <a:pt x="848617" y="0"/>
                    </a:lnTo>
                    <a:lnTo>
                      <a:pt x="848617" y="829636"/>
                    </a:lnTo>
                    <a:lnTo>
                      <a:pt x="768035" y="829636"/>
                    </a:lnTo>
                    <a:lnTo>
                      <a:pt x="768035" y="271448"/>
                    </a:lnTo>
                    <a:cubicBezTo>
                      <a:pt x="768035" y="144644"/>
                      <a:pt x="775153" y="69949"/>
                      <a:pt x="775153" y="69949"/>
                    </a:cubicBezTo>
                    <a:cubicBezTo>
                      <a:pt x="775153" y="69949"/>
                      <a:pt x="752657" y="142271"/>
                      <a:pt x="707576" y="250095"/>
                    </a:cubicBezTo>
                    <a:lnTo>
                      <a:pt x="463457" y="829636"/>
                    </a:lnTo>
                    <a:lnTo>
                      <a:pt x="386390" y="829636"/>
                    </a:lnTo>
                    <a:lnTo>
                      <a:pt x="144644" y="258355"/>
                    </a:lnTo>
                    <a:cubicBezTo>
                      <a:pt x="94906" y="143413"/>
                      <a:pt x="72322" y="71092"/>
                      <a:pt x="72322" y="71092"/>
                    </a:cubicBezTo>
                    <a:cubicBezTo>
                      <a:pt x="72322" y="71092"/>
                      <a:pt x="79440" y="145786"/>
                      <a:pt x="79440" y="263100"/>
                    </a:cubicBezTo>
                    <a:lnTo>
                      <a:pt x="79440" y="829636"/>
                    </a:lnTo>
                    <a:lnTo>
                      <a:pt x="0" y="829636"/>
                    </a:lnTo>
                    <a:lnTo>
                      <a:pt x="0" y="88"/>
                    </a:lnTo>
                    <a:close/>
                  </a:path>
                </a:pathLst>
              </a:custGeom>
              <a:solidFill>
                <a:srgbClr val="022E33"/>
              </a:solidFill>
              <a:ln w="8786" cap="flat">
                <a:noFill/>
                <a:prstDash val="solid"/>
                <a:miter/>
              </a:ln>
            </p:spPr>
            <p:txBody>
              <a:bodyPr rtlCol="0" anchor="ctr"/>
              <a:lstStyle/>
              <a:p>
                <a:endParaRPr lang="en-US"/>
              </a:p>
            </p:txBody>
          </p:sp>
          <p:sp>
            <p:nvSpPr>
              <p:cNvPr id="39" name="Freeform: Shape 20">
                <a:extLst>
                  <a:ext uri="{FF2B5EF4-FFF2-40B4-BE49-F238E27FC236}">
                    <a16:creationId xmlns:a16="http://schemas.microsoft.com/office/drawing/2014/main" id="{D1C99EE7-45C9-478A-AE7B-B380D6889929}"/>
                  </a:ext>
                </a:extLst>
              </p:cNvPr>
              <p:cNvSpPr/>
              <p:nvPr/>
            </p:nvSpPr>
            <p:spPr>
              <a:xfrm>
                <a:off x="5148435" y="3438665"/>
                <a:ext cx="488325" cy="616361"/>
              </a:xfrm>
              <a:custGeom>
                <a:avLst/>
                <a:gdLst>
                  <a:gd name="connsiteX0" fmla="*/ 176 w 488325"/>
                  <a:gd name="connsiteY0" fmla="*/ 449221 h 616361"/>
                  <a:gd name="connsiteX1" fmla="*/ 278654 w 488325"/>
                  <a:gd name="connsiteY1" fmla="*/ 250095 h 616361"/>
                  <a:gd name="connsiteX2" fmla="*/ 413807 w 488325"/>
                  <a:gd name="connsiteY2" fmla="*/ 235859 h 616361"/>
                  <a:gd name="connsiteX3" fmla="*/ 413807 w 488325"/>
                  <a:gd name="connsiteY3" fmla="*/ 209760 h 616361"/>
                  <a:gd name="connsiteX4" fmla="*/ 251413 w 488325"/>
                  <a:gd name="connsiteY4" fmla="*/ 66346 h 616361"/>
                  <a:gd name="connsiteX5" fmla="*/ 81900 w 488325"/>
                  <a:gd name="connsiteY5" fmla="*/ 209760 h 616361"/>
                  <a:gd name="connsiteX6" fmla="*/ 4833 w 488325"/>
                  <a:gd name="connsiteY6" fmla="*/ 209760 h 616361"/>
                  <a:gd name="connsiteX7" fmla="*/ 251325 w 488325"/>
                  <a:gd name="connsiteY7" fmla="*/ 0 h 616361"/>
                  <a:gd name="connsiteX8" fmla="*/ 488326 w 488325"/>
                  <a:gd name="connsiteY8" fmla="*/ 215735 h 616361"/>
                  <a:gd name="connsiteX9" fmla="*/ 488326 w 488325"/>
                  <a:gd name="connsiteY9" fmla="*/ 606871 h 616361"/>
                  <a:gd name="connsiteX10" fmla="*/ 413631 w 488325"/>
                  <a:gd name="connsiteY10" fmla="*/ 606871 h 616361"/>
                  <a:gd name="connsiteX11" fmla="*/ 413631 w 488325"/>
                  <a:gd name="connsiteY11" fmla="*/ 483581 h 616361"/>
                  <a:gd name="connsiteX12" fmla="*/ 206245 w 488325"/>
                  <a:gd name="connsiteY12" fmla="*/ 616361 h 616361"/>
                  <a:gd name="connsiteX13" fmla="*/ 0 w 488325"/>
                  <a:gd name="connsiteY13" fmla="*/ 449221 h 616361"/>
                  <a:gd name="connsiteX14" fmla="*/ 211166 w 488325"/>
                  <a:gd name="connsiteY14" fmla="*/ 549927 h 616361"/>
                  <a:gd name="connsiteX15" fmla="*/ 413807 w 488325"/>
                  <a:gd name="connsiteY15" fmla="*/ 327162 h 616361"/>
                  <a:gd name="connsiteX16" fmla="*/ 413807 w 488325"/>
                  <a:gd name="connsiteY16" fmla="*/ 296317 h 616361"/>
                  <a:gd name="connsiteX17" fmla="*/ 283399 w 488325"/>
                  <a:gd name="connsiteY17" fmla="*/ 310553 h 616361"/>
                  <a:gd name="connsiteX18" fmla="*/ 76013 w 488325"/>
                  <a:gd name="connsiteY18" fmla="*/ 446849 h 616361"/>
                  <a:gd name="connsiteX19" fmla="*/ 211078 w 488325"/>
                  <a:gd name="connsiteY19" fmla="*/ 549927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8325" h="616361">
                    <a:moveTo>
                      <a:pt x="176" y="449221"/>
                    </a:moveTo>
                    <a:cubicBezTo>
                      <a:pt x="176" y="327162"/>
                      <a:pt x="84361" y="270218"/>
                      <a:pt x="278654" y="250095"/>
                    </a:cubicBezTo>
                    <a:lnTo>
                      <a:pt x="413807" y="235859"/>
                    </a:lnTo>
                    <a:lnTo>
                      <a:pt x="413807" y="209760"/>
                    </a:lnTo>
                    <a:cubicBezTo>
                      <a:pt x="413807" y="122060"/>
                      <a:pt x="347461" y="66346"/>
                      <a:pt x="251413" y="66346"/>
                    </a:cubicBezTo>
                    <a:cubicBezTo>
                      <a:pt x="155364" y="66346"/>
                      <a:pt x="94994" y="119687"/>
                      <a:pt x="81900" y="209760"/>
                    </a:cubicBezTo>
                    <a:lnTo>
                      <a:pt x="4833" y="209760"/>
                    </a:lnTo>
                    <a:cubicBezTo>
                      <a:pt x="21441" y="93588"/>
                      <a:pt x="111514" y="0"/>
                      <a:pt x="251325" y="0"/>
                    </a:cubicBezTo>
                    <a:cubicBezTo>
                      <a:pt x="391135" y="0"/>
                      <a:pt x="488326" y="84185"/>
                      <a:pt x="488326" y="215735"/>
                    </a:cubicBezTo>
                    <a:lnTo>
                      <a:pt x="488326" y="606871"/>
                    </a:lnTo>
                    <a:lnTo>
                      <a:pt x="413631" y="606871"/>
                    </a:lnTo>
                    <a:lnTo>
                      <a:pt x="413631" y="483581"/>
                    </a:lnTo>
                    <a:cubicBezTo>
                      <a:pt x="392277" y="558275"/>
                      <a:pt x="304577" y="616361"/>
                      <a:pt x="206245" y="616361"/>
                    </a:cubicBezTo>
                    <a:cubicBezTo>
                      <a:pt x="79440" y="616361"/>
                      <a:pt x="0" y="551157"/>
                      <a:pt x="0" y="449221"/>
                    </a:cubicBezTo>
                    <a:close/>
                    <a:moveTo>
                      <a:pt x="211166" y="549927"/>
                    </a:moveTo>
                    <a:cubicBezTo>
                      <a:pt x="332082" y="549927"/>
                      <a:pt x="413807" y="458712"/>
                      <a:pt x="413807" y="327162"/>
                    </a:cubicBezTo>
                    <a:lnTo>
                      <a:pt x="413807" y="296317"/>
                    </a:lnTo>
                    <a:lnTo>
                      <a:pt x="283399" y="310553"/>
                    </a:lnTo>
                    <a:cubicBezTo>
                      <a:pt x="137613" y="327162"/>
                      <a:pt x="76013" y="360379"/>
                      <a:pt x="76013" y="446849"/>
                    </a:cubicBezTo>
                    <a:cubicBezTo>
                      <a:pt x="76013" y="509680"/>
                      <a:pt x="128123" y="549927"/>
                      <a:pt x="211078" y="549927"/>
                    </a:cubicBezTo>
                    <a:close/>
                  </a:path>
                </a:pathLst>
              </a:custGeom>
              <a:solidFill>
                <a:srgbClr val="022E33"/>
              </a:solidFill>
              <a:ln w="8786" cap="flat">
                <a:noFill/>
                <a:prstDash val="solid"/>
                <a:miter/>
              </a:ln>
            </p:spPr>
            <p:txBody>
              <a:bodyPr rtlCol="0" anchor="ctr"/>
              <a:lstStyle/>
              <a:p>
                <a:endParaRPr lang="en-US"/>
              </a:p>
            </p:txBody>
          </p:sp>
          <p:sp>
            <p:nvSpPr>
              <p:cNvPr id="40" name="Freeform: Shape 21">
                <a:extLst>
                  <a:ext uri="{FF2B5EF4-FFF2-40B4-BE49-F238E27FC236}">
                    <a16:creationId xmlns:a16="http://schemas.microsoft.com/office/drawing/2014/main" id="{2CF7D10D-7D08-8A83-4705-FA9AE6670133}"/>
                  </a:ext>
                </a:extLst>
              </p:cNvPr>
              <p:cNvSpPr/>
              <p:nvPr/>
            </p:nvSpPr>
            <p:spPr>
              <a:xfrm>
                <a:off x="5792125" y="3438753"/>
                <a:ext cx="336652" cy="606782"/>
              </a:xfrm>
              <a:custGeom>
                <a:avLst/>
                <a:gdLst>
                  <a:gd name="connsiteX0" fmla="*/ 88 w 336652"/>
                  <a:gd name="connsiteY0" fmla="*/ 9491 h 606782"/>
                  <a:gd name="connsiteX1" fmla="*/ 74782 w 336652"/>
                  <a:gd name="connsiteY1" fmla="*/ 9491 h 606782"/>
                  <a:gd name="connsiteX2" fmla="*/ 74782 w 336652"/>
                  <a:gd name="connsiteY2" fmla="*/ 143413 h 606782"/>
                  <a:gd name="connsiteX3" fmla="*/ 265561 w 336652"/>
                  <a:gd name="connsiteY3" fmla="*/ 0 h 606782"/>
                  <a:gd name="connsiteX4" fmla="*/ 336652 w 336652"/>
                  <a:gd name="connsiteY4" fmla="*/ 14236 h 606782"/>
                  <a:gd name="connsiteX5" fmla="*/ 336652 w 336652"/>
                  <a:gd name="connsiteY5" fmla="*/ 85327 h 606782"/>
                  <a:gd name="connsiteX6" fmla="*/ 257212 w 336652"/>
                  <a:gd name="connsiteY6" fmla="*/ 69949 h 606782"/>
                  <a:gd name="connsiteX7" fmla="*/ 74694 w 336652"/>
                  <a:gd name="connsiteY7" fmla="*/ 367409 h 606782"/>
                  <a:gd name="connsiteX8" fmla="*/ 74694 w 336652"/>
                  <a:gd name="connsiteY8" fmla="*/ 606783 h 606782"/>
                  <a:gd name="connsiteX9" fmla="*/ 0 w 336652"/>
                  <a:gd name="connsiteY9" fmla="*/ 606783 h 606782"/>
                  <a:gd name="connsiteX10" fmla="*/ 0 w 336652"/>
                  <a:gd name="connsiteY10" fmla="*/ 9491 h 60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652" h="606782">
                    <a:moveTo>
                      <a:pt x="88" y="9491"/>
                    </a:moveTo>
                    <a:lnTo>
                      <a:pt x="74782" y="9491"/>
                    </a:lnTo>
                    <a:lnTo>
                      <a:pt x="74782" y="143413"/>
                    </a:lnTo>
                    <a:cubicBezTo>
                      <a:pt x="104396" y="55713"/>
                      <a:pt x="179091" y="0"/>
                      <a:pt x="265561" y="0"/>
                    </a:cubicBezTo>
                    <a:cubicBezTo>
                      <a:pt x="290429" y="0"/>
                      <a:pt x="317671" y="4745"/>
                      <a:pt x="336652" y="14236"/>
                    </a:cubicBezTo>
                    <a:lnTo>
                      <a:pt x="336652" y="85327"/>
                    </a:lnTo>
                    <a:cubicBezTo>
                      <a:pt x="305808" y="73464"/>
                      <a:pt x="279797" y="69949"/>
                      <a:pt x="257212" y="69949"/>
                    </a:cubicBezTo>
                    <a:cubicBezTo>
                      <a:pt x="150531" y="69949"/>
                      <a:pt x="74694" y="181376"/>
                      <a:pt x="74694" y="367409"/>
                    </a:cubicBezTo>
                    <a:lnTo>
                      <a:pt x="74694" y="606783"/>
                    </a:lnTo>
                    <a:lnTo>
                      <a:pt x="0" y="606783"/>
                    </a:lnTo>
                    <a:lnTo>
                      <a:pt x="0" y="9491"/>
                    </a:lnTo>
                    <a:close/>
                  </a:path>
                </a:pathLst>
              </a:custGeom>
              <a:solidFill>
                <a:srgbClr val="022E33"/>
              </a:solidFill>
              <a:ln w="8786" cap="flat">
                <a:noFill/>
                <a:prstDash val="solid"/>
                <a:miter/>
              </a:ln>
            </p:spPr>
            <p:txBody>
              <a:bodyPr rtlCol="0" anchor="ctr"/>
              <a:lstStyle/>
              <a:p>
                <a:endParaRPr lang="en-US"/>
              </a:p>
            </p:txBody>
          </p:sp>
          <p:sp>
            <p:nvSpPr>
              <p:cNvPr id="41" name="Freeform: Shape 22">
                <a:extLst>
                  <a:ext uri="{FF2B5EF4-FFF2-40B4-BE49-F238E27FC236}">
                    <a16:creationId xmlns:a16="http://schemas.microsoft.com/office/drawing/2014/main" id="{3E961C8F-080C-81C5-6A55-F1333502F4B8}"/>
                  </a:ext>
                </a:extLst>
              </p:cNvPr>
              <p:cNvSpPr/>
              <p:nvPr/>
            </p:nvSpPr>
            <p:spPr>
              <a:xfrm>
                <a:off x="6210590" y="3206410"/>
                <a:ext cx="508361" cy="839126"/>
              </a:xfrm>
              <a:custGeom>
                <a:avLst/>
                <a:gdLst>
                  <a:gd name="connsiteX0" fmla="*/ 167052 w 508361"/>
                  <a:gd name="connsiteY0" fmla="*/ 521543 h 839126"/>
                  <a:gd name="connsiteX1" fmla="*/ 75837 w 508361"/>
                  <a:gd name="connsiteY1" fmla="*/ 602125 h 839126"/>
                  <a:gd name="connsiteX2" fmla="*/ 75837 w 508361"/>
                  <a:gd name="connsiteY2" fmla="*/ 839126 h 839126"/>
                  <a:gd name="connsiteX3" fmla="*/ 0 w 508361"/>
                  <a:gd name="connsiteY3" fmla="*/ 839126 h 839126"/>
                  <a:gd name="connsiteX4" fmla="*/ 0 w 508361"/>
                  <a:gd name="connsiteY4" fmla="*/ 0 h 839126"/>
                  <a:gd name="connsiteX5" fmla="*/ 75837 w 508361"/>
                  <a:gd name="connsiteY5" fmla="*/ 0 h 839126"/>
                  <a:gd name="connsiteX6" fmla="*/ 75837 w 508361"/>
                  <a:gd name="connsiteY6" fmla="*/ 507219 h 839126"/>
                  <a:gd name="connsiteX7" fmla="*/ 382787 w 508361"/>
                  <a:gd name="connsiteY7" fmla="*/ 241746 h 839126"/>
                  <a:gd name="connsiteX8" fmla="*/ 485865 w 508361"/>
                  <a:gd name="connsiteY8" fmla="*/ 241746 h 839126"/>
                  <a:gd name="connsiteX9" fmla="*/ 223908 w 508361"/>
                  <a:gd name="connsiteY9" fmla="*/ 472860 h 839126"/>
                  <a:gd name="connsiteX10" fmla="*/ 508362 w 508361"/>
                  <a:gd name="connsiteY10" fmla="*/ 839038 h 839126"/>
                  <a:gd name="connsiteX11" fmla="*/ 417146 w 508361"/>
                  <a:gd name="connsiteY11" fmla="*/ 839038 h 839126"/>
                  <a:gd name="connsiteX12" fmla="*/ 167052 w 508361"/>
                  <a:gd name="connsiteY12" fmla="*/ 521455 h 83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361" h="839126">
                    <a:moveTo>
                      <a:pt x="167052" y="521543"/>
                    </a:moveTo>
                    <a:lnTo>
                      <a:pt x="75837" y="602125"/>
                    </a:lnTo>
                    <a:lnTo>
                      <a:pt x="75837" y="839126"/>
                    </a:lnTo>
                    <a:lnTo>
                      <a:pt x="0" y="839126"/>
                    </a:lnTo>
                    <a:lnTo>
                      <a:pt x="0" y="0"/>
                    </a:lnTo>
                    <a:lnTo>
                      <a:pt x="75837" y="0"/>
                    </a:lnTo>
                    <a:lnTo>
                      <a:pt x="75837" y="507219"/>
                    </a:lnTo>
                    <a:lnTo>
                      <a:pt x="382787" y="241746"/>
                    </a:lnTo>
                    <a:lnTo>
                      <a:pt x="485865" y="241746"/>
                    </a:lnTo>
                    <a:lnTo>
                      <a:pt x="223908" y="472860"/>
                    </a:lnTo>
                    <a:lnTo>
                      <a:pt x="508362" y="839038"/>
                    </a:lnTo>
                    <a:lnTo>
                      <a:pt x="417146" y="839038"/>
                    </a:lnTo>
                    <a:lnTo>
                      <a:pt x="167052" y="521455"/>
                    </a:lnTo>
                    <a:close/>
                  </a:path>
                </a:pathLst>
              </a:custGeom>
              <a:solidFill>
                <a:srgbClr val="022E33"/>
              </a:solidFill>
              <a:ln w="8786" cap="flat">
                <a:noFill/>
                <a:prstDash val="solid"/>
                <a:miter/>
              </a:ln>
            </p:spPr>
            <p:txBody>
              <a:bodyPr rtlCol="0" anchor="ctr"/>
              <a:lstStyle/>
              <a:p>
                <a:endParaRPr lang="en-US"/>
              </a:p>
            </p:txBody>
          </p:sp>
          <p:sp>
            <p:nvSpPr>
              <p:cNvPr id="42" name="Freeform: Shape 23">
                <a:extLst>
                  <a:ext uri="{FF2B5EF4-FFF2-40B4-BE49-F238E27FC236}">
                    <a16:creationId xmlns:a16="http://schemas.microsoft.com/office/drawing/2014/main" id="{F832C2DB-BEB8-2B67-8762-317E79D01D49}"/>
                  </a:ext>
                </a:extLst>
              </p:cNvPr>
              <p:cNvSpPr/>
              <p:nvPr/>
            </p:nvSpPr>
            <p:spPr>
              <a:xfrm>
                <a:off x="6716666" y="3438665"/>
                <a:ext cx="556771" cy="616361"/>
              </a:xfrm>
              <a:custGeom>
                <a:avLst/>
                <a:gdLst>
                  <a:gd name="connsiteX0" fmla="*/ 0 w 556771"/>
                  <a:gd name="connsiteY0" fmla="*/ 308181 h 616361"/>
                  <a:gd name="connsiteX1" fmla="*/ 287969 w 556771"/>
                  <a:gd name="connsiteY1" fmla="*/ 0 h 616361"/>
                  <a:gd name="connsiteX2" fmla="*/ 554672 w 556771"/>
                  <a:gd name="connsiteY2" fmla="*/ 308181 h 616361"/>
                  <a:gd name="connsiteX3" fmla="*/ 75837 w 556771"/>
                  <a:gd name="connsiteY3" fmla="*/ 308181 h 616361"/>
                  <a:gd name="connsiteX4" fmla="*/ 290341 w 556771"/>
                  <a:gd name="connsiteY4" fmla="*/ 549927 h 616361"/>
                  <a:gd name="connsiteX5" fmla="*/ 474002 w 556771"/>
                  <a:gd name="connsiteY5" fmla="*/ 419607 h 616361"/>
                  <a:gd name="connsiteX6" fmla="*/ 548697 w 556771"/>
                  <a:gd name="connsiteY6" fmla="*/ 419607 h 616361"/>
                  <a:gd name="connsiteX7" fmla="*/ 292714 w 556771"/>
                  <a:gd name="connsiteY7" fmla="*/ 616361 h 616361"/>
                  <a:gd name="connsiteX8" fmla="*/ 0 w 556771"/>
                  <a:gd name="connsiteY8" fmla="*/ 308181 h 616361"/>
                  <a:gd name="connsiteX9" fmla="*/ 478835 w 556771"/>
                  <a:gd name="connsiteY9" fmla="*/ 246580 h 616361"/>
                  <a:gd name="connsiteX10" fmla="*/ 288057 w 556771"/>
                  <a:gd name="connsiteY10" fmla="*/ 66434 h 616361"/>
                  <a:gd name="connsiteX11" fmla="*/ 81812 w 556771"/>
                  <a:gd name="connsiteY11" fmla="*/ 246580 h 616361"/>
                  <a:gd name="connsiteX12" fmla="*/ 478835 w 556771"/>
                  <a:gd name="connsiteY12" fmla="*/ 246580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771" h="616361">
                    <a:moveTo>
                      <a:pt x="0" y="308181"/>
                    </a:moveTo>
                    <a:cubicBezTo>
                      <a:pt x="0" y="128035"/>
                      <a:pt x="120917" y="0"/>
                      <a:pt x="287969" y="0"/>
                    </a:cubicBezTo>
                    <a:cubicBezTo>
                      <a:pt x="463369" y="0"/>
                      <a:pt x="573566" y="135153"/>
                      <a:pt x="554672" y="308181"/>
                    </a:cubicBezTo>
                    <a:lnTo>
                      <a:pt x="75837" y="308181"/>
                    </a:lnTo>
                    <a:cubicBezTo>
                      <a:pt x="74694" y="451594"/>
                      <a:pt x="161164" y="549927"/>
                      <a:pt x="290341" y="549927"/>
                    </a:cubicBezTo>
                    <a:cubicBezTo>
                      <a:pt x="392278" y="549927"/>
                      <a:pt x="453879" y="496586"/>
                      <a:pt x="474002" y="419607"/>
                    </a:cubicBezTo>
                    <a:lnTo>
                      <a:pt x="548697" y="419607"/>
                    </a:lnTo>
                    <a:cubicBezTo>
                      <a:pt x="528573" y="532176"/>
                      <a:pt x="430152" y="616361"/>
                      <a:pt x="292714" y="616361"/>
                    </a:cubicBezTo>
                    <a:cubicBezTo>
                      <a:pt x="122060" y="616361"/>
                      <a:pt x="0" y="488326"/>
                      <a:pt x="0" y="308181"/>
                    </a:cubicBezTo>
                    <a:close/>
                    <a:moveTo>
                      <a:pt x="478835" y="246580"/>
                    </a:moveTo>
                    <a:cubicBezTo>
                      <a:pt x="480066" y="137526"/>
                      <a:pt x="400626" y="66434"/>
                      <a:pt x="288057" y="66434"/>
                    </a:cubicBezTo>
                    <a:cubicBezTo>
                      <a:pt x="175488" y="66434"/>
                      <a:pt x="102024" y="132780"/>
                      <a:pt x="81812" y="246580"/>
                    </a:cubicBezTo>
                    <a:lnTo>
                      <a:pt x="478835" y="246580"/>
                    </a:lnTo>
                    <a:close/>
                  </a:path>
                </a:pathLst>
              </a:custGeom>
              <a:solidFill>
                <a:srgbClr val="022E33"/>
              </a:solidFill>
              <a:ln w="8786" cap="flat">
                <a:noFill/>
                <a:prstDash val="solid"/>
                <a:miter/>
              </a:ln>
            </p:spPr>
            <p:txBody>
              <a:bodyPr rtlCol="0" anchor="ctr"/>
              <a:lstStyle/>
              <a:p>
                <a:endParaRPr lang="en-US"/>
              </a:p>
            </p:txBody>
          </p:sp>
          <p:sp>
            <p:nvSpPr>
              <p:cNvPr id="43" name="Freeform: Shape 24">
                <a:extLst>
                  <a:ext uri="{FF2B5EF4-FFF2-40B4-BE49-F238E27FC236}">
                    <a16:creationId xmlns:a16="http://schemas.microsoft.com/office/drawing/2014/main" id="{433CBE50-CC15-D9FC-91B3-FF2871899414}"/>
                  </a:ext>
                </a:extLst>
              </p:cNvPr>
              <p:cNvSpPr/>
              <p:nvPr/>
            </p:nvSpPr>
            <p:spPr>
              <a:xfrm>
                <a:off x="7311586" y="3292879"/>
                <a:ext cx="337794" cy="762147"/>
              </a:xfrm>
              <a:custGeom>
                <a:avLst/>
                <a:gdLst>
                  <a:gd name="connsiteX0" fmla="*/ 104309 w 337794"/>
                  <a:gd name="connsiteY0" fmla="*/ 587889 h 762147"/>
                  <a:gd name="connsiteX1" fmla="*/ 104309 w 337794"/>
                  <a:gd name="connsiteY1" fmla="*/ 218108 h 762147"/>
                  <a:gd name="connsiteX2" fmla="*/ 0 w 337794"/>
                  <a:gd name="connsiteY2" fmla="*/ 218108 h 762147"/>
                  <a:gd name="connsiteX3" fmla="*/ 0 w 337794"/>
                  <a:gd name="connsiteY3" fmla="*/ 155277 h 762147"/>
                  <a:gd name="connsiteX4" fmla="*/ 104309 w 337794"/>
                  <a:gd name="connsiteY4" fmla="*/ 155277 h 762147"/>
                  <a:gd name="connsiteX5" fmla="*/ 104309 w 337794"/>
                  <a:gd name="connsiteY5" fmla="*/ 0 h 762147"/>
                  <a:gd name="connsiteX6" fmla="*/ 179003 w 337794"/>
                  <a:gd name="connsiteY6" fmla="*/ 0 h 762147"/>
                  <a:gd name="connsiteX7" fmla="*/ 179003 w 337794"/>
                  <a:gd name="connsiteY7" fmla="*/ 155277 h 762147"/>
                  <a:gd name="connsiteX8" fmla="*/ 336652 w 337794"/>
                  <a:gd name="connsiteY8" fmla="*/ 155277 h 762147"/>
                  <a:gd name="connsiteX9" fmla="*/ 336652 w 337794"/>
                  <a:gd name="connsiteY9" fmla="*/ 218108 h 762147"/>
                  <a:gd name="connsiteX10" fmla="*/ 179003 w 337794"/>
                  <a:gd name="connsiteY10" fmla="*/ 218108 h 762147"/>
                  <a:gd name="connsiteX11" fmla="*/ 179003 w 337794"/>
                  <a:gd name="connsiteY11" fmla="*/ 583144 h 762147"/>
                  <a:gd name="connsiteX12" fmla="*/ 270218 w 337794"/>
                  <a:gd name="connsiteY12" fmla="*/ 694571 h 762147"/>
                  <a:gd name="connsiteX13" fmla="*/ 337795 w 337794"/>
                  <a:gd name="connsiteY13" fmla="*/ 682707 h 762147"/>
                  <a:gd name="connsiteX14" fmla="*/ 337795 w 337794"/>
                  <a:gd name="connsiteY14" fmla="*/ 747911 h 762147"/>
                  <a:gd name="connsiteX15" fmla="*/ 263100 w 337794"/>
                  <a:gd name="connsiteY15" fmla="*/ 762147 h 762147"/>
                  <a:gd name="connsiteX16" fmla="*/ 104309 w 337794"/>
                  <a:gd name="connsiteY16" fmla="*/ 587889 h 762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794" h="762147">
                    <a:moveTo>
                      <a:pt x="104309" y="587889"/>
                    </a:moveTo>
                    <a:lnTo>
                      <a:pt x="104309" y="218108"/>
                    </a:lnTo>
                    <a:lnTo>
                      <a:pt x="0" y="218108"/>
                    </a:lnTo>
                    <a:lnTo>
                      <a:pt x="0" y="155277"/>
                    </a:lnTo>
                    <a:lnTo>
                      <a:pt x="104309" y="155277"/>
                    </a:lnTo>
                    <a:lnTo>
                      <a:pt x="104309" y="0"/>
                    </a:lnTo>
                    <a:lnTo>
                      <a:pt x="179003" y="0"/>
                    </a:lnTo>
                    <a:lnTo>
                      <a:pt x="179003" y="155277"/>
                    </a:lnTo>
                    <a:lnTo>
                      <a:pt x="336652" y="155277"/>
                    </a:lnTo>
                    <a:lnTo>
                      <a:pt x="336652" y="218108"/>
                    </a:lnTo>
                    <a:lnTo>
                      <a:pt x="179003" y="218108"/>
                    </a:lnTo>
                    <a:lnTo>
                      <a:pt x="179003" y="583144"/>
                    </a:lnTo>
                    <a:cubicBezTo>
                      <a:pt x="179003" y="658981"/>
                      <a:pt x="215735" y="694571"/>
                      <a:pt x="270218" y="694571"/>
                    </a:cubicBezTo>
                    <a:cubicBezTo>
                      <a:pt x="292714" y="694571"/>
                      <a:pt x="318813" y="689825"/>
                      <a:pt x="337795" y="682707"/>
                    </a:cubicBezTo>
                    <a:lnTo>
                      <a:pt x="337795" y="747911"/>
                    </a:lnTo>
                    <a:cubicBezTo>
                      <a:pt x="317671" y="757402"/>
                      <a:pt x="288057" y="762147"/>
                      <a:pt x="263100" y="762147"/>
                    </a:cubicBezTo>
                    <a:cubicBezTo>
                      <a:pt x="169512" y="762147"/>
                      <a:pt x="104309" y="702919"/>
                      <a:pt x="104309" y="587889"/>
                    </a:cubicBezTo>
                    <a:close/>
                  </a:path>
                </a:pathLst>
              </a:custGeom>
              <a:solidFill>
                <a:srgbClr val="022E33"/>
              </a:solidFill>
              <a:ln w="8786" cap="flat">
                <a:noFill/>
                <a:prstDash val="solid"/>
                <a:miter/>
              </a:ln>
            </p:spPr>
            <p:txBody>
              <a:bodyPr rtlCol="0" anchor="ctr"/>
              <a:lstStyle/>
              <a:p>
                <a:endParaRPr lang="en-US"/>
              </a:p>
            </p:txBody>
          </p:sp>
          <p:sp>
            <p:nvSpPr>
              <p:cNvPr id="44" name="Freeform: Shape 25">
                <a:extLst>
                  <a:ext uri="{FF2B5EF4-FFF2-40B4-BE49-F238E27FC236}">
                    <a16:creationId xmlns:a16="http://schemas.microsoft.com/office/drawing/2014/main" id="{7F493827-04AD-493E-1419-048FBD593177}"/>
                  </a:ext>
                </a:extLst>
              </p:cNvPr>
              <p:cNvSpPr/>
              <p:nvPr/>
            </p:nvSpPr>
            <p:spPr>
              <a:xfrm>
                <a:off x="7744198" y="3438753"/>
                <a:ext cx="593864" cy="822517"/>
              </a:xfrm>
              <a:custGeom>
                <a:avLst/>
                <a:gdLst>
                  <a:gd name="connsiteX0" fmla="*/ 0 w 593864"/>
                  <a:gd name="connsiteY0" fmla="*/ 9491 h 822517"/>
                  <a:gd name="connsiteX1" fmla="*/ 74694 w 593864"/>
                  <a:gd name="connsiteY1" fmla="*/ 9491 h 822517"/>
                  <a:gd name="connsiteX2" fmla="*/ 74694 w 593864"/>
                  <a:gd name="connsiteY2" fmla="*/ 129177 h 822517"/>
                  <a:gd name="connsiteX3" fmla="*/ 299920 w 593864"/>
                  <a:gd name="connsiteY3" fmla="*/ 0 h 822517"/>
                  <a:gd name="connsiteX4" fmla="*/ 593865 w 593864"/>
                  <a:gd name="connsiteY4" fmla="*/ 308180 h 822517"/>
                  <a:gd name="connsiteX5" fmla="*/ 299920 w 593864"/>
                  <a:gd name="connsiteY5" fmla="*/ 616361 h 822517"/>
                  <a:gd name="connsiteX6" fmla="*/ 74694 w 593864"/>
                  <a:gd name="connsiteY6" fmla="*/ 485953 h 822517"/>
                  <a:gd name="connsiteX7" fmla="*/ 74694 w 593864"/>
                  <a:gd name="connsiteY7" fmla="*/ 822518 h 822517"/>
                  <a:gd name="connsiteX8" fmla="*/ 0 w 593864"/>
                  <a:gd name="connsiteY8" fmla="*/ 822518 h 822517"/>
                  <a:gd name="connsiteX9" fmla="*/ 0 w 593864"/>
                  <a:gd name="connsiteY9" fmla="*/ 9491 h 822517"/>
                  <a:gd name="connsiteX10" fmla="*/ 296318 w 593864"/>
                  <a:gd name="connsiteY10" fmla="*/ 549927 h 822517"/>
                  <a:gd name="connsiteX11" fmla="*/ 516798 w 593864"/>
                  <a:gd name="connsiteY11" fmla="*/ 308180 h 822517"/>
                  <a:gd name="connsiteX12" fmla="*/ 296318 w 593864"/>
                  <a:gd name="connsiteY12" fmla="*/ 66434 h 822517"/>
                  <a:gd name="connsiteX13" fmla="*/ 74694 w 593864"/>
                  <a:gd name="connsiteY13" fmla="*/ 308180 h 822517"/>
                  <a:gd name="connsiteX14" fmla="*/ 296318 w 593864"/>
                  <a:gd name="connsiteY14" fmla="*/ 549927 h 82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3864" h="822517">
                    <a:moveTo>
                      <a:pt x="0" y="9491"/>
                    </a:moveTo>
                    <a:lnTo>
                      <a:pt x="74694" y="9491"/>
                    </a:lnTo>
                    <a:lnTo>
                      <a:pt x="74694" y="129177"/>
                    </a:lnTo>
                    <a:cubicBezTo>
                      <a:pt x="111426" y="50968"/>
                      <a:pt x="202730" y="0"/>
                      <a:pt x="299920" y="0"/>
                    </a:cubicBezTo>
                    <a:cubicBezTo>
                      <a:pt x="475320" y="0"/>
                      <a:pt x="593865" y="124432"/>
                      <a:pt x="593865" y="308180"/>
                    </a:cubicBezTo>
                    <a:cubicBezTo>
                      <a:pt x="593865" y="491929"/>
                      <a:pt x="475320" y="616361"/>
                      <a:pt x="299920" y="616361"/>
                    </a:cubicBezTo>
                    <a:cubicBezTo>
                      <a:pt x="202730" y="616361"/>
                      <a:pt x="111514" y="563020"/>
                      <a:pt x="74694" y="485953"/>
                    </a:cubicBezTo>
                    <a:lnTo>
                      <a:pt x="74694" y="822518"/>
                    </a:lnTo>
                    <a:lnTo>
                      <a:pt x="0" y="822518"/>
                    </a:lnTo>
                    <a:lnTo>
                      <a:pt x="0" y="9491"/>
                    </a:lnTo>
                    <a:close/>
                    <a:moveTo>
                      <a:pt x="296318" y="549927"/>
                    </a:moveTo>
                    <a:cubicBezTo>
                      <a:pt x="424352" y="549927"/>
                      <a:pt x="516798" y="450364"/>
                      <a:pt x="516798" y="308180"/>
                    </a:cubicBezTo>
                    <a:cubicBezTo>
                      <a:pt x="516798" y="165997"/>
                      <a:pt x="424352" y="66434"/>
                      <a:pt x="296318" y="66434"/>
                    </a:cubicBezTo>
                    <a:cubicBezTo>
                      <a:pt x="168282" y="66434"/>
                      <a:pt x="74694" y="165997"/>
                      <a:pt x="74694" y="308180"/>
                    </a:cubicBezTo>
                    <a:cubicBezTo>
                      <a:pt x="74694" y="450364"/>
                      <a:pt x="168370" y="549927"/>
                      <a:pt x="296318" y="549927"/>
                    </a:cubicBezTo>
                    <a:close/>
                  </a:path>
                </a:pathLst>
              </a:custGeom>
              <a:solidFill>
                <a:srgbClr val="022E33"/>
              </a:solidFill>
              <a:ln w="8786" cap="flat">
                <a:noFill/>
                <a:prstDash val="solid"/>
                <a:miter/>
              </a:ln>
            </p:spPr>
            <p:txBody>
              <a:bodyPr rtlCol="0" anchor="ctr"/>
              <a:lstStyle/>
              <a:p>
                <a:endParaRPr lang="en-US"/>
              </a:p>
            </p:txBody>
          </p:sp>
          <p:sp>
            <p:nvSpPr>
              <p:cNvPr id="45" name="Freeform: Shape 26">
                <a:extLst>
                  <a:ext uri="{FF2B5EF4-FFF2-40B4-BE49-F238E27FC236}">
                    <a16:creationId xmlns:a16="http://schemas.microsoft.com/office/drawing/2014/main" id="{95BF4208-A035-C10E-8586-7F7CC0F8C7E0}"/>
                  </a:ext>
                </a:extLst>
              </p:cNvPr>
              <p:cNvSpPr/>
              <p:nvPr/>
            </p:nvSpPr>
            <p:spPr>
              <a:xfrm>
                <a:off x="8460035" y="3206410"/>
                <a:ext cx="75836" cy="839126"/>
              </a:xfrm>
              <a:custGeom>
                <a:avLst/>
                <a:gdLst>
                  <a:gd name="connsiteX0" fmla="*/ 0 w 75836"/>
                  <a:gd name="connsiteY0" fmla="*/ 0 h 839126"/>
                  <a:gd name="connsiteX1" fmla="*/ 75837 w 75836"/>
                  <a:gd name="connsiteY1" fmla="*/ 0 h 839126"/>
                  <a:gd name="connsiteX2" fmla="*/ 75837 w 75836"/>
                  <a:gd name="connsiteY2" fmla="*/ 839126 h 839126"/>
                  <a:gd name="connsiteX3" fmla="*/ 0 w 75836"/>
                  <a:gd name="connsiteY3" fmla="*/ 839126 h 839126"/>
                  <a:gd name="connsiteX4" fmla="*/ 0 w 75836"/>
                  <a:gd name="connsiteY4" fmla="*/ 0 h 83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6" h="839126">
                    <a:moveTo>
                      <a:pt x="0" y="0"/>
                    </a:moveTo>
                    <a:lnTo>
                      <a:pt x="75837" y="0"/>
                    </a:lnTo>
                    <a:lnTo>
                      <a:pt x="75837" y="839126"/>
                    </a:lnTo>
                    <a:lnTo>
                      <a:pt x="0" y="839126"/>
                    </a:lnTo>
                    <a:lnTo>
                      <a:pt x="0" y="0"/>
                    </a:lnTo>
                    <a:close/>
                  </a:path>
                </a:pathLst>
              </a:custGeom>
              <a:solidFill>
                <a:srgbClr val="022E33"/>
              </a:solidFill>
              <a:ln w="8786" cap="flat">
                <a:noFill/>
                <a:prstDash val="solid"/>
                <a:miter/>
              </a:ln>
            </p:spPr>
            <p:txBody>
              <a:bodyPr rtlCol="0" anchor="ctr"/>
              <a:lstStyle/>
              <a:p>
                <a:endParaRPr lang="en-US"/>
              </a:p>
            </p:txBody>
          </p:sp>
          <p:sp>
            <p:nvSpPr>
              <p:cNvPr id="46" name="Freeform: Shape 27">
                <a:extLst>
                  <a:ext uri="{FF2B5EF4-FFF2-40B4-BE49-F238E27FC236}">
                    <a16:creationId xmlns:a16="http://schemas.microsoft.com/office/drawing/2014/main" id="{040DC7F9-89FB-946B-1736-4FC6B3578D16}"/>
                  </a:ext>
                </a:extLst>
              </p:cNvPr>
              <p:cNvSpPr/>
              <p:nvPr/>
            </p:nvSpPr>
            <p:spPr>
              <a:xfrm>
                <a:off x="8668476" y="3438665"/>
                <a:ext cx="488325" cy="616361"/>
              </a:xfrm>
              <a:custGeom>
                <a:avLst/>
                <a:gdLst>
                  <a:gd name="connsiteX0" fmla="*/ 176 w 488325"/>
                  <a:gd name="connsiteY0" fmla="*/ 449221 h 616361"/>
                  <a:gd name="connsiteX1" fmla="*/ 278654 w 488325"/>
                  <a:gd name="connsiteY1" fmla="*/ 250095 h 616361"/>
                  <a:gd name="connsiteX2" fmla="*/ 413807 w 488325"/>
                  <a:gd name="connsiteY2" fmla="*/ 235859 h 616361"/>
                  <a:gd name="connsiteX3" fmla="*/ 413807 w 488325"/>
                  <a:gd name="connsiteY3" fmla="*/ 209760 h 616361"/>
                  <a:gd name="connsiteX4" fmla="*/ 251413 w 488325"/>
                  <a:gd name="connsiteY4" fmla="*/ 66346 h 616361"/>
                  <a:gd name="connsiteX5" fmla="*/ 81900 w 488325"/>
                  <a:gd name="connsiteY5" fmla="*/ 209760 h 616361"/>
                  <a:gd name="connsiteX6" fmla="*/ 4833 w 488325"/>
                  <a:gd name="connsiteY6" fmla="*/ 209760 h 616361"/>
                  <a:gd name="connsiteX7" fmla="*/ 251325 w 488325"/>
                  <a:gd name="connsiteY7" fmla="*/ 0 h 616361"/>
                  <a:gd name="connsiteX8" fmla="*/ 488326 w 488325"/>
                  <a:gd name="connsiteY8" fmla="*/ 215735 h 616361"/>
                  <a:gd name="connsiteX9" fmla="*/ 488326 w 488325"/>
                  <a:gd name="connsiteY9" fmla="*/ 606871 h 616361"/>
                  <a:gd name="connsiteX10" fmla="*/ 413632 w 488325"/>
                  <a:gd name="connsiteY10" fmla="*/ 606871 h 616361"/>
                  <a:gd name="connsiteX11" fmla="*/ 413632 w 488325"/>
                  <a:gd name="connsiteY11" fmla="*/ 483581 h 616361"/>
                  <a:gd name="connsiteX12" fmla="*/ 206245 w 488325"/>
                  <a:gd name="connsiteY12" fmla="*/ 616361 h 616361"/>
                  <a:gd name="connsiteX13" fmla="*/ 0 w 488325"/>
                  <a:gd name="connsiteY13" fmla="*/ 449221 h 616361"/>
                  <a:gd name="connsiteX14" fmla="*/ 211166 w 488325"/>
                  <a:gd name="connsiteY14" fmla="*/ 549927 h 616361"/>
                  <a:gd name="connsiteX15" fmla="*/ 413807 w 488325"/>
                  <a:gd name="connsiteY15" fmla="*/ 327162 h 616361"/>
                  <a:gd name="connsiteX16" fmla="*/ 413807 w 488325"/>
                  <a:gd name="connsiteY16" fmla="*/ 296317 h 616361"/>
                  <a:gd name="connsiteX17" fmla="*/ 283399 w 488325"/>
                  <a:gd name="connsiteY17" fmla="*/ 310553 h 616361"/>
                  <a:gd name="connsiteX18" fmla="*/ 76013 w 488325"/>
                  <a:gd name="connsiteY18" fmla="*/ 446849 h 616361"/>
                  <a:gd name="connsiteX19" fmla="*/ 211078 w 488325"/>
                  <a:gd name="connsiteY19" fmla="*/ 549927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8325" h="616361">
                    <a:moveTo>
                      <a:pt x="176" y="449221"/>
                    </a:moveTo>
                    <a:cubicBezTo>
                      <a:pt x="176" y="327162"/>
                      <a:pt x="84361" y="270218"/>
                      <a:pt x="278654" y="250095"/>
                    </a:cubicBezTo>
                    <a:lnTo>
                      <a:pt x="413807" y="235859"/>
                    </a:lnTo>
                    <a:lnTo>
                      <a:pt x="413807" y="209760"/>
                    </a:lnTo>
                    <a:cubicBezTo>
                      <a:pt x="413807" y="122060"/>
                      <a:pt x="347461" y="66346"/>
                      <a:pt x="251413" y="66346"/>
                    </a:cubicBezTo>
                    <a:cubicBezTo>
                      <a:pt x="155364" y="66346"/>
                      <a:pt x="94994" y="119687"/>
                      <a:pt x="81900" y="209760"/>
                    </a:cubicBezTo>
                    <a:lnTo>
                      <a:pt x="4833" y="209760"/>
                    </a:lnTo>
                    <a:cubicBezTo>
                      <a:pt x="21442" y="93588"/>
                      <a:pt x="111514" y="0"/>
                      <a:pt x="251325" y="0"/>
                    </a:cubicBezTo>
                    <a:cubicBezTo>
                      <a:pt x="391135" y="0"/>
                      <a:pt x="488326" y="84185"/>
                      <a:pt x="488326" y="215735"/>
                    </a:cubicBezTo>
                    <a:lnTo>
                      <a:pt x="488326" y="606871"/>
                    </a:lnTo>
                    <a:lnTo>
                      <a:pt x="413632" y="606871"/>
                    </a:lnTo>
                    <a:lnTo>
                      <a:pt x="413632" y="483581"/>
                    </a:lnTo>
                    <a:cubicBezTo>
                      <a:pt x="392278" y="558275"/>
                      <a:pt x="304578" y="616361"/>
                      <a:pt x="206245" y="616361"/>
                    </a:cubicBezTo>
                    <a:cubicBezTo>
                      <a:pt x="79440" y="616361"/>
                      <a:pt x="0" y="551157"/>
                      <a:pt x="0" y="449221"/>
                    </a:cubicBezTo>
                    <a:close/>
                    <a:moveTo>
                      <a:pt x="211166" y="549927"/>
                    </a:moveTo>
                    <a:cubicBezTo>
                      <a:pt x="332083" y="549927"/>
                      <a:pt x="413807" y="458712"/>
                      <a:pt x="413807" y="327162"/>
                    </a:cubicBezTo>
                    <a:lnTo>
                      <a:pt x="413807" y="296317"/>
                    </a:lnTo>
                    <a:lnTo>
                      <a:pt x="283399" y="310553"/>
                    </a:lnTo>
                    <a:cubicBezTo>
                      <a:pt x="137614" y="327162"/>
                      <a:pt x="76013" y="360379"/>
                      <a:pt x="76013" y="446849"/>
                    </a:cubicBezTo>
                    <a:cubicBezTo>
                      <a:pt x="76013" y="509680"/>
                      <a:pt x="128123" y="549927"/>
                      <a:pt x="211078" y="549927"/>
                    </a:cubicBezTo>
                    <a:close/>
                  </a:path>
                </a:pathLst>
              </a:custGeom>
              <a:solidFill>
                <a:srgbClr val="022E33"/>
              </a:solidFill>
              <a:ln w="8786" cap="flat">
                <a:noFill/>
                <a:prstDash val="solid"/>
                <a:miter/>
              </a:ln>
            </p:spPr>
            <p:txBody>
              <a:bodyPr rtlCol="0" anchor="ctr"/>
              <a:lstStyle/>
              <a:p>
                <a:endParaRPr lang="en-US"/>
              </a:p>
            </p:txBody>
          </p:sp>
          <p:sp>
            <p:nvSpPr>
              <p:cNvPr id="47" name="Freeform: Shape 28">
                <a:extLst>
                  <a:ext uri="{FF2B5EF4-FFF2-40B4-BE49-F238E27FC236}">
                    <a16:creationId xmlns:a16="http://schemas.microsoft.com/office/drawing/2014/main" id="{44D0A63F-FD0E-2C1D-9D6D-176AE05CAAA0}"/>
                  </a:ext>
                </a:extLst>
              </p:cNvPr>
              <p:cNvSpPr/>
              <p:nvPr/>
            </p:nvSpPr>
            <p:spPr>
              <a:xfrm>
                <a:off x="9270689" y="3438665"/>
                <a:ext cx="555814" cy="616185"/>
              </a:xfrm>
              <a:custGeom>
                <a:avLst/>
                <a:gdLst>
                  <a:gd name="connsiteX0" fmla="*/ 0 w 555814"/>
                  <a:gd name="connsiteY0" fmla="*/ 308181 h 616185"/>
                  <a:gd name="connsiteX1" fmla="*/ 290341 w 555814"/>
                  <a:gd name="connsiteY1" fmla="*/ 0 h 616185"/>
                  <a:gd name="connsiteX2" fmla="*/ 549926 w 555814"/>
                  <a:gd name="connsiteY2" fmla="*/ 197896 h 616185"/>
                  <a:gd name="connsiteX3" fmla="*/ 475232 w 555814"/>
                  <a:gd name="connsiteY3" fmla="*/ 197896 h 616185"/>
                  <a:gd name="connsiteX4" fmla="*/ 290341 w 555814"/>
                  <a:gd name="connsiteY4" fmla="*/ 66346 h 616185"/>
                  <a:gd name="connsiteX5" fmla="*/ 76979 w 555814"/>
                  <a:gd name="connsiteY5" fmla="*/ 308093 h 616185"/>
                  <a:gd name="connsiteX6" fmla="*/ 290341 w 555814"/>
                  <a:gd name="connsiteY6" fmla="*/ 549839 h 616185"/>
                  <a:gd name="connsiteX7" fmla="*/ 481120 w 555814"/>
                  <a:gd name="connsiteY7" fmla="*/ 406426 h 616185"/>
                  <a:gd name="connsiteX8" fmla="*/ 555815 w 555814"/>
                  <a:gd name="connsiteY8" fmla="*/ 406426 h 616185"/>
                  <a:gd name="connsiteX9" fmla="*/ 290341 w 555814"/>
                  <a:gd name="connsiteY9" fmla="*/ 616185 h 616185"/>
                  <a:gd name="connsiteX10" fmla="*/ 0 w 555814"/>
                  <a:gd name="connsiteY10" fmla="*/ 308005 h 61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5814" h="616185">
                    <a:moveTo>
                      <a:pt x="0" y="308181"/>
                    </a:moveTo>
                    <a:cubicBezTo>
                      <a:pt x="0" y="130408"/>
                      <a:pt x="123289" y="0"/>
                      <a:pt x="290341" y="0"/>
                    </a:cubicBezTo>
                    <a:cubicBezTo>
                      <a:pt x="432524" y="0"/>
                      <a:pt x="529715" y="81812"/>
                      <a:pt x="549926" y="197896"/>
                    </a:cubicBezTo>
                    <a:lnTo>
                      <a:pt x="475232" y="197896"/>
                    </a:lnTo>
                    <a:cubicBezTo>
                      <a:pt x="456251" y="118457"/>
                      <a:pt x="385159" y="66346"/>
                      <a:pt x="290341" y="66346"/>
                    </a:cubicBezTo>
                    <a:cubicBezTo>
                      <a:pt x="168282" y="66346"/>
                      <a:pt x="76979" y="167052"/>
                      <a:pt x="76979" y="308093"/>
                    </a:cubicBezTo>
                    <a:cubicBezTo>
                      <a:pt x="76979" y="449133"/>
                      <a:pt x="168194" y="549839"/>
                      <a:pt x="290341" y="549839"/>
                    </a:cubicBezTo>
                    <a:cubicBezTo>
                      <a:pt x="393420" y="549839"/>
                      <a:pt x="468114" y="489380"/>
                      <a:pt x="481120" y="406426"/>
                    </a:cubicBezTo>
                    <a:lnTo>
                      <a:pt x="555815" y="406426"/>
                    </a:lnTo>
                    <a:cubicBezTo>
                      <a:pt x="539206" y="522598"/>
                      <a:pt x="434897" y="616185"/>
                      <a:pt x="290341" y="616185"/>
                    </a:cubicBezTo>
                    <a:cubicBezTo>
                      <a:pt x="123202" y="616185"/>
                      <a:pt x="0" y="484635"/>
                      <a:pt x="0" y="308005"/>
                    </a:cubicBezTo>
                    <a:close/>
                  </a:path>
                </a:pathLst>
              </a:custGeom>
              <a:solidFill>
                <a:srgbClr val="022E33"/>
              </a:solidFill>
              <a:ln w="8786" cap="flat">
                <a:noFill/>
                <a:prstDash val="solid"/>
                <a:miter/>
              </a:ln>
            </p:spPr>
            <p:txBody>
              <a:bodyPr rtlCol="0" anchor="ctr"/>
              <a:lstStyle/>
              <a:p>
                <a:endParaRPr lang="en-US"/>
              </a:p>
            </p:txBody>
          </p:sp>
          <p:sp>
            <p:nvSpPr>
              <p:cNvPr id="48" name="Freeform: Shape 29">
                <a:extLst>
                  <a:ext uri="{FF2B5EF4-FFF2-40B4-BE49-F238E27FC236}">
                    <a16:creationId xmlns:a16="http://schemas.microsoft.com/office/drawing/2014/main" id="{78E207CA-E26C-6809-7F6B-20A98539CA83}"/>
                  </a:ext>
                </a:extLst>
              </p:cNvPr>
              <p:cNvSpPr/>
              <p:nvPr/>
            </p:nvSpPr>
            <p:spPr>
              <a:xfrm>
                <a:off x="9898825" y="3438665"/>
                <a:ext cx="556771" cy="616361"/>
              </a:xfrm>
              <a:custGeom>
                <a:avLst/>
                <a:gdLst>
                  <a:gd name="connsiteX0" fmla="*/ 0 w 556771"/>
                  <a:gd name="connsiteY0" fmla="*/ 308181 h 616361"/>
                  <a:gd name="connsiteX1" fmla="*/ 287969 w 556771"/>
                  <a:gd name="connsiteY1" fmla="*/ 0 h 616361"/>
                  <a:gd name="connsiteX2" fmla="*/ 554672 w 556771"/>
                  <a:gd name="connsiteY2" fmla="*/ 308181 h 616361"/>
                  <a:gd name="connsiteX3" fmla="*/ 75837 w 556771"/>
                  <a:gd name="connsiteY3" fmla="*/ 308181 h 616361"/>
                  <a:gd name="connsiteX4" fmla="*/ 290341 w 556771"/>
                  <a:gd name="connsiteY4" fmla="*/ 549927 h 616361"/>
                  <a:gd name="connsiteX5" fmla="*/ 474002 w 556771"/>
                  <a:gd name="connsiteY5" fmla="*/ 419607 h 616361"/>
                  <a:gd name="connsiteX6" fmla="*/ 548697 w 556771"/>
                  <a:gd name="connsiteY6" fmla="*/ 419607 h 616361"/>
                  <a:gd name="connsiteX7" fmla="*/ 292714 w 556771"/>
                  <a:gd name="connsiteY7" fmla="*/ 616361 h 616361"/>
                  <a:gd name="connsiteX8" fmla="*/ 0 w 556771"/>
                  <a:gd name="connsiteY8" fmla="*/ 308181 h 616361"/>
                  <a:gd name="connsiteX9" fmla="*/ 478835 w 556771"/>
                  <a:gd name="connsiteY9" fmla="*/ 246580 h 616361"/>
                  <a:gd name="connsiteX10" fmla="*/ 288057 w 556771"/>
                  <a:gd name="connsiteY10" fmla="*/ 66434 h 616361"/>
                  <a:gd name="connsiteX11" fmla="*/ 81812 w 556771"/>
                  <a:gd name="connsiteY11" fmla="*/ 246580 h 616361"/>
                  <a:gd name="connsiteX12" fmla="*/ 478835 w 556771"/>
                  <a:gd name="connsiteY12" fmla="*/ 246580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771" h="616361">
                    <a:moveTo>
                      <a:pt x="0" y="308181"/>
                    </a:moveTo>
                    <a:cubicBezTo>
                      <a:pt x="0" y="128035"/>
                      <a:pt x="120917" y="0"/>
                      <a:pt x="287969" y="0"/>
                    </a:cubicBezTo>
                    <a:cubicBezTo>
                      <a:pt x="463369" y="0"/>
                      <a:pt x="573566" y="135153"/>
                      <a:pt x="554672" y="308181"/>
                    </a:cubicBezTo>
                    <a:lnTo>
                      <a:pt x="75837" y="308181"/>
                    </a:lnTo>
                    <a:cubicBezTo>
                      <a:pt x="74694" y="451594"/>
                      <a:pt x="161164" y="549927"/>
                      <a:pt x="290341" y="549927"/>
                    </a:cubicBezTo>
                    <a:cubicBezTo>
                      <a:pt x="392278" y="549927"/>
                      <a:pt x="453879" y="496586"/>
                      <a:pt x="474002" y="419607"/>
                    </a:cubicBezTo>
                    <a:lnTo>
                      <a:pt x="548697" y="419607"/>
                    </a:lnTo>
                    <a:cubicBezTo>
                      <a:pt x="528573" y="532176"/>
                      <a:pt x="430152" y="616361"/>
                      <a:pt x="292714" y="616361"/>
                    </a:cubicBezTo>
                    <a:cubicBezTo>
                      <a:pt x="122060" y="616361"/>
                      <a:pt x="0" y="488326"/>
                      <a:pt x="0" y="308181"/>
                    </a:cubicBezTo>
                    <a:close/>
                    <a:moveTo>
                      <a:pt x="478835" y="246580"/>
                    </a:moveTo>
                    <a:cubicBezTo>
                      <a:pt x="479978" y="137526"/>
                      <a:pt x="400626" y="66434"/>
                      <a:pt x="288057" y="66434"/>
                    </a:cubicBezTo>
                    <a:cubicBezTo>
                      <a:pt x="175488" y="66434"/>
                      <a:pt x="102024" y="132780"/>
                      <a:pt x="81812" y="246580"/>
                    </a:cubicBezTo>
                    <a:lnTo>
                      <a:pt x="478835" y="246580"/>
                    </a:lnTo>
                    <a:close/>
                  </a:path>
                </a:pathLst>
              </a:custGeom>
              <a:solidFill>
                <a:srgbClr val="022E33"/>
              </a:solidFill>
              <a:ln w="878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575887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30E3C8A0-7CD5-B5E1-A2B9-B053B5F2BC33}"/>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A3AD7066-27D0-085B-5E62-BDE0B72EA81D}"/>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5" name="Bilde 14">
            <a:extLst>
              <a:ext uri="{FF2B5EF4-FFF2-40B4-BE49-F238E27FC236}">
                <a16:creationId xmlns:a16="http://schemas.microsoft.com/office/drawing/2014/main" id="{AB39F9BC-FC56-0F72-EFD7-95DF0B93C072}"/>
              </a:ext>
            </a:extLst>
          </p:cNvPr>
          <p:cNvPicPr>
            <a:picLocks noChangeAspect="1"/>
          </p:cNvPicPr>
          <p:nvPr userDrawn="1"/>
        </p:nvPicPr>
        <p:blipFill>
          <a:blip r:embed="rId5">
            <a:alphaModFix amt="40000"/>
          </a:blip>
          <a:stretch>
            <a:fillRect/>
          </a:stretch>
        </p:blipFill>
        <p:spPr>
          <a:xfrm>
            <a:off x="9982200" y="4899118"/>
            <a:ext cx="2743200" cy="1958882"/>
          </a:xfrm>
          <a:prstGeom prst="rect">
            <a:avLst/>
          </a:prstGeom>
        </p:spPr>
      </p:pic>
      <p:sp>
        <p:nvSpPr>
          <p:cNvPr id="16" name="TekstSylinder 15">
            <a:extLst>
              <a:ext uri="{FF2B5EF4-FFF2-40B4-BE49-F238E27FC236}">
                <a16:creationId xmlns:a16="http://schemas.microsoft.com/office/drawing/2014/main" id="{E0F6F0CB-E1DC-B7B0-1D83-811275FC7252}"/>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3825117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A544B0E9-53E0-BBCC-2570-1021C81E621F}"/>
              </a:ext>
            </a:extLst>
          </p:cNvPr>
          <p:cNvSpPr>
            <a:spLocks noGrp="1"/>
          </p:cNvSpPr>
          <p:nvPr>
            <p:ph type="body" sz="quarter" idx="16" hasCustomPrompt="1"/>
          </p:nvPr>
        </p:nvSpPr>
        <p:spPr>
          <a:xfrm>
            <a:off x="959977" y="2072789"/>
            <a:ext cx="6000221"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F0A02AE8-279A-C287-A2B3-BFA73DA16B73}"/>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1628893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365D3B74-F2A0-F98C-A73F-65F3909E674D}"/>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F1347D3A-AAE8-2B52-5AB3-BBDB174040C8}"/>
              </a:ext>
            </a:extLst>
          </p:cNvPr>
          <p:cNvPicPr>
            <a:picLocks noChangeAspect="1"/>
          </p:cNvPicPr>
          <p:nvPr userDrawn="1"/>
        </p:nvPicPr>
        <p:blipFill>
          <a:blip r:embed="rId2">
            <a:alphaModFix amt="40000"/>
          </a:blip>
          <a:stretch>
            <a:fillRect/>
          </a:stretch>
        </p:blipFill>
        <p:spPr>
          <a:xfrm>
            <a:off x="9982200" y="4899118"/>
            <a:ext cx="2743200" cy="1958882"/>
          </a:xfrm>
          <a:prstGeom prst="rect">
            <a:avLst/>
          </a:prstGeom>
        </p:spPr>
      </p:pic>
      <p:pic>
        <p:nvPicPr>
          <p:cNvPr id="10" name="Bilde 9">
            <a:extLst>
              <a:ext uri="{FF2B5EF4-FFF2-40B4-BE49-F238E27FC236}">
                <a16:creationId xmlns:a16="http://schemas.microsoft.com/office/drawing/2014/main" id="{AFFDAC87-ACCF-ECDD-CA2E-A7D14342D30B}"/>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2" name="TekstSylinder 11">
            <a:extLst>
              <a:ext uri="{FF2B5EF4-FFF2-40B4-BE49-F238E27FC236}">
                <a16:creationId xmlns:a16="http://schemas.microsoft.com/office/drawing/2014/main" id="{EA26B9D8-F334-003A-7658-B00F210D064B}"/>
              </a:ext>
            </a:extLst>
          </p:cNvPr>
          <p:cNvSpPr txBox="1"/>
          <p:nvPr userDrawn="1"/>
        </p:nvSpPr>
        <p:spPr>
          <a:xfrm>
            <a:off x="56335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3700812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go + payoff - white background">
    <p:spTree>
      <p:nvGrpSpPr>
        <p:cNvPr id="1" name=""/>
        <p:cNvGrpSpPr/>
        <p:nvPr/>
      </p:nvGrpSpPr>
      <p:grpSpPr>
        <a:xfrm>
          <a:off x="0" y="0"/>
          <a:ext cx="0" cy="0"/>
          <a:chOff x="0" y="0"/>
          <a:chExt cx="0" cy="0"/>
        </a:xfrm>
      </p:grpSpPr>
      <p:grpSp>
        <p:nvGrpSpPr>
          <p:cNvPr id="59" name="Gruppe 58">
            <a:extLst>
              <a:ext uri="{FF2B5EF4-FFF2-40B4-BE49-F238E27FC236}">
                <a16:creationId xmlns:a16="http://schemas.microsoft.com/office/drawing/2014/main" id="{DDC1EEC5-14C5-1D81-4B10-0994F6DFA50A}"/>
              </a:ext>
            </a:extLst>
          </p:cNvPr>
          <p:cNvGrpSpPr/>
          <p:nvPr userDrawn="1"/>
        </p:nvGrpSpPr>
        <p:grpSpPr>
          <a:xfrm>
            <a:off x="3269302" y="2946390"/>
            <a:ext cx="5653397" cy="1009825"/>
            <a:chOff x="3486615" y="3161790"/>
            <a:chExt cx="5653397" cy="1009825"/>
          </a:xfrm>
        </p:grpSpPr>
        <p:grpSp>
          <p:nvGrpSpPr>
            <p:cNvPr id="44" name="Gruppe 43">
              <a:extLst>
                <a:ext uri="{FF2B5EF4-FFF2-40B4-BE49-F238E27FC236}">
                  <a16:creationId xmlns:a16="http://schemas.microsoft.com/office/drawing/2014/main" id="{6400029C-54B7-16B3-A0D7-C61870A249EC}"/>
                </a:ext>
              </a:extLst>
            </p:cNvPr>
            <p:cNvGrpSpPr/>
            <p:nvPr userDrawn="1"/>
          </p:nvGrpSpPr>
          <p:grpSpPr>
            <a:xfrm>
              <a:off x="3486615" y="3161790"/>
              <a:ext cx="5494677" cy="508869"/>
              <a:chOff x="1869557" y="3038867"/>
              <a:chExt cx="8450697" cy="782630"/>
            </a:xfrm>
          </p:grpSpPr>
          <p:grpSp>
            <p:nvGrpSpPr>
              <p:cNvPr id="45" name="Graphic 10">
                <a:extLst>
                  <a:ext uri="{FF2B5EF4-FFF2-40B4-BE49-F238E27FC236}">
                    <a16:creationId xmlns:a16="http://schemas.microsoft.com/office/drawing/2014/main" id="{AEDE1645-26CC-2A12-F220-408C1CA2B084}"/>
                  </a:ext>
                </a:extLst>
              </p:cNvPr>
              <p:cNvGrpSpPr/>
              <p:nvPr userDrawn="1"/>
            </p:nvGrpSpPr>
            <p:grpSpPr>
              <a:xfrm>
                <a:off x="1869557" y="3038867"/>
                <a:ext cx="4569287" cy="782630"/>
                <a:chOff x="1869557" y="3038867"/>
                <a:chExt cx="4569287" cy="782630"/>
              </a:xfrm>
              <a:solidFill>
                <a:srgbClr val="01796F"/>
              </a:solidFill>
            </p:grpSpPr>
            <p:sp>
              <p:nvSpPr>
                <p:cNvPr id="52" name="Freeform: Shape 12">
                  <a:extLst>
                    <a:ext uri="{FF2B5EF4-FFF2-40B4-BE49-F238E27FC236}">
                      <a16:creationId xmlns:a16="http://schemas.microsoft.com/office/drawing/2014/main" id="{72A9011B-2DAF-49BF-F1B0-09D88EC3A737}"/>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53" name="Freeform: Shape 13">
                  <a:extLst>
                    <a:ext uri="{FF2B5EF4-FFF2-40B4-BE49-F238E27FC236}">
                      <a16:creationId xmlns:a16="http://schemas.microsoft.com/office/drawing/2014/main" id="{14947B61-CD16-E13C-6246-B0F3245F5921}"/>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54" name="Freeform: Shape 14">
                  <a:extLst>
                    <a:ext uri="{FF2B5EF4-FFF2-40B4-BE49-F238E27FC236}">
                      <a16:creationId xmlns:a16="http://schemas.microsoft.com/office/drawing/2014/main" id="{42C17EC1-77A8-08CB-38B3-15AADA73B9F9}"/>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55" name="Freeform: Shape 15">
                  <a:extLst>
                    <a:ext uri="{FF2B5EF4-FFF2-40B4-BE49-F238E27FC236}">
                      <a16:creationId xmlns:a16="http://schemas.microsoft.com/office/drawing/2014/main" id="{8A0D960C-D026-9075-6EC9-228E6E29F1AB}"/>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56" name="Freeform: Shape 16">
                  <a:extLst>
                    <a:ext uri="{FF2B5EF4-FFF2-40B4-BE49-F238E27FC236}">
                      <a16:creationId xmlns:a16="http://schemas.microsoft.com/office/drawing/2014/main" id="{D545A8F1-E764-7889-569B-B5F2948EE78C}"/>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57" name="Freeform: Shape 17">
                  <a:extLst>
                    <a:ext uri="{FF2B5EF4-FFF2-40B4-BE49-F238E27FC236}">
                      <a16:creationId xmlns:a16="http://schemas.microsoft.com/office/drawing/2014/main" id="{DF105826-8DCD-A2E6-4214-B79139C60BEC}"/>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grpSp>
            <p:nvGrpSpPr>
              <p:cNvPr id="46" name="Graphic 10">
                <a:extLst>
                  <a:ext uri="{FF2B5EF4-FFF2-40B4-BE49-F238E27FC236}">
                    <a16:creationId xmlns:a16="http://schemas.microsoft.com/office/drawing/2014/main" id="{E31A5CBC-BE0F-566C-56EA-99638564C2C9}"/>
                  </a:ext>
                </a:extLst>
              </p:cNvPr>
              <p:cNvGrpSpPr/>
              <p:nvPr userDrawn="1"/>
            </p:nvGrpSpPr>
            <p:grpSpPr>
              <a:xfrm>
                <a:off x="6695031" y="3038867"/>
                <a:ext cx="3625223" cy="782630"/>
                <a:chOff x="6695031" y="3038867"/>
                <a:chExt cx="3625223" cy="782630"/>
              </a:xfrm>
              <a:solidFill>
                <a:srgbClr val="01796F"/>
              </a:solidFill>
            </p:grpSpPr>
            <p:sp>
              <p:nvSpPr>
                <p:cNvPr id="47" name="Freeform: Shape 19">
                  <a:extLst>
                    <a:ext uri="{FF2B5EF4-FFF2-40B4-BE49-F238E27FC236}">
                      <a16:creationId xmlns:a16="http://schemas.microsoft.com/office/drawing/2014/main" id="{2B94F43B-1BEA-DB3F-3176-25D573BE0F08}"/>
                    </a:ext>
                  </a:extLst>
                </p:cNvPr>
                <p:cNvSpPr/>
                <p:nvPr/>
              </p:nvSpPr>
              <p:spPr>
                <a:xfrm>
                  <a:off x="9091809" y="3047615"/>
                  <a:ext cx="573850" cy="773881"/>
                </a:xfrm>
                <a:custGeom>
                  <a:avLst/>
                  <a:gdLst>
                    <a:gd name="connsiteX0" fmla="*/ 0 w 573850"/>
                    <a:gd name="connsiteY0" fmla="*/ 502799 h 773881"/>
                    <a:gd name="connsiteX1" fmla="*/ 0 w 573850"/>
                    <a:gd name="connsiteY1" fmla="*/ 0 h 773881"/>
                    <a:gd name="connsiteX2" fmla="*/ 73238 w 573850"/>
                    <a:gd name="connsiteY2" fmla="*/ 0 h 773881"/>
                    <a:gd name="connsiteX3" fmla="*/ 73238 w 573850"/>
                    <a:gd name="connsiteY3" fmla="*/ 502799 h 773881"/>
                    <a:gd name="connsiteX4" fmla="*/ 287457 w 573850"/>
                    <a:gd name="connsiteY4" fmla="*/ 709392 h 773881"/>
                    <a:gd name="connsiteX5" fmla="*/ 500611 w 573850"/>
                    <a:gd name="connsiteY5" fmla="*/ 502799 h 773881"/>
                    <a:gd name="connsiteX6" fmla="*/ 500611 w 573850"/>
                    <a:gd name="connsiteY6" fmla="*/ 0 h 773881"/>
                    <a:gd name="connsiteX7" fmla="*/ 573850 w 573850"/>
                    <a:gd name="connsiteY7" fmla="*/ 0 h 773881"/>
                    <a:gd name="connsiteX8" fmla="*/ 573850 w 573850"/>
                    <a:gd name="connsiteY8" fmla="*/ 502799 h 773881"/>
                    <a:gd name="connsiteX9" fmla="*/ 287457 w 573850"/>
                    <a:gd name="connsiteY9" fmla="*/ 773882 h 773881"/>
                    <a:gd name="connsiteX10" fmla="*/ 0 w 573850"/>
                    <a:gd name="connsiteY10" fmla="*/ 502799 h 7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3850" h="773881">
                      <a:moveTo>
                        <a:pt x="0" y="502799"/>
                      </a:moveTo>
                      <a:lnTo>
                        <a:pt x="0" y="0"/>
                      </a:lnTo>
                      <a:lnTo>
                        <a:pt x="73238" y="0"/>
                      </a:lnTo>
                      <a:lnTo>
                        <a:pt x="73238" y="502799"/>
                      </a:lnTo>
                      <a:cubicBezTo>
                        <a:pt x="73238" y="624154"/>
                        <a:pt x="161787" y="709392"/>
                        <a:pt x="287457" y="709392"/>
                      </a:cubicBezTo>
                      <a:cubicBezTo>
                        <a:pt x="413127" y="709392"/>
                        <a:pt x="500611" y="624154"/>
                        <a:pt x="500611" y="502799"/>
                      </a:cubicBezTo>
                      <a:lnTo>
                        <a:pt x="500611" y="0"/>
                      </a:lnTo>
                      <a:lnTo>
                        <a:pt x="573850" y="0"/>
                      </a:lnTo>
                      <a:lnTo>
                        <a:pt x="573850" y="502799"/>
                      </a:lnTo>
                      <a:cubicBezTo>
                        <a:pt x="573850" y="662399"/>
                        <a:pt x="456869" y="773882"/>
                        <a:pt x="287457" y="773882"/>
                      </a:cubicBezTo>
                      <a:cubicBezTo>
                        <a:pt x="118045" y="773882"/>
                        <a:pt x="0" y="662399"/>
                        <a:pt x="0" y="502799"/>
                      </a:cubicBezTo>
                      <a:close/>
                    </a:path>
                  </a:pathLst>
                </a:custGeom>
                <a:grpFill/>
                <a:ln w="5908" cap="flat">
                  <a:noFill/>
                  <a:prstDash val="solid"/>
                  <a:miter/>
                </a:ln>
              </p:spPr>
              <p:txBody>
                <a:bodyPr rtlCol="0" anchor="ctr"/>
                <a:lstStyle/>
                <a:p>
                  <a:endParaRPr lang="en-US"/>
                </a:p>
              </p:txBody>
            </p:sp>
            <p:sp>
              <p:nvSpPr>
                <p:cNvPr id="48" name="Freeform: Shape 20">
                  <a:extLst>
                    <a:ext uri="{FF2B5EF4-FFF2-40B4-BE49-F238E27FC236}">
                      <a16:creationId xmlns:a16="http://schemas.microsoft.com/office/drawing/2014/main" id="{8081F523-838D-0A48-2E49-02277756F9DB}"/>
                    </a:ext>
                  </a:extLst>
                </p:cNvPr>
                <p:cNvSpPr/>
                <p:nvPr/>
              </p:nvSpPr>
              <p:spPr>
                <a:xfrm>
                  <a:off x="9796650" y="3047615"/>
                  <a:ext cx="523605" cy="765074"/>
                </a:xfrm>
                <a:custGeom>
                  <a:avLst/>
                  <a:gdLst>
                    <a:gd name="connsiteX0" fmla="*/ 0 w 523605"/>
                    <a:gd name="connsiteY0" fmla="*/ 0 h 765074"/>
                    <a:gd name="connsiteX1" fmla="*/ 288580 w 523605"/>
                    <a:gd name="connsiteY1" fmla="*/ 0 h 765074"/>
                    <a:gd name="connsiteX2" fmla="*/ 523606 w 523605"/>
                    <a:gd name="connsiteY2" fmla="*/ 214218 h 765074"/>
                    <a:gd name="connsiteX3" fmla="*/ 288580 w 523605"/>
                    <a:gd name="connsiteY3" fmla="*/ 428437 h 765074"/>
                    <a:gd name="connsiteX4" fmla="*/ 73238 w 523605"/>
                    <a:gd name="connsiteY4" fmla="*/ 428437 h 765074"/>
                    <a:gd name="connsiteX5" fmla="*/ 73238 w 523605"/>
                    <a:gd name="connsiteY5" fmla="*/ 765075 h 765074"/>
                    <a:gd name="connsiteX6" fmla="*/ 0 w 523605"/>
                    <a:gd name="connsiteY6" fmla="*/ 765075 h 765074"/>
                    <a:gd name="connsiteX7" fmla="*/ 0 w 523605"/>
                    <a:gd name="connsiteY7" fmla="*/ 0 h 765074"/>
                    <a:gd name="connsiteX8" fmla="*/ 283082 w 523605"/>
                    <a:gd name="connsiteY8" fmla="*/ 365070 h 765074"/>
                    <a:gd name="connsiteX9" fmla="*/ 450308 w 523605"/>
                    <a:gd name="connsiteY9" fmla="*/ 214218 h 765074"/>
                    <a:gd name="connsiteX10" fmla="*/ 283082 w 523605"/>
                    <a:gd name="connsiteY10" fmla="*/ 64490 h 765074"/>
                    <a:gd name="connsiteX11" fmla="*/ 73238 w 523605"/>
                    <a:gd name="connsiteY11" fmla="*/ 64490 h 765074"/>
                    <a:gd name="connsiteX12" fmla="*/ 73238 w 523605"/>
                    <a:gd name="connsiteY12" fmla="*/ 365070 h 765074"/>
                    <a:gd name="connsiteX13" fmla="*/ 283082 w 523605"/>
                    <a:gd name="connsiteY13" fmla="*/ 36507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05" h="765074">
                      <a:moveTo>
                        <a:pt x="0" y="0"/>
                      </a:moveTo>
                      <a:lnTo>
                        <a:pt x="288580" y="0"/>
                      </a:lnTo>
                      <a:cubicBezTo>
                        <a:pt x="430683" y="0"/>
                        <a:pt x="523606" y="85238"/>
                        <a:pt x="523606" y="214218"/>
                      </a:cubicBezTo>
                      <a:cubicBezTo>
                        <a:pt x="523606" y="343199"/>
                        <a:pt x="430683" y="428437"/>
                        <a:pt x="288580" y="428437"/>
                      </a:cubicBezTo>
                      <a:lnTo>
                        <a:pt x="73238" y="428437"/>
                      </a:lnTo>
                      <a:lnTo>
                        <a:pt x="73238" y="765075"/>
                      </a:lnTo>
                      <a:lnTo>
                        <a:pt x="0" y="765075"/>
                      </a:lnTo>
                      <a:lnTo>
                        <a:pt x="0" y="0"/>
                      </a:lnTo>
                      <a:close/>
                      <a:moveTo>
                        <a:pt x="283082" y="365070"/>
                      </a:moveTo>
                      <a:cubicBezTo>
                        <a:pt x="384754" y="365070"/>
                        <a:pt x="450308" y="304954"/>
                        <a:pt x="450308" y="214218"/>
                      </a:cubicBezTo>
                      <a:cubicBezTo>
                        <a:pt x="450308" y="123483"/>
                        <a:pt x="384695" y="64490"/>
                        <a:pt x="283082" y="64490"/>
                      </a:cubicBezTo>
                      <a:lnTo>
                        <a:pt x="73238" y="64490"/>
                      </a:lnTo>
                      <a:lnTo>
                        <a:pt x="73238" y="365070"/>
                      </a:lnTo>
                      <a:lnTo>
                        <a:pt x="283082" y="365070"/>
                      </a:lnTo>
                      <a:close/>
                    </a:path>
                  </a:pathLst>
                </a:custGeom>
                <a:grpFill/>
                <a:ln w="5908" cap="flat">
                  <a:noFill/>
                  <a:prstDash val="solid"/>
                  <a:miter/>
                </a:ln>
              </p:spPr>
              <p:txBody>
                <a:bodyPr rtlCol="0" anchor="ctr"/>
                <a:lstStyle/>
                <a:p>
                  <a:endParaRPr lang="en-US"/>
                </a:p>
              </p:txBody>
            </p:sp>
            <p:sp>
              <p:nvSpPr>
                <p:cNvPr id="49" name="Freeform: Shape 21">
                  <a:extLst>
                    <a:ext uri="{FF2B5EF4-FFF2-40B4-BE49-F238E27FC236}">
                      <a16:creationId xmlns:a16="http://schemas.microsoft.com/office/drawing/2014/main" id="{D4FD1A07-6F74-582B-3B0A-CA4DE69A9FDE}"/>
                    </a:ext>
                  </a:extLst>
                </p:cNvPr>
                <p:cNvSpPr/>
                <p:nvPr/>
              </p:nvSpPr>
              <p:spPr>
                <a:xfrm>
                  <a:off x="8205024" y="3038867"/>
                  <a:ext cx="782630" cy="782630"/>
                </a:xfrm>
                <a:custGeom>
                  <a:avLst/>
                  <a:gdLst>
                    <a:gd name="connsiteX0" fmla="*/ 391315 w 782630"/>
                    <a:gd name="connsiteY0" fmla="*/ 73061 h 782630"/>
                    <a:gd name="connsiteX1" fmla="*/ 709569 w 782630"/>
                    <a:gd name="connsiteY1" fmla="*/ 391315 h 782630"/>
                    <a:gd name="connsiteX2" fmla="*/ 391315 w 782630"/>
                    <a:gd name="connsiteY2" fmla="*/ 709569 h 782630"/>
                    <a:gd name="connsiteX3" fmla="*/ 73061 w 782630"/>
                    <a:gd name="connsiteY3" fmla="*/ 391315 h 782630"/>
                    <a:gd name="connsiteX4" fmla="*/ 391315 w 782630"/>
                    <a:gd name="connsiteY4" fmla="*/ 73061 h 782630"/>
                    <a:gd name="connsiteX5" fmla="*/ 391315 w 782630"/>
                    <a:gd name="connsiteY5" fmla="*/ 0 h 782630"/>
                    <a:gd name="connsiteX6" fmla="*/ 0 w 782630"/>
                    <a:gd name="connsiteY6" fmla="*/ 391315 h 782630"/>
                    <a:gd name="connsiteX7" fmla="*/ 391315 w 782630"/>
                    <a:gd name="connsiteY7" fmla="*/ 782630 h 782630"/>
                    <a:gd name="connsiteX8" fmla="*/ 782630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73061"/>
                      </a:moveTo>
                      <a:cubicBezTo>
                        <a:pt x="566816" y="73061"/>
                        <a:pt x="709569" y="215814"/>
                        <a:pt x="709569" y="391315"/>
                      </a:cubicBezTo>
                      <a:cubicBezTo>
                        <a:pt x="709569" y="566816"/>
                        <a:pt x="566816" y="709569"/>
                        <a:pt x="391315" y="709569"/>
                      </a:cubicBezTo>
                      <a:cubicBezTo>
                        <a:pt x="215815" y="709569"/>
                        <a:pt x="73061" y="566816"/>
                        <a:pt x="73061" y="391315"/>
                      </a:cubicBezTo>
                      <a:cubicBezTo>
                        <a:pt x="73061" y="215814"/>
                        <a:pt x="215815" y="73061"/>
                        <a:pt x="391315" y="73061"/>
                      </a:cubicBezTo>
                      <a:moveTo>
                        <a:pt x="391315" y="0"/>
                      </a:moveTo>
                      <a:cubicBezTo>
                        <a:pt x="175205" y="0"/>
                        <a:pt x="0" y="175205"/>
                        <a:pt x="0" y="391315"/>
                      </a:cubicBezTo>
                      <a:cubicBezTo>
                        <a:pt x="0" y="607425"/>
                        <a:pt x="175205" y="782630"/>
                        <a:pt x="391315" y="782630"/>
                      </a:cubicBezTo>
                      <a:cubicBezTo>
                        <a:pt x="607426" y="782630"/>
                        <a:pt x="782630" y="607425"/>
                        <a:pt x="782630" y="391315"/>
                      </a:cubicBezTo>
                      <a:cubicBezTo>
                        <a:pt x="782630" y="175205"/>
                        <a:pt x="607426" y="0"/>
                        <a:pt x="391315" y="0"/>
                      </a:cubicBezTo>
                      <a:lnTo>
                        <a:pt x="391315" y="0"/>
                      </a:lnTo>
                      <a:close/>
                    </a:path>
                  </a:pathLst>
                </a:custGeom>
                <a:grpFill/>
                <a:ln w="5908" cap="flat">
                  <a:noFill/>
                  <a:prstDash val="solid"/>
                  <a:miter/>
                </a:ln>
              </p:spPr>
              <p:txBody>
                <a:bodyPr rtlCol="0" anchor="ctr"/>
                <a:lstStyle/>
                <a:p>
                  <a:endParaRPr lang="en-US"/>
                </a:p>
              </p:txBody>
            </p:sp>
            <p:sp>
              <p:nvSpPr>
                <p:cNvPr id="50" name="Freeform: Shape 22">
                  <a:extLst>
                    <a:ext uri="{FF2B5EF4-FFF2-40B4-BE49-F238E27FC236}">
                      <a16:creationId xmlns:a16="http://schemas.microsoft.com/office/drawing/2014/main" id="{077EC9C9-7256-FB9C-A9E8-FEA441CDF073}"/>
                    </a:ext>
                  </a:extLst>
                </p:cNvPr>
                <p:cNvSpPr/>
                <p:nvPr/>
              </p:nvSpPr>
              <p:spPr>
                <a:xfrm>
                  <a:off x="6695031" y="3038867"/>
                  <a:ext cx="782630" cy="782630"/>
                </a:xfrm>
                <a:custGeom>
                  <a:avLst/>
                  <a:gdLst>
                    <a:gd name="connsiteX0" fmla="*/ 782158 w 782630"/>
                    <a:gd name="connsiteY0" fmla="*/ 373818 h 782630"/>
                    <a:gd name="connsiteX1" fmla="*/ 782631 w 782630"/>
                    <a:gd name="connsiteY1" fmla="*/ 391315 h 782630"/>
                    <a:gd name="connsiteX2" fmla="*/ 779734 w 782630"/>
                    <a:gd name="connsiteY2" fmla="*/ 438131 h 782630"/>
                    <a:gd name="connsiteX3" fmla="*/ 391315 w 782630"/>
                    <a:gd name="connsiteY3" fmla="*/ 782630 h 782630"/>
                    <a:gd name="connsiteX4" fmla="*/ 0 w 782630"/>
                    <a:gd name="connsiteY4" fmla="*/ 391315 h 782630"/>
                    <a:gd name="connsiteX5" fmla="*/ 391315 w 782630"/>
                    <a:gd name="connsiteY5" fmla="*/ 0 h 782630"/>
                    <a:gd name="connsiteX6" fmla="*/ 755499 w 782630"/>
                    <a:gd name="connsiteY6" fmla="*/ 248148 h 782630"/>
                    <a:gd name="connsiteX7" fmla="*/ 675403 w 782630"/>
                    <a:gd name="connsiteY7" fmla="*/ 248148 h 782630"/>
                    <a:gd name="connsiteX8" fmla="*/ 391315 w 782630"/>
                    <a:gd name="connsiteY8" fmla="*/ 73120 h 782630"/>
                    <a:gd name="connsiteX9" fmla="*/ 73061 w 782630"/>
                    <a:gd name="connsiteY9" fmla="*/ 391374 h 782630"/>
                    <a:gd name="connsiteX10" fmla="*/ 391315 w 782630"/>
                    <a:gd name="connsiteY10" fmla="*/ 709628 h 782630"/>
                    <a:gd name="connsiteX11" fmla="*/ 706082 w 782630"/>
                    <a:gd name="connsiteY11" fmla="*/ 438249 h 782630"/>
                    <a:gd name="connsiteX12" fmla="*/ 391315 w 782630"/>
                    <a:gd name="connsiteY12" fmla="*/ 438249 h 782630"/>
                    <a:gd name="connsiteX13" fmla="*/ 391315 w 782630"/>
                    <a:gd name="connsiteY13" fmla="*/ 373937 h 782630"/>
                    <a:gd name="connsiteX14" fmla="*/ 782158 w 782630"/>
                    <a:gd name="connsiteY14" fmla="*/ 373937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630" h="782630">
                      <a:moveTo>
                        <a:pt x="782158" y="373818"/>
                      </a:moveTo>
                      <a:cubicBezTo>
                        <a:pt x="782394" y="379611"/>
                        <a:pt x="782631" y="385463"/>
                        <a:pt x="782631" y="391315"/>
                      </a:cubicBezTo>
                      <a:cubicBezTo>
                        <a:pt x="782631" y="407157"/>
                        <a:pt x="781567" y="422762"/>
                        <a:pt x="779734" y="438131"/>
                      </a:cubicBezTo>
                      <a:cubicBezTo>
                        <a:pt x="756563" y="632134"/>
                        <a:pt x="591584" y="782630"/>
                        <a:pt x="391315" y="782630"/>
                      </a:cubicBezTo>
                      <a:cubicBezTo>
                        <a:pt x="175205" y="782630"/>
                        <a:pt x="0" y="607425"/>
                        <a:pt x="0" y="391315"/>
                      </a:cubicBezTo>
                      <a:cubicBezTo>
                        <a:pt x="0" y="175205"/>
                        <a:pt x="175205" y="0"/>
                        <a:pt x="391315" y="0"/>
                      </a:cubicBezTo>
                      <a:cubicBezTo>
                        <a:pt x="556885" y="0"/>
                        <a:pt x="698279" y="102853"/>
                        <a:pt x="755499" y="248148"/>
                      </a:cubicBezTo>
                      <a:lnTo>
                        <a:pt x="675403" y="248148"/>
                      </a:lnTo>
                      <a:cubicBezTo>
                        <a:pt x="622912" y="144408"/>
                        <a:pt x="515330" y="73120"/>
                        <a:pt x="391315" y="73120"/>
                      </a:cubicBezTo>
                      <a:cubicBezTo>
                        <a:pt x="215814" y="73120"/>
                        <a:pt x="73061" y="215874"/>
                        <a:pt x="73061" y="391374"/>
                      </a:cubicBezTo>
                      <a:cubicBezTo>
                        <a:pt x="73061" y="566875"/>
                        <a:pt x="215814" y="709628"/>
                        <a:pt x="391315" y="709628"/>
                      </a:cubicBezTo>
                      <a:cubicBezTo>
                        <a:pt x="550856" y="709628"/>
                        <a:pt x="683383" y="591584"/>
                        <a:pt x="706082" y="438249"/>
                      </a:cubicBezTo>
                      <a:lnTo>
                        <a:pt x="391315" y="438249"/>
                      </a:lnTo>
                      <a:lnTo>
                        <a:pt x="391315" y="373937"/>
                      </a:lnTo>
                      <a:lnTo>
                        <a:pt x="782158" y="373937"/>
                      </a:lnTo>
                      <a:close/>
                    </a:path>
                  </a:pathLst>
                </a:custGeom>
                <a:grpFill/>
                <a:ln w="5908" cap="flat">
                  <a:noFill/>
                  <a:prstDash val="solid"/>
                  <a:miter/>
                </a:ln>
              </p:spPr>
              <p:txBody>
                <a:bodyPr rtlCol="0" anchor="ctr"/>
                <a:lstStyle/>
                <a:p>
                  <a:endParaRPr lang="en-US"/>
                </a:p>
              </p:txBody>
            </p:sp>
            <p:sp>
              <p:nvSpPr>
                <p:cNvPr id="51" name="Freeform: Shape 23">
                  <a:extLst>
                    <a:ext uri="{FF2B5EF4-FFF2-40B4-BE49-F238E27FC236}">
                      <a16:creationId xmlns:a16="http://schemas.microsoft.com/office/drawing/2014/main" id="{56D4AE69-A81E-C75E-1F00-DF3BCCB38DE6}"/>
                    </a:ext>
                  </a:extLst>
                </p:cNvPr>
                <p:cNvSpPr/>
                <p:nvPr/>
              </p:nvSpPr>
              <p:spPr>
                <a:xfrm>
                  <a:off x="7605165" y="3047615"/>
                  <a:ext cx="568471" cy="765133"/>
                </a:xfrm>
                <a:custGeom>
                  <a:avLst/>
                  <a:gdLst>
                    <a:gd name="connsiteX0" fmla="*/ 568471 w 568471"/>
                    <a:gd name="connsiteY0" fmla="*/ 765134 h 765133"/>
                    <a:gd name="connsiteX1" fmla="*/ 348992 w 568471"/>
                    <a:gd name="connsiteY1" fmla="*/ 422644 h 765133"/>
                    <a:gd name="connsiteX2" fmla="*/ 523606 w 568471"/>
                    <a:gd name="connsiteY2" fmla="*/ 214218 h 765133"/>
                    <a:gd name="connsiteX3" fmla="*/ 288580 w 568471"/>
                    <a:gd name="connsiteY3" fmla="*/ 0 h 765133"/>
                    <a:gd name="connsiteX4" fmla="*/ 0 w 568471"/>
                    <a:gd name="connsiteY4" fmla="*/ 0 h 765133"/>
                    <a:gd name="connsiteX5" fmla="*/ 0 w 568471"/>
                    <a:gd name="connsiteY5" fmla="*/ 765134 h 765133"/>
                    <a:gd name="connsiteX6" fmla="*/ 73239 w 568471"/>
                    <a:gd name="connsiteY6" fmla="*/ 765134 h 765133"/>
                    <a:gd name="connsiteX7" fmla="*/ 73239 w 568471"/>
                    <a:gd name="connsiteY7" fmla="*/ 428496 h 765133"/>
                    <a:gd name="connsiteX8" fmla="*/ 270552 w 568471"/>
                    <a:gd name="connsiteY8" fmla="*/ 428496 h 765133"/>
                    <a:gd name="connsiteX9" fmla="*/ 480987 w 568471"/>
                    <a:gd name="connsiteY9" fmla="*/ 765134 h 765133"/>
                    <a:gd name="connsiteX10" fmla="*/ 568412 w 568471"/>
                    <a:gd name="connsiteY10" fmla="*/ 765134 h 765133"/>
                    <a:gd name="connsiteX11" fmla="*/ 73298 w 568471"/>
                    <a:gd name="connsiteY11" fmla="*/ 64490 h 765133"/>
                    <a:gd name="connsiteX12" fmla="*/ 283142 w 568471"/>
                    <a:gd name="connsiteY12" fmla="*/ 64490 h 765133"/>
                    <a:gd name="connsiteX13" fmla="*/ 450367 w 568471"/>
                    <a:gd name="connsiteY13" fmla="*/ 214218 h 765133"/>
                    <a:gd name="connsiteX14" fmla="*/ 283142 w 568471"/>
                    <a:gd name="connsiteY14" fmla="*/ 365070 h 765133"/>
                    <a:gd name="connsiteX15" fmla="*/ 73298 w 568471"/>
                    <a:gd name="connsiteY15" fmla="*/ 365070 h 765133"/>
                    <a:gd name="connsiteX16" fmla="*/ 73298 w 568471"/>
                    <a:gd name="connsiteY16" fmla="*/ 6449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471" h="765133">
                      <a:moveTo>
                        <a:pt x="568471" y="765134"/>
                      </a:moveTo>
                      <a:lnTo>
                        <a:pt x="348992" y="422644"/>
                      </a:lnTo>
                      <a:cubicBezTo>
                        <a:pt x="456397" y="401660"/>
                        <a:pt x="523606" y="323870"/>
                        <a:pt x="523606" y="214218"/>
                      </a:cubicBezTo>
                      <a:cubicBezTo>
                        <a:pt x="523606" y="85238"/>
                        <a:pt x="430684" y="0"/>
                        <a:pt x="288580" y="0"/>
                      </a:cubicBezTo>
                      <a:lnTo>
                        <a:pt x="0" y="0"/>
                      </a:lnTo>
                      <a:lnTo>
                        <a:pt x="0" y="765134"/>
                      </a:lnTo>
                      <a:lnTo>
                        <a:pt x="73239" y="765134"/>
                      </a:lnTo>
                      <a:lnTo>
                        <a:pt x="73239" y="428496"/>
                      </a:lnTo>
                      <a:lnTo>
                        <a:pt x="270552" y="428496"/>
                      </a:lnTo>
                      <a:lnTo>
                        <a:pt x="480987" y="765134"/>
                      </a:lnTo>
                      <a:lnTo>
                        <a:pt x="568412" y="765134"/>
                      </a:lnTo>
                      <a:close/>
                      <a:moveTo>
                        <a:pt x="73298" y="64490"/>
                      </a:moveTo>
                      <a:lnTo>
                        <a:pt x="283142" y="64490"/>
                      </a:lnTo>
                      <a:cubicBezTo>
                        <a:pt x="384813" y="64490"/>
                        <a:pt x="450367" y="124606"/>
                        <a:pt x="450367" y="214218"/>
                      </a:cubicBezTo>
                      <a:cubicBezTo>
                        <a:pt x="450367" y="303831"/>
                        <a:pt x="384754" y="365070"/>
                        <a:pt x="283142" y="365070"/>
                      </a:cubicBezTo>
                      <a:lnTo>
                        <a:pt x="73298" y="365070"/>
                      </a:lnTo>
                      <a:lnTo>
                        <a:pt x="73298" y="64490"/>
                      </a:lnTo>
                      <a:close/>
                    </a:path>
                  </a:pathLst>
                </a:custGeom>
                <a:grpFill/>
                <a:ln w="5908" cap="flat">
                  <a:noFill/>
                  <a:prstDash val="solid"/>
                  <a:miter/>
                </a:ln>
              </p:spPr>
              <p:txBody>
                <a:bodyPr rtlCol="0" anchor="ctr"/>
                <a:lstStyle/>
                <a:p>
                  <a:endParaRPr lang="en-US"/>
                </a:p>
              </p:txBody>
            </p:sp>
          </p:grpSp>
        </p:grpSp>
        <p:sp>
          <p:nvSpPr>
            <p:cNvPr id="58" name="TekstSylinder 57">
              <a:extLst>
                <a:ext uri="{FF2B5EF4-FFF2-40B4-BE49-F238E27FC236}">
                  <a16:creationId xmlns:a16="http://schemas.microsoft.com/office/drawing/2014/main" id="{5F2C34F1-BD69-BA7F-7870-8AA126B4E7E8}"/>
                </a:ext>
              </a:extLst>
            </p:cNvPr>
            <p:cNvSpPr txBox="1"/>
            <p:nvPr userDrawn="1"/>
          </p:nvSpPr>
          <p:spPr>
            <a:xfrm>
              <a:off x="4866085" y="3771505"/>
              <a:ext cx="4273927" cy="400110"/>
            </a:xfrm>
            <a:prstGeom prst="rect">
              <a:avLst/>
            </a:prstGeom>
            <a:noFill/>
          </p:spPr>
          <p:txBody>
            <a:bodyPr wrap="square" rtlCol="0">
              <a:spAutoFit/>
            </a:bodyPr>
            <a:lstStyle/>
            <a:p>
              <a:r>
                <a:rPr lang="nb-NO" sz="2000">
                  <a:solidFill>
                    <a:schemeClr val="tx2"/>
                  </a:solidFill>
                  <a:latin typeface="Haffer" pitchFamily="2" charset="77"/>
                  <a:cs typeface="Haffer" pitchFamily="2" charset="77"/>
                </a:rPr>
                <a:t>– at </a:t>
              </a:r>
              <a:r>
                <a:rPr lang="nb-NO" sz="2000" err="1">
                  <a:solidFill>
                    <a:schemeClr val="tx2"/>
                  </a:solidFill>
                  <a:latin typeface="Haffer" pitchFamily="2" charset="77"/>
                  <a:cs typeface="Haffer" pitchFamily="2" charset="77"/>
                </a:rPr>
                <a:t>the</a:t>
              </a:r>
              <a:r>
                <a:rPr lang="nb-NO" sz="2000">
                  <a:solidFill>
                    <a:schemeClr val="tx2"/>
                  </a:solidFill>
                  <a:latin typeface="Haffer" pitchFamily="2" charset="77"/>
                  <a:cs typeface="Haffer" pitchFamily="2" charset="77"/>
                </a:rPr>
                <a:t> forefront </a:t>
              </a:r>
              <a:r>
                <a:rPr lang="nb-NO" sz="2000" err="1">
                  <a:solidFill>
                    <a:schemeClr val="tx2"/>
                  </a:solidFill>
                  <a:latin typeface="Haffer" pitchFamily="2" charset="77"/>
                  <a:cs typeface="Haffer" pitchFamily="2" charset="77"/>
                </a:rPr>
                <a:t>of</a:t>
              </a:r>
              <a:r>
                <a:rPr lang="nb-NO" sz="2000">
                  <a:solidFill>
                    <a:schemeClr val="tx2"/>
                  </a:solidFill>
                  <a:latin typeface="Haffer" pitchFamily="2" charset="77"/>
                  <a:cs typeface="Haffer" pitchFamily="2" charset="77"/>
                </a:rPr>
                <a:t> </a:t>
              </a:r>
              <a:r>
                <a:rPr lang="nb-NO" sz="2000" err="1">
                  <a:solidFill>
                    <a:schemeClr val="tx2"/>
                  </a:solidFill>
                  <a:latin typeface="Haffer" pitchFamily="2" charset="77"/>
                  <a:cs typeface="Haffer" pitchFamily="2" charset="77"/>
                </a:rPr>
                <a:t>energy</a:t>
              </a:r>
              <a:r>
                <a:rPr lang="nb-NO" sz="2000">
                  <a:solidFill>
                    <a:schemeClr val="tx2"/>
                  </a:solidFill>
                  <a:latin typeface="Haffer" pitchFamily="2" charset="77"/>
                  <a:cs typeface="Haffer" pitchFamily="2" charset="77"/>
                </a:rPr>
                <a:t> </a:t>
              </a:r>
              <a:r>
                <a:rPr lang="nb-NO" sz="2000" err="1">
                  <a:solidFill>
                    <a:schemeClr val="tx2"/>
                  </a:solidFill>
                  <a:latin typeface="Haffer" pitchFamily="2" charset="77"/>
                  <a:cs typeface="Haffer" pitchFamily="2" charset="77"/>
                </a:rPr>
                <a:t>markets</a:t>
              </a:r>
              <a:endParaRPr lang="nb-NO" sz="2000">
                <a:solidFill>
                  <a:schemeClr val="tx2"/>
                </a:solidFill>
                <a:latin typeface="Haffer" pitchFamily="2" charset="77"/>
                <a:cs typeface="Haffer" pitchFamily="2" charset="77"/>
              </a:endParaRPr>
            </a:p>
          </p:txBody>
        </p:sp>
      </p:grpSp>
    </p:spTree>
    <p:extLst>
      <p:ext uri="{BB962C8B-B14F-4D97-AF65-F5344CB8AC3E}">
        <p14:creationId xmlns:p14="http://schemas.microsoft.com/office/powerpoint/2010/main" val="86356328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15736A9D-E119-D712-7A6C-6605C559F18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1BF7B944-EFD1-42D5-2F71-8C93423DCE1F}"/>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4064217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688082E-0041-A782-48BF-0372E2E1DB54}"/>
              </a:ext>
            </a:extLst>
          </p:cNvPr>
          <p:cNvSpPr>
            <a:spLocks noGrp="1"/>
          </p:cNvSpPr>
          <p:nvPr>
            <p:ph type="pic" sz="quarter" idx="36" hasCustomPrompt="1"/>
          </p:nvPr>
        </p:nvSpPr>
        <p:spPr>
          <a:xfrm>
            <a:off x="0" y="0"/>
            <a:ext cx="12192000" cy="6858000"/>
          </a:xfrm>
          <a:noFill/>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0" name="Text Placeholder 9">
            <a:extLst>
              <a:ext uri="{FF2B5EF4-FFF2-40B4-BE49-F238E27FC236}">
                <a16:creationId xmlns:a16="http://schemas.microsoft.com/office/drawing/2014/main" id="{1A5A7469-1CDC-3D9B-5A55-EC5263B0209D}"/>
              </a:ext>
            </a:extLst>
          </p:cNvPr>
          <p:cNvSpPr>
            <a:spLocks noGrp="1"/>
          </p:cNvSpPr>
          <p:nvPr>
            <p:ph type="body" sz="quarter" idx="37" hasCustomPrompt="1"/>
          </p:nvPr>
        </p:nvSpPr>
        <p:spPr>
          <a:xfrm>
            <a:off x="382588" y="1920910"/>
            <a:ext cx="8517168" cy="4581037"/>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vl5pPr marL="1616075" indent="0">
              <a:buNone/>
              <a:defRPr/>
            </a:lvl5pPr>
          </a:lstStyle>
          <a:p>
            <a:pPr lvl="0"/>
            <a:r>
              <a:rPr lang="en-GB"/>
              <a:t> </a:t>
            </a:r>
          </a:p>
        </p:txBody>
      </p:sp>
      <p:graphicFrame>
        <p:nvGraphicFramePr>
          <p:cNvPr id="2" name="Object 1" hidden="1">
            <a:extLst>
              <a:ext uri="{FF2B5EF4-FFF2-40B4-BE49-F238E27FC236}">
                <a16:creationId xmlns:a16="http://schemas.microsoft.com/office/drawing/2014/main" id="{4C836B75-95D5-10B9-C762-236304748B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2" name="Object 1" hidden="1">
                        <a:extLst>
                          <a:ext uri="{FF2B5EF4-FFF2-40B4-BE49-F238E27FC236}">
                            <a16:creationId xmlns:a16="http://schemas.microsoft.com/office/drawing/2014/main" id="{4C836B75-95D5-10B9-C762-236304748B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Titel 32">
            <a:extLst>
              <a:ext uri="{FF2B5EF4-FFF2-40B4-BE49-F238E27FC236}">
                <a16:creationId xmlns:a16="http://schemas.microsoft.com/office/drawing/2014/main" id="{D8BF3EE4-385A-D03A-0172-38A912799F38}"/>
              </a:ext>
            </a:extLst>
          </p:cNvPr>
          <p:cNvSpPr>
            <a:spLocks noGrp="1"/>
          </p:cNvSpPr>
          <p:nvPr>
            <p:ph type="title" hasCustomPrompt="1"/>
          </p:nvPr>
        </p:nvSpPr>
        <p:spPr bwMode="gray">
          <a:xfrm>
            <a:off x="773723" y="2615013"/>
            <a:ext cx="7163777" cy="2351437"/>
          </a:xfrm>
        </p:spPr>
        <p:txBody>
          <a:bodyPr vert="horz" anchor="t" anchorCtr="0">
            <a:noAutofit/>
          </a:bodyPr>
          <a:lstStyle>
            <a:lvl1pPr>
              <a:defRPr sz="4000">
                <a:solidFill>
                  <a:schemeClr val="bg1"/>
                </a:solidFill>
              </a:defRPr>
            </a:lvl1pPr>
          </a:lstStyle>
          <a:p>
            <a:r>
              <a:rPr lang="en-US" noProof="0"/>
              <a:t>Presentation title</a:t>
            </a:r>
          </a:p>
        </p:txBody>
      </p:sp>
      <p:sp>
        <p:nvSpPr>
          <p:cNvPr id="3" name="Datumsplatzhalter 58">
            <a:extLst>
              <a:ext uri="{FF2B5EF4-FFF2-40B4-BE49-F238E27FC236}">
                <a16:creationId xmlns:a16="http://schemas.microsoft.com/office/drawing/2014/main" id="{97E48789-2B24-2C14-7FB7-FBF6B63CAAEB}"/>
              </a:ext>
            </a:extLst>
          </p:cNvPr>
          <p:cNvSpPr>
            <a:spLocks noGrp="1"/>
          </p:cNvSpPr>
          <p:nvPr>
            <p:ph type="dt" sz="half" idx="18"/>
          </p:nvPr>
        </p:nvSpPr>
        <p:spPr bwMode="gray">
          <a:xfrm>
            <a:off x="773723" y="5903734"/>
            <a:ext cx="7163777" cy="192897"/>
          </a:xfrm>
          <a:prstGeom prst="rect">
            <a:avLst/>
          </a:prstGeom>
        </p:spPr>
        <p:txBody>
          <a:bodyPr/>
          <a:lstStyle>
            <a:lvl1pPr>
              <a:defRPr sz="1200">
                <a:solidFill>
                  <a:schemeClr val="bg1"/>
                </a:solidFill>
              </a:defRPr>
            </a:lvl1pPr>
          </a:lstStyle>
          <a:p>
            <a:fld id="{49913A72-4660-4190-8985-7285A51C7DB1}" type="datetime1">
              <a:rPr lang="en-US" noProof="0" smtClean="0"/>
              <a:t>10/31/2024</a:t>
            </a:fld>
            <a:endParaRPr lang="en-US" noProof="0"/>
          </a:p>
        </p:txBody>
      </p:sp>
      <p:sp>
        <p:nvSpPr>
          <p:cNvPr id="4" name="Fußzeilenplatzhalter 59">
            <a:extLst>
              <a:ext uri="{FF2B5EF4-FFF2-40B4-BE49-F238E27FC236}">
                <a16:creationId xmlns:a16="http://schemas.microsoft.com/office/drawing/2014/main" id="{5B204CA9-F463-D119-1E79-262C41A493F2}"/>
              </a:ext>
            </a:extLst>
          </p:cNvPr>
          <p:cNvSpPr>
            <a:spLocks noGrp="1"/>
          </p:cNvSpPr>
          <p:nvPr>
            <p:ph type="ftr" sz="quarter" idx="11"/>
          </p:nvPr>
        </p:nvSpPr>
        <p:spPr bwMode="gray">
          <a:xfrm>
            <a:off x="773723" y="5648737"/>
            <a:ext cx="7163777" cy="192897"/>
          </a:xfrm>
        </p:spPr>
        <p:txBody>
          <a:bodyPr anchor="b"/>
          <a:lstStyle>
            <a:lvl1pPr>
              <a:defRPr sz="1200">
                <a:solidFill>
                  <a:schemeClr val="bg1"/>
                </a:solidFill>
              </a:defRPr>
            </a:lvl1pPr>
          </a:lstStyle>
          <a:p>
            <a:r>
              <a:rPr lang="en-US" noProof="0"/>
              <a:t>Group Presentation</a:t>
            </a:r>
          </a:p>
        </p:txBody>
      </p:sp>
      <p:sp>
        <p:nvSpPr>
          <p:cNvPr id="5" name="Text Placeholder 7">
            <a:extLst>
              <a:ext uri="{FF2B5EF4-FFF2-40B4-BE49-F238E27FC236}">
                <a16:creationId xmlns:a16="http://schemas.microsoft.com/office/drawing/2014/main" id="{AE88F90A-D493-5516-335B-6823767F21BE}"/>
              </a:ext>
            </a:extLst>
          </p:cNvPr>
          <p:cNvSpPr>
            <a:spLocks noGrp="1" noChangeAspect="1"/>
          </p:cNvSpPr>
          <p:nvPr>
            <p:ph type="body" sz="quarter" idx="35" hasCustomPrompt="1"/>
          </p:nvPr>
        </p:nvSpPr>
        <p:spPr>
          <a:xfrm>
            <a:off x="11118212" y="370764"/>
            <a:ext cx="691200" cy="691200"/>
          </a:xfrm>
          <a:blipFill>
            <a:blip r:embed="rId7"/>
            <a:stretch>
              <a:fillRect/>
            </a:stretch>
          </a:blipFill>
        </p:spPr>
        <p:txBody>
          <a:bodyPr/>
          <a:lstStyle>
            <a:lvl1pPr>
              <a:defRPr sz="100"/>
            </a:lvl1pPr>
          </a:lstStyle>
          <a:p>
            <a:pPr lvl="0"/>
            <a:r>
              <a:rPr lang="de-DE"/>
              <a:t> </a:t>
            </a:r>
            <a:endParaRPr lang="en-US"/>
          </a:p>
        </p:txBody>
      </p:sp>
      <p:sp>
        <p:nvSpPr>
          <p:cNvPr id="9" name="Bildplatzhalter 19">
            <a:extLst>
              <a:ext uri="{FF2B5EF4-FFF2-40B4-BE49-F238E27FC236}">
                <a16:creationId xmlns:a16="http://schemas.microsoft.com/office/drawing/2014/main" id="{87E62702-31F3-852D-7836-237E1276712F}"/>
              </a:ext>
            </a:extLst>
          </p:cNvPr>
          <p:cNvSpPr>
            <a:spLocks noGrp="1" noChangeAspect="1"/>
          </p:cNvSpPr>
          <p:nvPr>
            <p:ph type="pic" sz="quarter" idx="17" hasCustomPrompt="1"/>
          </p:nvPr>
        </p:nvSpPr>
        <p:spPr bwMode="gray">
          <a:xfrm>
            <a:off x="382588" y="384175"/>
            <a:ext cx="2712032" cy="263691"/>
          </a:xfrm>
          <a:blipFill>
            <a:blip r:embed="rId8"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5420512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148992-DA70-DDC1-200A-390558D8D8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6" name="Object 5" hidden="1">
                        <a:extLst>
                          <a:ext uri="{FF2B5EF4-FFF2-40B4-BE49-F238E27FC236}">
                            <a16:creationId xmlns:a16="http://schemas.microsoft.com/office/drawing/2014/main" id="{F0148992-DA70-DDC1-200A-390558D8D8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7">
            <a:extLst>
              <a:ext uri="{FF2B5EF4-FFF2-40B4-BE49-F238E27FC236}">
                <a16:creationId xmlns:a16="http://schemas.microsoft.com/office/drawing/2014/main" id="{DDF05E62-E407-08E0-E750-6112ECAAF915}"/>
              </a:ext>
            </a:extLst>
          </p:cNvPr>
          <p:cNvSpPr>
            <a:spLocks noGrp="1"/>
          </p:cNvSpPr>
          <p:nvPr>
            <p:ph type="pic" sz="quarter" idx="36" hasCustomPrompt="1"/>
          </p:nvPr>
        </p:nvSpPr>
        <p:spPr>
          <a:xfrm>
            <a:off x="0" y="0"/>
            <a:ext cx="12192000" cy="6858000"/>
          </a:xfrm>
          <a:noFill/>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4" name="Text Placeholder 3">
            <a:extLst>
              <a:ext uri="{FF2B5EF4-FFF2-40B4-BE49-F238E27FC236}">
                <a16:creationId xmlns:a16="http://schemas.microsoft.com/office/drawing/2014/main" id="{CCC84020-6BC7-6F3A-B0D7-265E2C987CF0}"/>
              </a:ext>
            </a:extLst>
          </p:cNvPr>
          <p:cNvSpPr>
            <a:spLocks noGrp="1"/>
          </p:cNvSpPr>
          <p:nvPr>
            <p:ph type="body" sz="quarter" idx="39" hasCustomPrompt="1"/>
          </p:nvPr>
        </p:nvSpPr>
        <p:spPr>
          <a:xfrm>
            <a:off x="382587" y="370800"/>
            <a:ext cx="6570663" cy="3851275"/>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US"/>
              <a:t> </a:t>
            </a:r>
          </a:p>
        </p:txBody>
      </p:sp>
      <p:sp>
        <p:nvSpPr>
          <p:cNvPr id="17" name="Titel 16">
            <a:extLst>
              <a:ext uri="{FF2B5EF4-FFF2-40B4-BE49-F238E27FC236}">
                <a16:creationId xmlns:a16="http://schemas.microsoft.com/office/drawing/2014/main" id="{4E0FC179-7CC2-79F2-EE8D-9237AE0B1B05}"/>
              </a:ext>
            </a:extLst>
          </p:cNvPr>
          <p:cNvSpPr>
            <a:spLocks noGrp="1"/>
          </p:cNvSpPr>
          <p:nvPr>
            <p:ph type="title" hasCustomPrompt="1"/>
          </p:nvPr>
        </p:nvSpPr>
        <p:spPr bwMode="gray">
          <a:xfrm>
            <a:off x="760164" y="1105231"/>
            <a:ext cx="5235824" cy="2128507"/>
          </a:xfrm>
        </p:spPr>
        <p:txBody>
          <a:bodyPr vert="horz" anchor="t" anchorCtr="0">
            <a:noAutofit/>
          </a:bodyPr>
          <a:lstStyle>
            <a:lvl1pPr>
              <a:defRPr sz="4000">
                <a:solidFill>
                  <a:schemeClr val="bg1"/>
                </a:solidFill>
              </a:defRPr>
            </a:lvl1pPr>
          </a:lstStyle>
          <a:p>
            <a:r>
              <a:rPr lang="en-US" noProof="0"/>
              <a:t>Presentation title</a:t>
            </a:r>
          </a:p>
        </p:txBody>
      </p:sp>
      <p:sp>
        <p:nvSpPr>
          <p:cNvPr id="5" name="Datumsplatzhalter 58">
            <a:extLst>
              <a:ext uri="{FF2B5EF4-FFF2-40B4-BE49-F238E27FC236}">
                <a16:creationId xmlns:a16="http://schemas.microsoft.com/office/drawing/2014/main" id="{9C26AB0A-833A-F38E-B779-0B91251A3662}"/>
              </a:ext>
            </a:extLst>
          </p:cNvPr>
          <p:cNvSpPr>
            <a:spLocks noGrp="1"/>
          </p:cNvSpPr>
          <p:nvPr>
            <p:ph type="dt" sz="half" idx="18"/>
          </p:nvPr>
        </p:nvSpPr>
        <p:spPr bwMode="gray">
          <a:xfrm>
            <a:off x="760164" y="3649364"/>
            <a:ext cx="5235824" cy="192897"/>
          </a:xfrm>
          <a:prstGeom prst="rect">
            <a:avLst/>
          </a:prstGeom>
        </p:spPr>
        <p:txBody>
          <a:bodyPr/>
          <a:lstStyle>
            <a:lvl1pPr>
              <a:defRPr sz="1200">
                <a:solidFill>
                  <a:schemeClr val="bg1"/>
                </a:solidFill>
              </a:defRPr>
            </a:lvl1pPr>
          </a:lstStyle>
          <a:p>
            <a:fld id="{8FDA7712-9B2E-459D-A29A-AC64FF7909D3}" type="datetime1">
              <a:rPr lang="en-US" noProof="0" smtClean="0"/>
              <a:t>10/31/2024</a:t>
            </a:fld>
            <a:endParaRPr lang="en-US" noProof="0"/>
          </a:p>
        </p:txBody>
      </p:sp>
      <p:sp>
        <p:nvSpPr>
          <p:cNvPr id="7" name="Fußzeilenplatzhalter 59">
            <a:extLst>
              <a:ext uri="{FF2B5EF4-FFF2-40B4-BE49-F238E27FC236}">
                <a16:creationId xmlns:a16="http://schemas.microsoft.com/office/drawing/2014/main" id="{EDC5C50B-FB82-16E1-DF81-9FE7C54439DE}"/>
              </a:ext>
            </a:extLst>
          </p:cNvPr>
          <p:cNvSpPr>
            <a:spLocks noGrp="1"/>
          </p:cNvSpPr>
          <p:nvPr>
            <p:ph type="ftr" sz="quarter" idx="11"/>
          </p:nvPr>
        </p:nvSpPr>
        <p:spPr bwMode="gray">
          <a:xfrm>
            <a:off x="760164" y="3394367"/>
            <a:ext cx="5235824" cy="192897"/>
          </a:xfrm>
        </p:spPr>
        <p:txBody>
          <a:bodyPr anchor="b"/>
          <a:lstStyle>
            <a:lvl1pPr>
              <a:defRPr sz="1200">
                <a:solidFill>
                  <a:schemeClr val="bg1"/>
                </a:solidFill>
              </a:defRPr>
            </a:lvl1pPr>
          </a:lstStyle>
          <a:p>
            <a:r>
              <a:rPr lang="en-US" noProof="0"/>
              <a:t>Group Presentation</a:t>
            </a:r>
          </a:p>
        </p:txBody>
      </p:sp>
      <p:sp>
        <p:nvSpPr>
          <p:cNvPr id="2" name="Bildplatzhalter 19">
            <a:extLst>
              <a:ext uri="{FF2B5EF4-FFF2-40B4-BE49-F238E27FC236}">
                <a16:creationId xmlns:a16="http://schemas.microsoft.com/office/drawing/2014/main" id="{066FCD21-EA0D-C835-2F14-FDAD793E4DC9}"/>
              </a:ext>
            </a:extLst>
          </p:cNvPr>
          <p:cNvSpPr>
            <a:spLocks noGrp="1" noChangeAspect="1"/>
          </p:cNvSpPr>
          <p:nvPr>
            <p:ph type="pic" sz="quarter" idx="17" hasCustomPrompt="1"/>
          </p:nvPr>
        </p:nvSpPr>
        <p:spPr bwMode="gray">
          <a:xfrm>
            <a:off x="382588" y="6284902"/>
            <a:ext cx="2712042" cy="263691"/>
          </a:xfrm>
          <a:blipFill>
            <a:blip r:embed="rId7"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10" name="Text Placeholder 9">
            <a:extLst>
              <a:ext uri="{FF2B5EF4-FFF2-40B4-BE49-F238E27FC236}">
                <a16:creationId xmlns:a16="http://schemas.microsoft.com/office/drawing/2014/main" id="{F898F2BC-5256-0E86-29AA-14C797F9C3D2}"/>
              </a:ext>
            </a:extLst>
          </p:cNvPr>
          <p:cNvSpPr>
            <a:spLocks noGrp="1"/>
          </p:cNvSpPr>
          <p:nvPr>
            <p:ph type="body" sz="quarter" idx="19" hasCustomPrompt="1"/>
          </p:nvPr>
        </p:nvSpPr>
        <p:spPr>
          <a:xfrm>
            <a:off x="11113294" y="5799609"/>
            <a:ext cx="690091" cy="690091"/>
          </a:xfrm>
          <a:blipFill>
            <a:blip r:embed="rId8">
              <a:extLst>
                <a:ext uri="{96DAC541-7B7A-43D3-8B79-37D633B846F1}">
                  <asvg:svgBlip xmlns:asvg="http://schemas.microsoft.com/office/drawing/2016/SVG/main" r:embed="rId9"/>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7308972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150A11-41CD-9D00-B3CF-B7A18A0ADA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3" name="Object 2" hidden="1">
                        <a:extLst>
                          <a:ext uri="{FF2B5EF4-FFF2-40B4-BE49-F238E27FC236}">
                            <a16:creationId xmlns:a16="http://schemas.microsoft.com/office/drawing/2014/main" id="{C3150A11-41CD-9D00-B3CF-B7A18A0ADA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AB32F14A-3FBA-B3E4-533C-636E1B8257E6}"/>
              </a:ext>
            </a:extLst>
          </p:cNvPr>
          <p:cNvSpPr>
            <a:spLocks noGrp="1"/>
          </p:cNvSpPr>
          <p:nvPr>
            <p:ph type="pic" sz="quarter" idx="39" hasCustomPrompt="1"/>
          </p:nvPr>
        </p:nvSpPr>
        <p:spPr>
          <a:xfrm>
            <a:off x="0" y="0"/>
            <a:ext cx="12192000" cy="6858000"/>
          </a:xfrm>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US"/>
          </a:p>
        </p:txBody>
      </p:sp>
      <p:sp>
        <p:nvSpPr>
          <p:cNvPr id="13" name="Text Placeholder 12">
            <a:extLst>
              <a:ext uri="{FF2B5EF4-FFF2-40B4-BE49-F238E27FC236}">
                <a16:creationId xmlns:a16="http://schemas.microsoft.com/office/drawing/2014/main" id="{B11A0B99-7CE0-5560-A4B9-FCD50E14B969}"/>
              </a:ext>
            </a:extLst>
          </p:cNvPr>
          <p:cNvSpPr>
            <a:spLocks noGrp="1" noChangeAspect="1"/>
          </p:cNvSpPr>
          <p:nvPr>
            <p:ph type="body" sz="quarter" idx="38"/>
          </p:nvPr>
        </p:nvSpPr>
        <p:spPr>
          <a:xfrm>
            <a:off x="6091072" y="3049940"/>
            <a:ext cx="4061728" cy="2860508"/>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de-DE"/>
              <a:t>Mastertextformat bearbeiten</a:t>
            </a:r>
          </a:p>
        </p:txBody>
      </p:sp>
      <p:sp>
        <p:nvSpPr>
          <p:cNvPr id="11" name="Text Placeholder 10">
            <a:extLst>
              <a:ext uri="{FF2B5EF4-FFF2-40B4-BE49-F238E27FC236}">
                <a16:creationId xmlns:a16="http://schemas.microsoft.com/office/drawing/2014/main" id="{7ED86478-AFD3-DDEF-2EDB-8D876D424EB2}"/>
              </a:ext>
            </a:extLst>
          </p:cNvPr>
          <p:cNvSpPr>
            <a:spLocks noGrp="1"/>
          </p:cNvSpPr>
          <p:nvPr>
            <p:ph type="body" sz="quarter" idx="37" hasCustomPrompt="1"/>
          </p:nvPr>
        </p:nvSpPr>
        <p:spPr>
          <a:xfrm>
            <a:off x="878305" y="757238"/>
            <a:ext cx="6880352" cy="4145630"/>
          </a:xfrm>
          <a:blipFill>
            <a:blip r:embed="rId7">
              <a:extLst>
                <a:ext uri="{96DAC541-7B7A-43D3-8B79-37D633B846F1}">
                  <asvg:svgBlip xmlns:asvg="http://schemas.microsoft.com/office/drawing/2016/SVG/main" r:embed="rId8"/>
                </a:ext>
              </a:extLst>
            </a:blip>
            <a:stretch>
              <a:fillRect/>
            </a:stretch>
          </a:blipFill>
        </p:spPr>
        <p:txBody>
          <a:bodyPr/>
          <a:lstStyle>
            <a:lvl1pPr>
              <a:defRPr sz="100"/>
            </a:lvl1pPr>
          </a:lstStyle>
          <a:p>
            <a:pPr lvl="0"/>
            <a:r>
              <a:rPr lang="en-GB"/>
              <a:t> </a:t>
            </a:r>
          </a:p>
        </p:txBody>
      </p:sp>
      <p:sp>
        <p:nvSpPr>
          <p:cNvPr id="59" name="Datumsplatzhalter 58">
            <a:extLst>
              <a:ext uri="{FF2B5EF4-FFF2-40B4-BE49-F238E27FC236}">
                <a16:creationId xmlns:a16="http://schemas.microsoft.com/office/drawing/2014/main" id="{476C2453-25F2-3AC3-DA16-43039B26A11A}"/>
              </a:ext>
            </a:extLst>
          </p:cNvPr>
          <p:cNvSpPr>
            <a:spLocks noGrp="1"/>
          </p:cNvSpPr>
          <p:nvPr>
            <p:ph type="dt" sz="half" idx="10"/>
          </p:nvPr>
        </p:nvSpPr>
        <p:spPr bwMode="gray">
          <a:xfrm>
            <a:off x="1666016" y="4341166"/>
            <a:ext cx="5322957" cy="192897"/>
          </a:xfrm>
          <a:prstGeom prst="rect">
            <a:avLst/>
          </a:prstGeom>
        </p:spPr>
        <p:txBody>
          <a:bodyPr/>
          <a:lstStyle>
            <a:lvl1pPr>
              <a:defRPr sz="1200">
                <a:solidFill>
                  <a:schemeClr val="bg1"/>
                </a:solidFill>
              </a:defRPr>
            </a:lvl1pPr>
          </a:lstStyle>
          <a:p>
            <a:fld id="{F97B765F-3906-40C9-B3D0-853F96397668}" type="datetime1">
              <a:rPr lang="en-US" noProof="0" smtClean="0"/>
              <a:t>10/31/2024</a:t>
            </a:fld>
            <a:endParaRPr lang="en-US" noProof="0"/>
          </a:p>
        </p:txBody>
      </p:sp>
      <p:sp>
        <p:nvSpPr>
          <p:cNvPr id="60" name="Fußzeilenplatzhalter 59">
            <a:extLst>
              <a:ext uri="{FF2B5EF4-FFF2-40B4-BE49-F238E27FC236}">
                <a16:creationId xmlns:a16="http://schemas.microsoft.com/office/drawing/2014/main" id="{5478043B-0235-3707-F01E-E07D22B98BAA}"/>
              </a:ext>
            </a:extLst>
          </p:cNvPr>
          <p:cNvSpPr>
            <a:spLocks noGrp="1"/>
          </p:cNvSpPr>
          <p:nvPr>
            <p:ph type="ftr" sz="quarter" idx="11"/>
          </p:nvPr>
        </p:nvSpPr>
        <p:spPr bwMode="gray">
          <a:xfrm>
            <a:off x="1666016" y="4086169"/>
            <a:ext cx="5322957" cy="192897"/>
          </a:xfrm>
        </p:spPr>
        <p:txBody>
          <a:bodyPr anchor="b"/>
          <a:lstStyle>
            <a:lvl1pPr>
              <a:defRPr sz="1200">
                <a:solidFill>
                  <a:schemeClr val="bg1"/>
                </a:solidFill>
              </a:defRPr>
            </a:lvl1pPr>
          </a:lstStyle>
          <a:p>
            <a:r>
              <a:rPr lang="en-US" noProof="0"/>
              <a:t>Group Presentation</a:t>
            </a:r>
          </a:p>
        </p:txBody>
      </p:sp>
      <p:sp>
        <p:nvSpPr>
          <p:cNvPr id="2" name="Titel 57">
            <a:extLst>
              <a:ext uri="{FF2B5EF4-FFF2-40B4-BE49-F238E27FC236}">
                <a16:creationId xmlns:a16="http://schemas.microsoft.com/office/drawing/2014/main" id="{DFDB1623-80CC-3E4C-4375-0FFD5EE3DAE0}"/>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bg1"/>
                </a:solidFill>
              </a:defRPr>
            </a:lvl1pPr>
          </a:lstStyle>
          <a:p>
            <a:r>
              <a:rPr lang="en-US" noProof="0"/>
              <a:t>Presentation title</a:t>
            </a:r>
          </a:p>
        </p:txBody>
      </p:sp>
      <p:sp>
        <p:nvSpPr>
          <p:cNvPr id="4" name="Bildplatzhalter 19">
            <a:extLst>
              <a:ext uri="{FF2B5EF4-FFF2-40B4-BE49-F238E27FC236}">
                <a16:creationId xmlns:a16="http://schemas.microsoft.com/office/drawing/2014/main" id="{D454C7FC-1F96-9BCA-2856-721642D7112C}"/>
              </a:ext>
            </a:extLst>
          </p:cNvPr>
          <p:cNvSpPr>
            <a:spLocks noGrp="1" noChangeAspect="1"/>
          </p:cNvSpPr>
          <p:nvPr>
            <p:ph type="pic" sz="quarter" idx="17" hasCustomPrompt="1"/>
          </p:nvPr>
        </p:nvSpPr>
        <p:spPr bwMode="gray">
          <a:xfrm>
            <a:off x="382588" y="6285600"/>
            <a:ext cx="2712042" cy="263691"/>
          </a:xfrm>
          <a:blipFill>
            <a:blip r:embed="rId9"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9" name="Text Placeholder 9">
            <a:extLst>
              <a:ext uri="{FF2B5EF4-FFF2-40B4-BE49-F238E27FC236}">
                <a16:creationId xmlns:a16="http://schemas.microsoft.com/office/drawing/2014/main" id="{F242258C-4892-5543-4CC5-38EAC0AFD848}"/>
              </a:ext>
            </a:extLst>
          </p:cNvPr>
          <p:cNvSpPr>
            <a:spLocks noGrp="1"/>
          </p:cNvSpPr>
          <p:nvPr>
            <p:ph type="body" sz="quarter" idx="19" hasCustomPrompt="1"/>
          </p:nvPr>
        </p:nvSpPr>
        <p:spPr>
          <a:xfrm>
            <a:off x="11113294" y="5799609"/>
            <a:ext cx="690091" cy="690091"/>
          </a:xfrm>
          <a:blipFill>
            <a:blip r:embed="rId10">
              <a:extLst>
                <a:ext uri="{96DAC541-7B7A-43D3-8B79-37D633B846F1}">
                  <asvg:svgBlip xmlns:asvg="http://schemas.microsoft.com/office/drawing/2016/SVG/main" r:embed="rId11"/>
                </a:ext>
              </a:extLst>
            </a:blip>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133809610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365621C1-C6DC-B27C-3DDA-A3856D50BD22}"/>
              </a:ext>
            </a:extLst>
          </p:cNvPr>
          <p:cNvSpPr>
            <a:spLocks noGrp="1"/>
          </p:cNvSpPr>
          <p:nvPr>
            <p:ph type="pic" sz="quarter" idx="36" hasCustomPrompt="1"/>
          </p:nvPr>
        </p:nvSpPr>
        <p:spPr>
          <a:xfrm>
            <a:off x="0" y="0"/>
            <a:ext cx="12192000" cy="6858000"/>
          </a:xfrm>
          <a:noFill/>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0" name="Text Placeholder 12">
            <a:extLst>
              <a:ext uri="{FF2B5EF4-FFF2-40B4-BE49-F238E27FC236}">
                <a16:creationId xmlns:a16="http://schemas.microsoft.com/office/drawing/2014/main" id="{81208EA0-E7A9-81F6-5763-2A3543A06056}"/>
              </a:ext>
            </a:extLst>
          </p:cNvPr>
          <p:cNvSpPr>
            <a:spLocks noGrp="1"/>
          </p:cNvSpPr>
          <p:nvPr>
            <p:ph type="body" sz="quarter" idx="38"/>
          </p:nvPr>
        </p:nvSpPr>
        <p:spPr bwMode="gray">
          <a:xfrm>
            <a:off x="6091072" y="3054964"/>
            <a:ext cx="4061728" cy="286050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de-DE"/>
              <a:t>Mastertextformat bearbeiten</a:t>
            </a:r>
          </a:p>
        </p:txBody>
      </p:sp>
      <p:sp>
        <p:nvSpPr>
          <p:cNvPr id="14" name="Text Placeholder 13">
            <a:extLst>
              <a:ext uri="{FF2B5EF4-FFF2-40B4-BE49-F238E27FC236}">
                <a16:creationId xmlns:a16="http://schemas.microsoft.com/office/drawing/2014/main" id="{DAA3A9CE-5368-A524-34A3-140952EB9AA2}"/>
              </a:ext>
            </a:extLst>
          </p:cNvPr>
          <p:cNvSpPr>
            <a:spLocks noGrp="1"/>
          </p:cNvSpPr>
          <p:nvPr>
            <p:ph type="body" sz="quarter" idx="39" hasCustomPrompt="1"/>
          </p:nvPr>
        </p:nvSpPr>
        <p:spPr bwMode="gray">
          <a:xfrm>
            <a:off x="878305" y="757238"/>
            <a:ext cx="6880352" cy="414563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a:t> </a:t>
            </a:r>
          </a:p>
        </p:txBody>
      </p:sp>
      <p:graphicFrame>
        <p:nvGraphicFramePr>
          <p:cNvPr id="4" name="Object 3" hidden="1">
            <a:extLst>
              <a:ext uri="{FF2B5EF4-FFF2-40B4-BE49-F238E27FC236}">
                <a16:creationId xmlns:a16="http://schemas.microsoft.com/office/drawing/2014/main" id="{008DA4DD-D292-85C2-3EDA-F44D161609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4" name="Object 3" hidden="1">
                        <a:extLst>
                          <a:ext uri="{FF2B5EF4-FFF2-40B4-BE49-F238E27FC236}">
                            <a16:creationId xmlns:a16="http://schemas.microsoft.com/office/drawing/2014/main" id="{008DA4DD-D292-85C2-3EDA-F44D161609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el 57">
            <a:extLst>
              <a:ext uri="{FF2B5EF4-FFF2-40B4-BE49-F238E27FC236}">
                <a16:creationId xmlns:a16="http://schemas.microsoft.com/office/drawing/2014/main" id="{0BC56700-C5B2-CB6A-EC6B-F1ABD8FF5D03}"/>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bg1"/>
                </a:solidFill>
              </a:defRPr>
            </a:lvl1pPr>
          </a:lstStyle>
          <a:p>
            <a:r>
              <a:rPr lang="en-US" noProof="0"/>
              <a:t>Presentation title</a:t>
            </a:r>
          </a:p>
        </p:txBody>
      </p:sp>
      <p:sp>
        <p:nvSpPr>
          <p:cNvPr id="11" name="Datumsplatzhalter 58">
            <a:extLst>
              <a:ext uri="{FF2B5EF4-FFF2-40B4-BE49-F238E27FC236}">
                <a16:creationId xmlns:a16="http://schemas.microsoft.com/office/drawing/2014/main" id="{EF613187-CC24-786E-B648-3774A8C96773}"/>
              </a:ext>
            </a:extLst>
          </p:cNvPr>
          <p:cNvSpPr>
            <a:spLocks noGrp="1"/>
          </p:cNvSpPr>
          <p:nvPr>
            <p:ph type="dt" sz="half" idx="10"/>
          </p:nvPr>
        </p:nvSpPr>
        <p:spPr bwMode="gray">
          <a:xfrm>
            <a:off x="1666016" y="4341166"/>
            <a:ext cx="5322957" cy="192897"/>
          </a:xfrm>
          <a:prstGeom prst="rect">
            <a:avLst/>
          </a:prstGeom>
        </p:spPr>
        <p:txBody>
          <a:bodyPr/>
          <a:lstStyle>
            <a:lvl1pPr>
              <a:defRPr sz="1200">
                <a:solidFill>
                  <a:schemeClr val="bg1"/>
                </a:solidFill>
              </a:defRPr>
            </a:lvl1pPr>
          </a:lstStyle>
          <a:p>
            <a:fld id="{A48954D4-B6BF-4D3C-BCD3-B20CAE36CFE3}" type="datetime1">
              <a:rPr lang="en-US" noProof="0" smtClean="0"/>
              <a:t>10/31/2024</a:t>
            </a:fld>
            <a:endParaRPr lang="en-US" noProof="0"/>
          </a:p>
        </p:txBody>
      </p:sp>
      <p:sp>
        <p:nvSpPr>
          <p:cNvPr id="12" name="Fußzeilenplatzhalter 59">
            <a:extLst>
              <a:ext uri="{FF2B5EF4-FFF2-40B4-BE49-F238E27FC236}">
                <a16:creationId xmlns:a16="http://schemas.microsoft.com/office/drawing/2014/main" id="{AE00E287-26F7-61E0-794E-841FDBE98CE9}"/>
              </a:ext>
            </a:extLst>
          </p:cNvPr>
          <p:cNvSpPr>
            <a:spLocks noGrp="1"/>
          </p:cNvSpPr>
          <p:nvPr>
            <p:ph type="ftr" sz="quarter" idx="11"/>
          </p:nvPr>
        </p:nvSpPr>
        <p:spPr bwMode="gray">
          <a:xfrm>
            <a:off x="1666016" y="4086169"/>
            <a:ext cx="5322957" cy="192897"/>
          </a:xfrm>
        </p:spPr>
        <p:txBody>
          <a:bodyPr anchor="b"/>
          <a:lstStyle>
            <a:lvl1pPr>
              <a:defRPr sz="1200">
                <a:solidFill>
                  <a:schemeClr val="bg1"/>
                </a:solidFill>
              </a:defRPr>
            </a:lvl1pPr>
          </a:lstStyle>
          <a:p>
            <a:r>
              <a:rPr lang="en-US" noProof="0"/>
              <a:t>Group Presentation</a:t>
            </a:r>
          </a:p>
        </p:txBody>
      </p:sp>
      <p:sp>
        <p:nvSpPr>
          <p:cNvPr id="6" name="Text Placeholder 9">
            <a:extLst>
              <a:ext uri="{FF2B5EF4-FFF2-40B4-BE49-F238E27FC236}">
                <a16:creationId xmlns:a16="http://schemas.microsoft.com/office/drawing/2014/main" id="{8726A798-2008-5C0A-4F7E-815369E7B33D}"/>
              </a:ext>
            </a:extLst>
          </p:cNvPr>
          <p:cNvSpPr>
            <a:spLocks noGrp="1"/>
          </p:cNvSpPr>
          <p:nvPr>
            <p:ph type="body" sz="quarter" idx="19" hasCustomPrompt="1"/>
          </p:nvPr>
        </p:nvSpPr>
        <p:spPr>
          <a:xfrm>
            <a:off x="11113294" y="5799609"/>
            <a:ext cx="690091" cy="690091"/>
          </a:xfrm>
          <a:blipFill>
            <a:blip r:embed="rId9">
              <a:extLst>
                <a:ext uri="{96DAC541-7B7A-43D3-8B79-37D633B846F1}">
                  <asvg:svgBlip xmlns:asvg="http://schemas.microsoft.com/office/drawing/2016/SVG/main" r:embed="rId10"/>
                </a:ext>
              </a:extLst>
            </a:blip>
            <a:stretch>
              <a:fillRect/>
            </a:stretch>
          </a:blipFill>
        </p:spPr>
        <p:txBody>
          <a:bodyPr/>
          <a:lstStyle>
            <a:lvl1pPr>
              <a:defRPr sz="100"/>
            </a:lvl1pPr>
          </a:lstStyle>
          <a:p>
            <a:pPr lvl="0"/>
            <a:r>
              <a:rPr lang="de-DE"/>
              <a:t> </a:t>
            </a:r>
            <a:endParaRPr lang="en-US"/>
          </a:p>
        </p:txBody>
      </p:sp>
      <p:sp>
        <p:nvSpPr>
          <p:cNvPr id="7" name="Bildplatzhalter 19">
            <a:extLst>
              <a:ext uri="{FF2B5EF4-FFF2-40B4-BE49-F238E27FC236}">
                <a16:creationId xmlns:a16="http://schemas.microsoft.com/office/drawing/2014/main" id="{363FFD61-D876-BD6A-B2F3-4EB925A61B10}"/>
              </a:ext>
            </a:extLst>
          </p:cNvPr>
          <p:cNvSpPr>
            <a:spLocks noGrp="1" noChangeAspect="1"/>
          </p:cNvSpPr>
          <p:nvPr>
            <p:ph type="pic" sz="quarter" idx="17" hasCustomPrompt="1"/>
          </p:nvPr>
        </p:nvSpPr>
        <p:spPr bwMode="gray">
          <a:xfrm>
            <a:off x="382588" y="6285600"/>
            <a:ext cx="2712042" cy="263691"/>
          </a:xfrm>
          <a:blipFill>
            <a:blip r:embed="rId11"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36534918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4F2DF0EB-F2E9-8668-494D-4FF63CFA3F02}"/>
              </a:ext>
            </a:extLst>
          </p:cNvPr>
          <p:cNvSpPr>
            <a:spLocks noGrp="1"/>
          </p:cNvSpPr>
          <p:nvPr>
            <p:ph type="pic" sz="quarter" idx="36" hasCustomPrompt="1"/>
          </p:nvPr>
        </p:nvSpPr>
        <p:spPr>
          <a:xfrm>
            <a:off x="0" y="0"/>
            <a:ext cx="12192000" cy="6858000"/>
          </a:xfrm>
          <a:noFill/>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0" name="Text Placeholder 12">
            <a:extLst>
              <a:ext uri="{FF2B5EF4-FFF2-40B4-BE49-F238E27FC236}">
                <a16:creationId xmlns:a16="http://schemas.microsoft.com/office/drawing/2014/main" id="{60E45E1A-0E37-D13F-05DA-AA37802A16E0}"/>
              </a:ext>
            </a:extLst>
          </p:cNvPr>
          <p:cNvSpPr>
            <a:spLocks noGrp="1"/>
          </p:cNvSpPr>
          <p:nvPr>
            <p:ph type="body" sz="quarter" idx="38"/>
          </p:nvPr>
        </p:nvSpPr>
        <p:spPr>
          <a:xfrm>
            <a:off x="6091072" y="3054964"/>
            <a:ext cx="4061728" cy="286050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de-DE"/>
              <a:t>Mastertextformat bearbeiten</a:t>
            </a:r>
          </a:p>
        </p:txBody>
      </p:sp>
      <p:sp>
        <p:nvSpPr>
          <p:cNvPr id="14" name="Text Placeholder 13">
            <a:extLst>
              <a:ext uri="{FF2B5EF4-FFF2-40B4-BE49-F238E27FC236}">
                <a16:creationId xmlns:a16="http://schemas.microsoft.com/office/drawing/2014/main" id="{60A7BD78-1E06-5B0A-A85A-4F1FE60E201B}"/>
              </a:ext>
            </a:extLst>
          </p:cNvPr>
          <p:cNvSpPr>
            <a:spLocks noGrp="1"/>
          </p:cNvSpPr>
          <p:nvPr>
            <p:ph type="body" sz="quarter" idx="39" hasCustomPrompt="1"/>
          </p:nvPr>
        </p:nvSpPr>
        <p:spPr>
          <a:xfrm>
            <a:off x="878305" y="757238"/>
            <a:ext cx="6880352" cy="414563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a:t> </a:t>
            </a:r>
          </a:p>
        </p:txBody>
      </p:sp>
      <p:graphicFrame>
        <p:nvGraphicFramePr>
          <p:cNvPr id="4" name="Object 3" hidden="1">
            <a:extLst>
              <a:ext uri="{FF2B5EF4-FFF2-40B4-BE49-F238E27FC236}">
                <a16:creationId xmlns:a16="http://schemas.microsoft.com/office/drawing/2014/main" id="{D653EF3F-4BF0-034F-CF9C-56920D73C0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4" name="Object 3" hidden="1">
                        <a:extLst>
                          <a:ext uri="{FF2B5EF4-FFF2-40B4-BE49-F238E27FC236}">
                            <a16:creationId xmlns:a16="http://schemas.microsoft.com/office/drawing/2014/main" id="{D653EF3F-4BF0-034F-CF9C-56920D73C0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Titel 57">
            <a:extLst>
              <a:ext uri="{FF2B5EF4-FFF2-40B4-BE49-F238E27FC236}">
                <a16:creationId xmlns:a16="http://schemas.microsoft.com/office/drawing/2014/main" id="{2F72976F-223C-63A0-32F9-4BB45CFC3EF4}"/>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tx2"/>
                </a:solidFill>
              </a:defRPr>
            </a:lvl1pPr>
          </a:lstStyle>
          <a:p>
            <a:r>
              <a:rPr lang="en-US" noProof="0"/>
              <a:t>Presentation title</a:t>
            </a:r>
          </a:p>
        </p:txBody>
      </p:sp>
      <p:sp>
        <p:nvSpPr>
          <p:cNvPr id="3" name="Datumsplatzhalter 58">
            <a:extLst>
              <a:ext uri="{FF2B5EF4-FFF2-40B4-BE49-F238E27FC236}">
                <a16:creationId xmlns:a16="http://schemas.microsoft.com/office/drawing/2014/main" id="{21CE75A4-EBFF-B9A3-6530-2A15A1136177}"/>
              </a:ext>
            </a:extLst>
          </p:cNvPr>
          <p:cNvSpPr>
            <a:spLocks noGrp="1"/>
          </p:cNvSpPr>
          <p:nvPr>
            <p:ph type="dt" sz="half" idx="10"/>
          </p:nvPr>
        </p:nvSpPr>
        <p:spPr bwMode="gray">
          <a:xfrm>
            <a:off x="1666016" y="4341166"/>
            <a:ext cx="5322957" cy="192897"/>
          </a:xfrm>
          <a:prstGeom prst="rect">
            <a:avLst/>
          </a:prstGeom>
        </p:spPr>
        <p:txBody>
          <a:bodyPr/>
          <a:lstStyle>
            <a:lvl1pPr>
              <a:defRPr sz="1200">
                <a:solidFill>
                  <a:schemeClr val="tx2"/>
                </a:solidFill>
              </a:defRPr>
            </a:lvl1pPr>
          </a:lstStyle>
          <a:p>
            <a:fld id="{85F5EB92-91D2-43F6-B7B2-CFE3443333DB}" type="datetime1">
              <a:rPr lang="en-US" smtClean="0"/>
              <a:t>10/31/2024</a:t>
            </a:fld>
            <a:endParaRPr lang="en-US"/>
          </a:p>
        </p:txBody>
      </p:sp>
      <p:sp>
        <p:nvSpPr>
          <p:cNvPr id="11" name="Fußzeilenplatzhalter 59">
            <a:extLst>
              <a:ext uri="{FF2B5EF4-FFF2-40B4-BE49-F238E27FC236}">
                <a16:creationId xmlns:a16="http://schemas.microsoft.com/office/drawing/2014/main" id="{F04CED20-D8AC-13F7-C65E-65C19DD30EDC}"/>
              </a:ext>
            </a:extLst>
          </p:cNvPr>
          <p:cNvSpPr>
            <a:spLocks noGrp="1"/>
          </p:cNvSpPr>
          <p:nvPr>
            <p:ph type="ftr" sz="quarter" idx="11"/>
          </p:nvPr>
        </p:nvSpPr>
        <p:spPr bwMode="gray">
          <a:xfrm>
            <a:off x="1666016" y="4086169"/>
            <a:ext cx="5322957" cy="192897"/>
          </a:xfrm>
        </p:spPr>
        <p:txBody>
          <a:bodyPr anchor="b"/>
          <a:lstStyle>
            <a:lvl1pPr>
              <a:defRPr sz="1200">
                <a:solidFill>
                  <a:schemeClr val="tx2"/>
                </a:solidFill>
              </a:defRPr>
            </a:lvl1pPr>
          </a:lstStyle>
          <a:p>
            <a:r>
              <a:rPr lang="en-US"/>
              <a:t>Group Presentation</a:t>
            </a:r>
          </a:p>
        </p:txBody>
      </p:sp>
      <p:sp>
        <p:nvSpPr>
          <p:cNvPr id="6" name="Text Placeholder 9">
            <a:extLst>
              <a:ext uri="{FF2B5EF4-FFF2-40B4-BE49-F238E27FC236}">
                <a16:creationId xmlns:a16="http://schemas.microsoft.com/office/drawing/2014/main" id="{F3B177E0-07A7-8981-3B09-621F0EBF591E}"/>
              </a:ext>
            </a:extLst>
          </p:cNvPr>
          <p:cNvSpPr>
            <a:spLocks noGrp="1"/>
          </p:cNvSpPr>
          <p:nvPr>
            <p:ph type="body" sz="quarter" idx="19" hasCustomPrompt="1"/>
          </p:nvPr>
        </p:nvSpPr>
        <p:spPr>
          <a:xfrm>
            <a:off x="11113294" y="5799609"/>
            <a:ext cx="690091" cy="690091"/>
          </a:xfrm>
          <a:blipFill>
            <a:blip r:embed="rId9">
              <a:extLst>
                <a:ext uri="{96DAC541-7B7A-43D3-8B79-37D633B846F1}">
                  <asvg:svgBlip xmlns:asvg="http://schemas.microsoft.com/office/drawing/2016/SVG/main" r:embed="rId10"/>
                </a:ext>
              </a:extLst>
            </a:blip>
            <a:stretch>
              <a:fillRect/>
            </a:stretch>
          </a:blipFill>
        </p:spPr>
        <p:txBody>
          <a:bodyPr/>
          <a:lstStyle>
            <a:lvl1pPr>
              <a:defRPr sz="100"/>
            </a:lvl1pPr>
          </a:lstStyle>
          <a:p>
            <a:pPr lvl="0"/>
            <a:r>
              <a:rPr lang="de-DE"/>
              <a:t> </a:t>
            </a:r>
            <a:endParaRPr lang="en-US"/>
          </a:p>
        </p:txBody>
      </p:sp>
      <p:sp>
        <p:nvSpPr>
          <p:cNvPr id="7" name="Bildplatzhalter 19">
            <a:extLst>
              <a:ext uri="{FF2B5EF4-FFF2-40B4-BE49-F238E27FC236}">
                <a16:creationId xmlns:a16="http://schemas.microsoft.com/office/drawing/2014/main" id="{0462F4D6-0A50-C445-81AA-DD2B54C4E683}"/>
              </a:ext>
            </a:extLst>
          </p:cNvPr>
          <p:cNvSpPr>
            <a:spLocks noGrp="1" noChangeAspect="1"/>
          </p:cNvSpPr>
          <p:nvPr>
            <p:ph type="pic" sz="quarter" idx="17" hasCustomPrompt="1"/>
          </p:nvPr>
        </p:nvSpPr>
        <p:spPr bwMode="gray">
          <a:xfrm>
            <a:off x="382588" y="6285600"/>
            <a:ext cx="2712042" cy="263691"/>
          </a:xfrm>
          <a:blipFill>
            <a:blip r:embed="rId11"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11810359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0BD68B66-8EB6-8EF1-AC7E-D5B2D96E4984}"/>
              </a:ext>
            </a:extLst>
          </p:cNvPr>
          <p:cNvSpPr>
            <a:spLocks noGrp="1"/>
          </p:cNvSpPr>
          <p:nvPr>
            <p:ph type="pic" sz="quarter" idx="36" hasCustomPrompt="1"/>
          </p:nvPr>
        </p:nvSpPr>
        <p:spPr>
          <a:xfrm>
            <a:off x="0" y="0"/>
            <a:ext cx="12192000" cy="6858000"/>
          </a:xfrm>
        </p:spPr>
        <p:txBody>
          <a:bodyPr/>
          <a:lstStyle/>
          <a:p>
            <a:pPr marL="0" marR="0" lvl="0" indent="0" algn="l" defTabSz="914400" rtl="0" eaLnBrk="1" fontAlgn="auto" latinLnBrk="0" hangingPunct="1">
              <a:lnSpc>
                <a:spcPct val="120000"/>
              </a:lnSpc>
              <a:spcBef>
                <a:spcPts val="1000"/>
              </a:spcBef>
              <a:spcAft>
                <a:spcPts val="0"/>
              </a:spcAft>
              <a:buClrTx/>
              <a:buSzTx/>
              <a:buFontTx/>
              <a:buNone/>
              <a:tabLst/>
              <a:defRPr/>
            </a:pPr>
            <a:r>
              <a:rPr lang="en-US" noProof="0"/>
              <a:t>Add image by clicking on icon and set image in background</a:t>
            </a:r>
            <a:endParaRPr lang="en-GB" noProof="0"/>
          </a:p>
          <a:p>
            <a:endParaRPr lang="en-GB"/>
          </a:p>
        </p:txBody>
      </p:sp>
      <p:sp>
        <p:nvSpPr>
          <p:cNvPr id="10" name="Text Placeholder 12">
            <a:extLst>
              <a:ext uri="{FF2B5EF4-FFF2-40B4-BE49-F238E27FC236}">
                <a16:creationId xmlns:a16="http://schemas.microsoft.com/office/drawing/2014/main" id="{BEA58FC5-5C43-BB40-DEC5-4633C9CEDD2E}"/>
              </a:ext>
            </a:extLst>
          </p:cNvPr>
          <p:cNvSpPr>
            <a:spLocks noGrp="1"/>
          </p:cNvSpPr>
          <p:nvPr>
            <p:ph type="body" sz="quarter" idx="38"/>
          </p:nvPr>
        </p:nvSpPr>
        <p:spPr>
          <a:xfrm>
            <a:off x="6091072" y="3054964"/>
            <a:ext cx="4061728" cy="2860508"/>
          </a:xfrm>
          <a:blipFill>
            <a:blip r:embed="rId3">
              <a:extLst>
                <a:ext uri="{96DAC541-7B7A-43D3-8B79-37D633B846F1}">
                  <asvg:svgBlip xmlns:asvg="http://schemas.microsoft.com/office/drawing/2016/SVG/main" r:embed="rId4"/>
                </a:ext>
              </a:extLst>
            </a:blip>
            <a:stretch>
              <a:fillRect/>
            </a:stretch>
          </a:blipFill>
        </p:spPr>
        <p:txBody>
          <a:bodyPr/>
          <a:lstStyle>
            <a:lvl1pPr>
              <a:defRPr sz="100"/>
            </a:lvl1pPr>
          </a:lstStyle>
          <a:p>
            <a:pPr lvl="0"/>
            <a:r>
              <a:rPr lang="de-DE"/>
              <a:t>Mastertextformat bearbeiten</a:t>
            </a:r>
          </a:p>
        </p:txBody>
      </p:sp>
      <p:sp>
        <p:nvSpPr>
          <p:cNvPr id="16" name="Text Placeholder 15">
            <a:extLst>
              <a:ext uri="{FF2B5EF4-FFF2-40B4-BE49-F238E27FC236}">
                <a16:creationId xmlns:a16="http://schemas.microsoft.com/office/drawing/2014/main" id="{B73283CE-AF77-52E5-7120-462AEF9A41E8}"/>
              </a:ext>
            </a:extLst>
          </p:cNvPr>
          <p:cNvSpPr>
            <a:spLocks noGrp="1"/>
          </p:cNvSpPr>
          <p:nvPr>
            <p:ph type="body" sz="quarter" idx="40" hasCustomPrompt="1"/>
          </p:nvPr>
        </p:nvSpPr>
        <p:spPr>
          <a:xfrm>
            <a:off x="878305" y="757238"/>
            <a:ext cx="6880352" cy="4145630"/>
          </a:xfrm>
          <a:blipFill>
            <a:blip r:embed="rId5">
              <a:extLst>
                <a:ext uri="{96DAC541-7B7A-43D3-8B79-37D633B846F1}">
                  <asvg:svgBlip xmlns:asvg="http://schemas.microsoft.com/office/drawing/2016/SVG/main" r:embed="rId6"/>
                </a:ext>
              </a:extLst>
            </a:blip>
            <a:stretch>
              <a:fillRect/>
            </a:stretch>
          </a:blipFill>
        </p:spPr>
        <p:txBody>
          <a:bodyPr/>
          <a:lstStyle>
            <a:lvl1pPr>
              <a:defRPr sz="100"/>
            </a:lvl1pPr>
          </a:lstStyle>
          <a:p>
            <a:pPr lvl="0"/>
            <a:r>
              <a:rPr lang="en-GB"/>
              <a:t> </a:t>
            </a:r>
          </a:p>
        </p:txBody>
      </p:sp>
      <p:graphicFrame>
        <p:nvGraphicFramePr>
          <p:cNvPr id="4" name="Object 3" hidden="1">
            <a:extLst>
              <a:ext uri="{FF2B5EF4-FFF2-40B4-BE49-F238E27FC236}">
                <a16:creationId xmlns:a16="http://schemas.microsoft.com/office/drawing/2014/main" id="{8314C205-CA11-0862-9693-9FFF06A446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592" imgH="591" progId="TCLayout.ActiveDocument.1">
                  <p:embed/>
                </p:oleObj>
              </mc:Choice>
              <mc:Fallback>
                <p:oleObj name="think-cell Folie" r:id="rId7" imgW="592" imgH="591" progId="TCLayout.ActiveDocument.1">
                  <p:embed/>
                  <p:pic>
                    <p:nvPicPr>
                      <p:cNvPr id="4" name="Object 3" hidden="1">
                        <a:extLst>
                          <a:ext uri="{FF2B5EF4-FFF2-40B4-BE49-F238E27FC236}">
                            <a16:creationId xmlns:a16="http://schemas.microsoft.com/office/drawing/2014/main" id="{8314C205-CA11-0862-9693-9FFF06A446E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5" name="Textfeld 64">
            <a:extLst>
              <a:ext uri="{FF2B5EF4-FFF2-40B4-BE49-F238E27FC236}">
                <a16:creationId xmlns:a16="http://schemas.microsoft.com/office/drawing/2014/main" id="{A6A875DC-6707-9BE3-0EFB-142B3C254312}"/>
              </a:ext>
            </a:extLst>
          </p:cNvPr>
          <p:cNvSpPr txBox="1"/>
          <p:nvPr/>
        </p:nvSpPr>
        <p:spPr bwMode="gray">
          <a:xfrm>
            <a:off x="388615" y="6377271"/>
            <a:ext cx="1293822" cy="123111"/>
          </a:xfrm>
          <a:prstGeom prst="rect">
            <a:avLst/>
          </a:prstGeom>
          <a:noFill/>
        </p:spPr>
        <p:txBody>
          <a:bodyPr wrap="square" lIns="0" tIns="0" rIns="0" bIns="0" rtlCol="0">
            <a:spAutoFit/>
          </a:bodyPr>
          <a:lstStyle/>
          <a:p>
            <a:r>
              <a:rPr lang="en-US" sz="800" noProof="0">
                <a:solidFill>
                  <a:schemeClr val="bg1"/>
                </a:solidFill>
                <a:latin typeface="+mj-lt"/>
              </a:rPr>
              <a:t>Heidelberg Materials</a:t>
            </a:r>
          </a:p>
        </p:txBody>
      </p:sp>
      <p:sp>
        <p:nvSpPr>
          <p:cNvPr id="2" name="Bildplatzhalter 19">
            <a:extLst>
              <a:ext uri="{FF2B5EF4-FFF2-40B4-BE49-F238E27FC236}">
                <a16:creationId xmlns:a16="http://schemas.microsoft.com/office/drawing/2014/main" id="{C62CDBE2-9379-D362-9E36-CFE957AFB5E0}"/>
              </a:ext>
            </a:extLst>
          </p:cNvPr>
          <p:cNvSpPr>
            <a:spLocks noGrp="1" noChangeAspect="1"/>
          </p:cNvSpPr>
          <p:nvPr>
            <p:ph type="pic" sz="quarter" idx="17" hasCustomPrompt="1"/>
          </p:nvPr>
        </p:nvSpPr>
        <p:spPr bwMode="gray">
          <a:xfrm>
            <a:off x="382588" y="6285600"/>
            <a:ext cx="2712032" cy="263691"/>
          </a:xfrm>
          <a:blipFill>
            <a:blip r:embed="rId9"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3" name="Titel 57">
            <a:extLst>
              <a:ext uri="{FF2B5EF4-FFF2-40B4-BE49-F238E27FC236}">
                <a16:creationId xmlns:a16="http://schemas.microsoft.com/office/drawing/2014/main" id="{11487B52-A5EC-9531-194F-B0CEA00FDAFB}"/>
              </a:ext>
            </a:extLst>
          </p:cNvPr>
          <p:cNvSpPr>
            <a:spLocks noGrp="1"/>
          </p:cNvSpPr>
          <p:nvPr>
            <p:ph type="title" hasCustomPrompt="1"/>
          </p:nvPr>
        </p:nvSpPr>
        <p:spPr bwMode="gray">
          <a:xfrm>
            <a:off x="1630293" y="1468678"/>
            <a:ext cx="5322957" cy="1960322"/>
          </a:xfrm>
        </p:spPr>
        <p:txBody>
          <a:bodyPr vert="horz" anchor="t" anchorCtr="0">
            <a:noAutofit/>
          </a:bodyPr>
          <a:lstStyle>
            <a:lvl1pPr>
              <a:defRPr sz="4000">
                <a:solidFill>
                  <a:schemeClr val="bg1"/>
                </a:solidFill>
              </a:defRPr>
            </a:lvl1pPr>
          </a:lstStyle>
          <a:p>
            <a:r>
              <a:rPr lang="en-US" noProof="0"/>
              <a:t>Presentation title</a:t>
            </a:r>
          </a:p>
        </p:txBody>
      </p:sp>
      <p:sp>
        <p:nvSpPr>
          <p:cNvPr id="11" name="Datumsplatzhalter 58">
            <a:extLst>
              <a:ext uri="{FF2B5EF4-FFF2-40B4-BE49-F238E27FC236}">
                <a16:creationId xmlns:a16="http://schemas.microsoft.com/office/drawing/2014/main" id="{78C714DE-1286-2A2E-0C68-0AEA19A46D75}"/>
              </a:ext>
            </a:extLst>
          </p:cNvPr>
          <p:cNvSpPr>
            <a:spLocks noGrp="1"/>
          </p:cNvSpPr>
          <p:nvPr>
            <p:ph type="dt" sz="half" idx="10"/>
          </p:nvPr>
        </p:nvSpPr>
        <p:spPr bwMode="gray">
          <a:xfrm>
            <a:off x="1666016" y="4341166"/>
            <a:ext cx="5322957" cy="192897"/>
          </a:xfrm>
          <a:prstGeom prst="rect">
            <a:avLst/>
          </a:prstGeom>
        </p:spPr>
        <p:txBody>
          <a:bodyPr/>
          <a:lstStyle>
            <a:lvl1pPr>
              <a:defRPr sz="1200">
                <a:solidFill>
                  <a:schemeClr val="bg1"/>
                </a:solidFill>
              </a:defRPr>
            </a:lvl1pPr>
          </a:lstStyle>
          <a:p>
            <a:fld id="{CD9AF819-56C4-4CA7-8A5F-B1AE385FCA2D}" type="datetime1">
              <a:rPr lang="en-US" noProof="0" smtClean="0"/>
              <a:t>10/31/2024</a:t>
            </a:fld>
            <a:endParaRPr lang="en-US" noProof="0"/>
          </a:p>
        </p:txBody>
      </p:sp>
      <p:sp>
        <p:nvSpPr>
          <p:cNvPr id="12" name="Fußzeilenplatzhalter 59">
            <a:extLst>
              <a:ext uri="{FF2B5EF4-FFF2-40B4-BE49-F238E27FC236}">
                <a16:creationId xmlns:a16="http://schemas.microsoft.com/office/drawing/2014/main" id="{769AB8E6-3970-76DB-4FF7-93F3E4B62E29}"/>
              </a:ext>
            </a:extLst>
          </p:cNvPr>
          <p:cNvSpPr>
            <a:spLocks noGrp="1"/>
          </p:cNvSpPr>
          <p:nvPr>
            <p:ph type="ftr" sz="quarter" idx="11"/>
          </p:nvPr>
        </p:nvSpPr>
        <p:spPr bwMode="gray">
          <a:xfrm>
            <a:off x="1666016" y="4086169"/>
            <a:ext cx="5322957" cy="192897"/>
          </a:xfrm>
        </p:spPr>
        <p:txBody>
          <a:bodyPr anchor="b"/>
          <a:lstStyle>
            <a:lvl1pPr>
              <a:defRPr sz="1200">
                <a:solidFill>
                  <a:schemeClr val="bg1"/>
                </a:solidFill>
              </a:defRPr>
            </a:lvl1pPr>
          </a:lstStyle>
          <a:p>
            <a:r>
              <a:rPr lang="en-US" noProof="0"/>
              <a:t>Group Presentation</a:t>
            </a:r>
          </a:p>
        </p:txBody>
      </p:sp>
      <p:sp>
        <p:nvSpPr>
          <p:cNvPr id="5" name="Text Placeholder 7">
            <a:extLst>
              <a:ext uri="{FF2B5EF4-FFF2-40B4-BE49-F238E27FC236}">
                <a16:creationId xmlns:a16="http://schemas.microsoft.com/office/drawing/2014/main" id="{CD0AEB1D-726A-A978-3CA0-425BC56EA77D}"/>
              </a:ext>
            </a:extLst>
          </p:cNvPr>
          <p:cNvSpPr>
            <a:spLocks noGrp="1" noChangeAspect="1"/>
          </p:cNvSpPr>
          <p:nvPr>
            <p:ph type="body" sz="quarter" idx="35" hasCustomPrompt="1"/>
          </p:nvPr>
        </p:nvSpPr>
        <p:spPr>
          <a:xfrm>
            <a:off x="11112185" y="5809182"/>
            <a:ext cx="691200" cy="691200"/>
          </a:xfrm>
          <a:blipFill>
            <a:blip r:embed="rId10"/>
            <a:stretch>
              <a:fillRect/>
            </a:stretch>
          </a:blipFill>
        </p:spPr>
        <p:txBody>
          <a:bodyPr/>
          <a:lstStyle>
            <a:lvl1pPr>
              <a:defRPr sz="100"/>
            </a:lvl1pPr>
          </a:lstStyle>
          <a:p>
            <a:pPr lvl="0"/>
            <a:r>
              <a:rPr lang="de-DE"/>
              <a:t> </a:t>
            </a:r>
            <a:endParaRPr lang="en-US"/>
          </a:p>
        </p:txBody>
      </p:sp>
    </p:spTree>
    <p:extLst>
      <p:ext uri="{BB962C8B-B14F-4D97-AF65-F5344CB8AC3E}">
        <p14:creationId xmlns:p14="http://schemas.microsoft.com/office/powerpoint/2010/main" val="41734477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DA0BCE-C6D4-6B3B-D6A4-CB8CD0A042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Object 1" hidden="1">
                        <a:extLst>
                          <a:ext uri="{FF2B5EF4-FFF2-40B4-BE49-F238E27FC236}">
                            <a16:creationId xmlns:a16="http://schemas.microsoft.com/office/drawing/2014/main" id="{1BDA0BCE-C6D4-6B3B-D6A4-CB8CD0A042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hasCustomPrompt="1"/>
          </p:nvPr>
        </p:nvSpPr>
        <p:spPr>
          <a:xfrm>
            <a:off x="0" y="1"/>
            <a:ext cx="3095502" cy="6857729"/>
          </a:xfrm>
          <a:solidFill>
            <a:schemeClr val="bg1"/>
          </a:solidFill>
        </p:spPr>
        <p:txBody>
          <a:bodyPr/>
          <a:lstStyle/>
          <a:p>
            <a:r>
              <a:rPr lang="en-US" noProof="0"/>
              <a:t>Add image by clicking on icon and set image in background</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a:xfrm>
            <a:off x="4260849" y="547147"/>
            <a:ext cx="7544691" cy="283219"/>
          </a:xfrm>
        </p:spPr>
        <p:txBody>
          <a:bodyPr vert="horz"/>
          <a:lstStyle>
            <a:lvl1pPr>
              <a:defRPr/>
            </a:lvl1pPr>
          </a:lstStyle>
          <a:p>
            <a:r>
              <a:rPr lang="en-US"/>
              <a:t>Agenda</a:t>
            </a:r>
          </a:p>
        </p:txBody>
      </p:sp>
      <p:sp>
        <p:nvSpPr>
          <p:cNvPr id="15" name="Textplatzhalter 14">
            <a:extLst>
              <a:ext uri="{FF2B5EF4-FFF2-40B4-BE49-F238E27FC236}">
                <a16:creationId xmlns:a16="http://schemas.microsoft.com/office/drawing/2014/main" id="{D20139B8-C371-8FB6-4092-C3C2958A90E5}"/>
              </a:ext>
            </a:extLst>
          </p:cNvPr>
          <p:cNvSpPr>
            <a:spLocks noGrp="1"/>
          </p:cNvSpPr>
          <p:nvPr>
            <p:ph type="body" sz="quarter" idx="14" hasCustomPrompt="1"/>
          </p:nvPr>
        </p:nvSpPr>
        <p:spPr>
          <a:xfrm>
            <a:off x="4260850" y="1527175"/>
            <a:ext cx="3676650" cy="264303"/>
          </a:xfrm>
        </p:spPr>
        <p:txBody>
          <a:bodyPr/>
          <a:lstStyle>
            <a:lvl1pPr marL="0" indent="0">
              <a:buNone/>
              <a:defRPr b="1">
                <a:latin typeface="+mj-lt"/>
              </a:defRPr>
            </a:lvl1pPr>
          </a:lstStyle>
          <a:p>
            <a:pPr lvl="0"/>
            <a:r>
              <a:rPr lang="en-US"/>
              <a:t>Chapter heading</a:t>
            </a:r>
          </a:p>
        </p:txBody>
      </p:sp>
      <p:sp>
        <p:nvSpPr>
          <p:cNvPr id="16" name="Textplatzhalter 14">
            <a:extLst>
              <a:ext uri="{FF2B5EF4-FFF2-40B4-BE49-F238E27FC236}">
                <a16:creationId xmlns:a16="http://schemas.microsoft.com/office/drawing/2014/main" id="{A314BA95-0D62-676A-CAF2-F108D0BAFCCF}"/>
              </a:ext>
            </a:extLst>
          </p:cNvPr>
          <p:cNvSpPr>
            <a:spLocks noGrp="1"/>
          </p:cNvSpPr>
          <p:nvPr>
            <p:ph type="body" sz="quarter" idx="15" hasCustomPrompt="1"/>
          </p:nvPr>
        </p:nvSpPr>
        <p:spPr>
          <a:xfrm>
            <a:off x="4260850" y="3713026"/>
            <a:ext cx="3676650" cy="264303"/>
          </a:xfrm>
        </p:spPr>
        <p:txBody>
          <a:bodyPr/>
          <a:lstStyle>
            <a:lvl1pPr marL="0" indent="0">
              <a:buNone/>
              <a:defRPr b="1">
                <a:latin typeface="+mj-lt"/>
              </a:defRPr>
            </a:lvl1pPr>
          </a:lstStyle>
          <a:p>
            <a:pPr lvl="0"/>
            <a:r>
              <a:rPr lang="en-US"/>
              <a:t>Chapter heading</a:t>
            </a:r>
          </a:p>
        </p:txBody>
      </p:sp>
      <p:sp>
        <p:nvSpPr>
          <p:cNvPr id="17" name="Textplatzhalter 14">
            <a:extLst>
              <a:ext uri="{FF2B5EF4-FFF2-40B4-BE49-F238E27FC236}">
                <a16:creationId xmlns:a16="http://schemas.microsoft.com/office/drawing/2014/main" id="{15F4FDC0-3FB4-D5F3-FC94-A2FB648B2D1A}"/>
              </a:ext>
            </a:extLst>
          </p:cNvPr>
          <p:cNvSpPr>
            <a:spLocks noGrp="1"/>
          </p:cNvSpPr>
          <p:nvPr>
            <p:ph type="body" sz="quarter" idx="16" hasCustomPrompt="1"/>
          </p:nvPr>
        </p:nvSpPr>
        <p:spPr>
          <a:xfrm>
            <a:off x="8135938" y="1529651"/>
            <a:ext cx="3676650" cy="264303"/>
          </a:xfrm>
        </p:spPr>
        <p:txBody>
          <a:bodyPr/>
          <a:lstStyle>
            <a:lvl1pPr marL="0" indent="0">
              <a:buNone/>
              <a:defRPr b="1">
                <a:latin typeface="+mj-lt"/>
              </a:defRPr>
            </a:lvl1pPr>
          </a:lstStyle>
          <a:p>
            <a:pPr lvl="0"/>
            <a:r>
              <a:rPr lang="en-US"/>
              <a:t>Chapter heading</a:t>
            </a:r>
          </a:p>
        </p:txBody>
      </p:sp>
      <p:sp>
        <p:nvSpPr>
          <p:cNvPr id="18" name="Textplatzhalter 14">
            <a:extLst>
              <a:ext uri="{FF2B5EF4-FFF2-40B4-BE49-F238E27FC236}">
                <a16:creationId xmlns:a16="http://schemas.microsoft.com/office/drawing/2014/main" id="{3B584C6E-6A74-1E7B-E3FD-FAB2E8CAFA39}"/>
              </a:ext>
            </a:extLst>
          </p:cNvPr>
          <p:cNvSpPr>
            <a:spLocks noGrp="1"/>
          </p:cNvSpPr>
          <p:nvPr>
            <p:ph type="body" sz="quarter" idx="17" hasCustomPrompt="1"/>
          </p:nvPr>
        </p:nvSpPr>
        <p:spPr>
          <a:xfrm>
            <a:off x="8135938" y="3715501"/>
            <a:ext cx="3676650" cy="264303"/>
          </a:xfrm>
        </p:spPr>
        <p:txBody>
          <a:bodyPr/>
          <a:lstStyle>
            <a:lvl1pPr marL="0" indent="0">
              <a:buNone/>
              <a:defRPr b="1">
                <a:latin typeface="+mj-lt"/>
              </a:defRPr>
            </a:lvl1pPr>
          </a:lstStyle>
          <a:p>
            <a:pPr lvl="0"/>
            <a:r>
              <a:rPr lang="en-US"/>
              <a:t>Chapter heading</a:t>
            </a:r>
          </a:p>
        </p:txBody>
      </p:sp>
      <p:sp>
        <p:nvSpPr>
          <p:cNvPr id="20" name="Textplatzhalter 19">
            <a:extLst>
              <a:ext uri="{FF2B5EF4-FFF2-40B4-BE49-F238E27FC236}">
                <a16:creationId xmlns:a16="http://schemas.microsoft.com/office/drawing/2014/main" id="{94B1AA2F-15B3-3E78-E3E4-903909F0E3E9}"/>
              </a:ext>
            </a:extLst>
          </p:cNvPr>
          <p:cNvSpPr>
            <a:spLocks noGrp="1"/>
          </p:cNvSpPr>
          <p:nvPr>
            <p:ph type="body" sz="quarter" idx="18" hasCustomPrompt="1"/>
          </p:nvPr>
        </p:nvSpPr>
        <p:spPr>
          <a:xfrm>
            <a:off x="4260850" y="1791478"/>
            <a:ext cx="3676650" cy="1743885"/>
          </a:xfrm>
        </p:spPr>
        <p:txBody>
          <a:bodyPr tIns="90000" rIns="0">
            <a:noAutofit/>
          </a:bodyPr>
          <a:lstStyle>
            <a:lvl1pPr marL="447675" indent="-447675">
              <a:buFont typeface="+mj-lt"/>
              <a:buAutoNum type="arabicPeriod"/>
              <a:defRPr sz="1200"/>
            </a:lvl1pPr>
          </a:lstStyle>
          <a:p>
            <a:pPr lvl="0"/>
            <a:r>
              <a:rPr lang="en-US"/>
              <a:t>Lorem ipsum dolor sit </a:t>
            </a:r>
            <a:r>
              <a:rPr lang="en-US" err="1"/>
              <a:t>amet</a:t>
            </a:r>
            <a:endParaRPr lang="en-US"/>
          </a:p>
          <a:p>
            <a:pPr lvl="0"/>
            <a:r>
              <a:rPr lang="en-US"/>
              <a:t>Lorem ipsum dolor sit </a:t>
            </a:r>
            <a:r>
              <a:rPr lang="en-US" err="1"/>
              <a:t>amet</a:t>
            </a:r>
            <a:endParaRPr lang="en-US"/>
          </a:p>
        </p:txBody>
      </p:sp>
      <p:sp>
        <p:nvSpPr>
          <p:cNvPr id="21" name="Textplatzhalter 19">
            <a:extLst>
              <a:ext uri="{FF2B5EF4-FFF2-40B4-BE49-F238E27FC236}">
                <a16:creationId xmlns:a16="http://schemas.microsoft.com/office/drawing/2014/main" id="{5CAFF808-66B2-9494-3634-EFC51E403442}"/>
              </a:ext>
            </a:extLst>
          </p:cNvPr>
          <p:cNvSpPr>
            <a:spLocks noGrp="1"/>
          </p:cNvSpPr>
          <p:nvPr>
            <p:ph type="body" sz="quarter" idx="19" hasCustomPrompt="1"/>
          </p:nvPr>
        </p:nvSpPr>
        <p:spPr>
          <a:xfrm>
            <a:off x="4260850" y="3977329"/>
            <a:ext cx="3676650" cy="1743885"/>
          </a:xfrm>
        </p:spPr>
        <p:txBody>
          <a:bodyPr tIns="90000" rIns="0">
            <a:noAutofit/>
          </a:bodyPr>
          <a:lstStyle>
            <a:lvl1pPr marL="447675" indent="-447675">
              <a:buFont typeface="+mj-lt"/>
              <a:buAutoNum type="arabicPeriod"/>
              <a:defRPr sz="1200"/>
            </a:lvl1pPr>
          </a:lstStyle>
          <a:p>
            <a:pPr lvl="0"/>
            <a:r>
              <a:rPr lang="en-US"/>
              <a:t>Lorem ipsum dolor sit </a:t>
            </a:r>
            <a:r>
              <a:rPr lang="en-US" err="1"/>
              <a:t>amet</a:t>
            </a:r>
            <a:endParaRPr lang="en-US"/>
          </a:p>
          <a:p>
            <a:pPr lvl="0"/>
            <a:r>
              <a:rPr lang="en-US"/>
              <a:t>Lorem ipsum dolor sit </a:t>
            </a:r>
            <a:r>
              <a:rPr lang="en-US" err="1"/>
              <a:t>amet</a:t>
            </a:r>
            <a:endParaRPr lang="en-US"/>
          </a:p>
        </p:txBody>
      </p:sp>
      <p:sp>
        <p:nvSpPr>
          <p:cNvPr id="22" name="Textplatzhalter 19">
            <a:extLst>
              <a:ext uri="{FF2B5EF4-FFF2-40B4-BE49-F238E27FC236}">
                <a16:creationId xmlns:a16="http://schemas.microsoft.com/office/drawing/2014/main" id="{6C9931EC-DDE1-495A-9648-AFF91ED351ED}"/>
              </a:ext>
            </a:extLst>
          </p:cNvPr>
          <p:cNvSpPr>
            <a:spLocks noGrp="1"/>
          </p:cNvSpPr>
          <p:nvPr>
            <p:ph type="body" sz="quarter" idx="20" hasCustomPrompt="1"/>
          </p:nvPr>
        </p:nvSpPr>
        <p:spPr>
          <a:xfrm>
            <a:off x="8135938" y="1793954"/>
            <a:ext cx="3676650" cy="1743885"/>
          </a:xfrm>
        </p:spPr>
        <p:txBody>
          <a:bodyPr tIns="90000" rIns="0">
            <a:noAutofit/>
          </a:bodyPr>
          <a:lstStyle>
            <a:lvl1pPr marL="447675" indent="-447675">
              <a:buFont typeface="+mj-lt"/>
              <a:buAutoNum type="arabicPeriod"/>
              <a:defRPr sz="1200"/>
            </a:lvl1pPr>
          </a:lstStyle>
          <a:p>
            <a:pPr lvl="0"/>
            <a:r>
              <a:rPr lang="en-US"/>
              <a:t>Lorem ipsum dolor sit </a:t>
            </a:r>
            <a:r>
              <a:rPr lang="en-US" err="1"/>
              <a:t>amet</a:t>
            </a:r>
            <a:endParaRPr lang="en-US"/>
          </a:p>
          <a:p>
            <a:pPr lvl="0"/>
            <a:r>
              <a:rPr lang="en-US"/>
              <a:t>Lorem ipsum dolor sit </a:t>
            </a:r>
            <a:r>
              <a:rPr lang="en-US" err="1"/>
              <a:t>amet</a:t>
            </a:r>
            <a:endParaRPr lang="en-US"/>
          </a:p>
        </p:txBody>
      </p:sp>
      <p:sp>
        <p:nvSpPr>
          <p:cNvPr id="23" name="Textplatzhalter 19">
            <a:extLst>
              <a:ext uri="{FF2B5EF4-FFF2-40B4-BE49-F238E27FC236}">
                <a16:creationId xmlns:a16="http://schemas.microsoft.com/office/drawing/2014/main" id="{209CD599-CC2C-E5E6-4D03-0817D11194E3}"/>
              </a:ext>
            </a:extLst>
          </p:cNvPr>
          <p:cNvSpPr>
            <a:spLocks noGrp="1"/>
          </p:cNvSpPr>
          <p:nvPr>
            <p:ph type="body" sz="quarter" idx="21" hasCustomPrompt="1"/>
          </p:nvPr>
        </p:nvSpPr>
        <p:spPr>
          <a:xfrm>
            <a:off x="8135938" y="3979804"/>
            <a:ext cx="3676650" cy="1743885"/>
          </a:xfrm>
        </p:spPr>
        <p:txBody>
          <a:bodyPr tIns="90000" rIns="0">
            <a:noAutofit/>
          </a:bodyPr>
          <a:lstStyle>
            <a:lvl1pPr marL="447675" indent="-447675">
              <a:buFont typeface="+mj-lt"/>
              <a:buAutoNum type="arabicPeriod"/>
              <a:defRPr sz="1200"/>
            </a:lvl1pPr>
          </a:lstStyle>
          <a:p>
            <a:pPr lvl="0"/>
            <a:r>
              <a:rPr lang="en-US"/>
              <a:t>Lorem ipsum dolor sit </a:t>
            </a:r>
            <a:r>
              <a:rPr lang="en-US" err="1"/>
              <a:t>amet</a:t>
            </a:r>
            <a:endParaRPr lang="en-US"/>
          </a:p>
          <a:p>
            <a:pPr lvl="0"/>
            <a:r>
              <a:rPr lang="en-US"/>
              <a:t>Lorem ipsum dolor sit </a:t>
            </a:r>
            <a:r>
              <a:rPr lang="en-US" err="1"/>
              <a:t>amet</a:t>
            </a:r>
            <a:endParaRPr lang="en-US"/>
          </a:p>
        </p:txBody>
      </p:sp>
      <p:sp>
        <p:nvSpPr>
          <p:cNvPr id="10" name="Date Placeholder 9">
            <a:extLst>
              <a:ext uri="{FF2B5EF4-FFF2-40B4-BE49-F238E27FC236}">
                <a16:creationId xmlns:a16="http://schemas.microsoft.com/office/drawing/2014/main" id="{A98334B6-CD1D-5F15-3BF8-6F7E0E5132A7}"/>
              </a:ext>
            </a:extLst>
          </p:cNvPr>
          <p:cNvSpPr>
            <a:spLocks noGrp="1"/>
          </p:cNvSpPr>
          <p:nvPr>
            <p:ph type="dt" sz="half" idx="23"/>
          </p:nvPr>
        </p:nvSpPr>
        <p:spPr>
          <a:xfrm>
            <a:off x="4260849" y="6387525"/>
            <a:ext cx="592173" cy="123111"/>
          </a:xfrm>
        </p:spPr>
        <p:txBody>
          <a:bodyPr/>
          <a:lstStyle/>
          <a:p>
            <a:fld id="{2913E2AA-5549-4484-A8DA-0531C0F0F4A0}" type="datetime1">
              <a:rPr lang="en-US" smtClean="0"/>
              <a:t>10/31/2024</a:t>
            </a:fld>
            <a:endParaRPr lang="en-US"/>
          </a:p>
        </p:txBody>
      </p:sp>
      <p:sp>
        <p:nvSpPr>
          <p:cNvPr id="11" name="Footer Placeholder 10">
            <a:extLst>
              <a:ext uri="{FF2B5EF4-FFF2-40B4-BE49-F238E27FC236}">
                <a16:creationId xmlns:a16="http://schemas.microsoft.com/office/drawing/2014/main" id="{B4E422EB-9302-6B2D-A2B3-AA6AE510DFF5}"/>
              </a:ext>
            </a:extLst>
          </p:cNvPr>
          <p:cNvSpPr>
            <a:spLocks noGrp="1"/>
          </p:cNvSpPr>
          <p:nvPr>
            <p:ph type="ftr" sz="quarter" idx="24"/>
          </p:nvPr>
        </p:nvSpPr>
        <p:spPr>
          <a:xfrm>
            <a:off x="5024438" y="6387525"/>
            <a:ext cx="5618074" cy="123111"/>
          </a:xfrm>
        </p:spPr>
        <p:txBody>
          <a:bodyPr/>
          <a:lstStyle/>
          <a:p>
            <a:r>
              <a:rPr lang="en-US"/>
              <a:t>Group Presentation</a:t>
            </a:r>
          </a:p>
        </p:txBody>
      </p:sp>
      <p:sp>
        <p:nvSpPr>
          <p:cNvPr id="12" name="Slide Number Placeholder 11">
            <a:extLst>
              <a:ext uri="{FF2B5EF4-FFF2-40B4-BE49-F238E27FC236}">
                <a16:creationId xmlns:a16="http://schemas.microsoft.com/office/drawing/2014/main" id="{9ECA0F19-7D7E-1D9B-7AF8-4E809F253014}"/>
              </a:ext>
            </a:extLst>
          </p:cNvPr>
          <p:cNvSpPr>
            <a:spLocks noGrp="1"/>
          </p:cNvSpPr>
          <p:nvPr>
            <p:ph type="sldNum" sz="quarter" idx="25"/>
          </p:nvPr>
        </p:nvSpPr>
        <p:spPr>
          <a:xfrm>
            <a:off x="382589" y="6386334"/>
            <a:ext cx="265112" cy="123111"/>
          </a:xfrm>
        </p:spPr>
        <p:txBody>
          <a:bodyPr/>
          <a:lstStyle/>
          <a:p>
            <a:fld id="{A115CDC9-74CB-4F6C-8CD3-A6C89F254EE7}" type="slidenum">
              <a:rPr lang="en-US" smtClean="0"/>
              <a:pPr/>
              <a:t>‹#›</a:t>
            </a:fld>
            <a:endParaRPr lang="en-US"/>
          </a:p>
        </p:txBody>
      </p:sp>
      <p:sp>
        <p:nvSpPr>
          <p:cNvPr id="25" name="Bildplatzhalter 19">
            <a:extLst>
              <a:ext uri="{FF2B5EF4-FFF2-40B4-BE49-F238E27FC236}">
                <a16:creationId xmlns:a16="http://schemas.microsoft.com/office/drawing/2014/main" id="{FDD8BEB8-15F3-3AC8-B513-5EC7B5F7CEAA}"/>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257023909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Agenda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3F9F96-C180-C455-40B8-7073A9EBA0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2" name="Object 1" hidden="1">
                        <a:extLst>
                          <a:ext uri="{FF2B5EF4-FFF2-40B4-BE49-F238E27FC236}">
                            <a16:creationId xmlns:a16="http://schemas.microsoft.com/office/drawing/2014/main" id="{B63F9F96-C180-C455-40B8-7073A9EBA0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Bildplatzhalter 12">
            <a:extLst>
              <a:ext uri="{FF2B5EF4-FFF2-40B4-BE49-F238E27FC236}">
                <a16:creationId xmlns:a16="http://schemas.microsoft.com/office/drawing/2014/main" id="{6DDC2983-B7A7-3448-D56C-CC15554DD9E8}"/>
              </a:ext>
            </a:extLst>
          </p:cNvPr>
          <p:cNvSpPr>
            <a:spLocks noGrp="1"/>
          </p:cNvSpPr>
          <p:nvPr>
            <p:ph type="pic" sz="quarter" idx="13" hasCustomPrompt="1"/>
          </p:nvPr>
        </p:nvSpPr>
        <p:spPr>
          <a:xfrm>
            <a:off x="0" y="1"/>
            <a:ext cx="5032375" cy="6857729"/>
          </a:xfrm>
          <a:solidFill>
            <a:schemeClr val="bg1"/>
          </a:solidFill>
        </p:spPr>
        <p:txBody>
          <a:bodyPr/>
          <a:lstStyle/>
          <a:p>
            <a:r>
              <a:rPr lang="en-US" noProof="0"/>
              <a:t>Add image by clicking on icon and set image in background</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a:xfrm>
            <a:off x="6192838" y="542123"/>
            <a:ext cx="5618162" cy="283219"/>
          </a:xfrm>
        </p:spPr>
        <p:txBody>
          <a:bodyPr vert="horz"/>
          <a:lstStyle>
            <a:lvl1pPr>
              <a:defRPr/>
            </a:lvl1pPr>
          </a:lstStyle>
          <a:p>
            <a:r>
              <a:rPr lang="en-US" noProof="0"/>
              <a:t>Agenda</a:t>
            </a:r>
          </a:p>
        </p:txBody>
      </p:sp>
      <p:sp>
        <p:nvSpPr>
          <p:cNvPr id="20" name="Textplatzhalter 19">
            <a:extLst>
              <a:ext uri="{FF2B5EF4-FFF2-40B4-BE49-F238E27FC236}">
                <a16:creationId xmlns:a16="http://schemas.microsoft.com/office/drawing/2014/main" id="{2BE49A6E-C6FD-7D3F-63EF-3F16D24778D4}"/>
              </a:ext>
            </a:extLst>
          </p:cNvPr>
          <p:cNvSpPr>
            <a:spLocks noGrp="1"/>
          </p:cNvSpPr>
          <p:nvPr>
            <p:ph type="body" sz="quarter" idx="14" hasCustomPrompt="1"/>
          </p:nvPr>
        </p:nvSpPr>
        <p:spPr>
          <a:xfrm>
            <a:off x="6192838" y="1539550"/>
            <a:ext cx="5618162" cy="242597"/>
          </a:xfrm>
        </p:spPr>
        <p:txBody>
          <a:bodyPr/>
          <a:lstStyle>
            <a:lvl1pPr marL="719138" indent="-719138">
              <a:buFont typeface="+mj-lt"/>
              <a:buAutoNum type="arabicPeriod"/>
              <a:defRPr b="1">
                <a:latin typeface="+mj-lt"/>
              </a:defRPr>
            </a:lvl1pPr>
          </a:lstStyle>
          <a:p>
            <a:pPr lvl="0"/>
            <a:r>
              <a:rPr lang="en-US" noProof="0"/>
              <a:t>Chapter heading</a:t>
            </a:r>
          </a:p>
        </p:txBody>
      </p:sp>
      <p:sp>
        <p:nvSpPr>
          <p:cNvPr id="22" name="Textplatzhalter 21">
            <a:extLst>
              <a:ext uri="{FF2B5EF4-FFF2-40B4-BE49-F238E27FC236}">
                <a16:creationId xmlns:a16="http://schemas.microsoft.com/office/drawing/2014/main" id="{D26B39CE-6632-9409-187B-FC44FFB18B97}"/>
              </a:ext>
            </a:extLst>
          </p:cNvPr>
          <p:cNvSpPr>
            <a:spLocks noGrp="1"/>
          </p:cNvSpPr>
          <p:nvPr>
            <p:ph type="body" sz="quarter" idx="15" hasCustomPrompt="1"/>
          </p:nvPr>
        </p:nvSpPr>
        <p:spPr>
          <a:xfrm>
            <a:off x="6192838" y="1782148"/>
            <a:ext cx="5618162"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3" name="Textplatzhalter 19">
            <a:extLst>
              <a:ext uri="{FF2B5EF4-FFF2-40B4-BE49-F238E27FC236}">
                <a16:creationId xmlns:a16="http://schemas.microsoft.com/office/drawing/2014/main" id="{3C5040A3-3630-A769-6AD2-0EEAE25523CD}"/>
              </a:ext>
            </a:extLst>
          </p:cNvPr>
          <p:cNvSpPr>
            <a:spLocks noGrp="1"/>
          </p:cNvSpPr>
          <p:nvPr>
            <p:ph type="body" sz="quarter" idx="16" hasCustomPrompt="1"/>
          </p:nvPr>
        </p:nvSpPr>
        <p:spPr>
          <a:xfrm>
            <a:off x="6192838" y="2294745"/>
            <a:ext cx="5618162" cy="242597"/>
          </a:xfrm>
        </p:spPr>
        <p:txBody>
          <a:bodyPr/>
          <a:lstStyle>
            <a:lvl1pPr marL="719138" indent="-719138">
              <a:buFont typeface="+mj-lt"/>
              <a:buAutoNum type="arabicPeriod" startAt="2"/>
              <a:defRPr b="1">
                <a:latin typeface="+mj-lt"/>
              </a:defRPr>
            </a:lvl1pPr>
          </a:lstStyle>
          <a:p>
            <a:pPr lvl="0"/>
            <a:r>
              <a:rPr lang="en-US" noProof="0"/>
              <a:t>Chapter heading</a:t>
            </a:r>
          </a:p>
        </p:txBody>
      </p:sp>
      <p:sp>
        <p:nvSpPr>
          <p:cNvPr id="24" name="Textplatzhalter 21">
            <a:extLst>
              <a:ext uri="{FF2B5EF4-FFF2-40B4-BE49-F238E27FC236}">
                <a16:creationId xmlns:a16="http://schemas.microsoft.com/office/drawing/2014/main" id="{9556C504-11AB-CD71-FCA2-A34FDADDCFC0}"/>
              </a:ext>
            </a:extLst>
          </p:cNvPr>
          <p:cNvSpPr>
            <a:spLocks noGrp="1"/>
          </p:cNvSpPr>
          <p:nvPr>
            <p:ph type="body" sz="quarter" idx="17" hasCustomPrompt="1"/>
          </p:nvPr>
        </p:nvSpPr>
        <p:spPr>
          <a:xfrm>
            <a:off x="6192838" y="2537342"/>
            <a:ext cx="5618162"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5" name="Textplatzhalter 19">
            <a:extLst>
              <a:ext uri="{FF2B5EF4-FFF2-40B4-BE49-F238E27FC236}">
                <a16:creationId xmlns:a16="http://schemas.microsoft.com/office/drawing/2014/main" id="{C7B475B5-7119-CA3B-EB54-3152D6D487E6}"/>
              </a:ext>
            </a:extLst>
          </p:cNvPr>
          <p:cNvSpPr>
            <a:spLocks noGrp="1"/>
          </p:cNvSpPr>
          <p:nvPr>
            <p:ph type="body" sz="quarter" idx="18" hasCustomPrompt="1"/>
          </p:nvPr>
        </p:nvSpPr>
        <p:spPr>
          <a:xfrm>
            <a:off x="6192838" y="3049939"/>
            <a:ext cx="5618162" cy="242597"/>
          </a:xfrm>
        </p:spPr>
        <p:txBody>
          <a:bodyPr/>
          <a:lstStyle>
            <a:lvl1pPr marL="719138" indent="-719138">
              <a:buFont typeface="+mj-lt"/>
              <a:buAutoNum type="arabicPeriod" startAt="3"/>
              <a:defRPr b="1">
                <a:latin typeface="+mj-lt"/>
              </a:defRPr>
            </a:lvl1pPr>
          </a:lstStyle>
          <a:p>
            <a:pPr lvl="0"/>
            <a:r>
              <a:rPr lang="en-US" noProof="0"/>
              <a:t>Chapter heading</a:t>
            </a:r>
          </a:p>
        </p:txBody>
      </p:sp>
      <p:sp>
        <p:nvSpPr>
          <p:cNvPr id="26" name="Textplatzhalter 21">
            <a:extLst>
              <a:ext uri="{FF2B5EF4-FFF2-40B4-BE49-F238E27FC236}">
                <a16:creationId xmlns:a16="http://schemas.microsoft.com/office/drawing/2014/main" id="{9ED2EE46-9584-58D5-ED30-0B106DE57065}"/>
              </a:ext>
            </a:extLst>
          </p:cNvPr>
          <p:cNvSpPr>
            <a:spLocks noGrp="1"/>
          </p:cNvSpPr>
          <p:nvPr>
            <p:ph type="body" sz="quarter" idx="19" hasCustomPrompt="1"/>
          </p:nvPr>
        </p:nvSpPr>
        <p:spPr>
          <a:xfrm>
            <a:off x="6192838" y="3292536"/>
            <a:ext cx="5618162"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7" name="Textplatzhalter 19">
            <a:extLst>
              <a:ext uri="{FF2B5EF4-FFF2-40B4-BE49-F238E27FC236}">
                <a16:creationId xmlns:a16="http://schemas.microsoft.com/office/drawing/2014/main" id="{67997D2B-E157-24AA-D960-F09E43B3AA62}"/>
              </a:ext>
            </a:extLst>
          </p:cNvPr>
          <p:cNvSpPr>
            <a:spLocks noGrp="1"/>
          </p:cNvSpPr>
          <p:nvPr>
            <p:ph type="body" sz="quarter" idx="20" hasCustomPrompt="1"/>
          </p:nvPr>
        </p:nvSpPr>
        <p:spPr>
          <a:xfrm>
            <a:off x="6192838" y="3805133"/>
            <a:ext cx="5618162" cy="242597"/>
          </a:xfrm>
        </p:spPr>
        <p:txBody>
          <a:bodyPr/>
          <a:lstStyle>
            <a:lvl1pPr marL="719138" indent="-719138">
              <a:buFont typeface="+mj-lt"/>
              <a:buAutoNum type="arabicPeriod" startAt="4"/>
              <a:defRPr b="1">
                <a:latin typeface="+mj-lt"/>
              </a:defRPr>
            </a:lvl1pPr>
          </a:lstStyle>
          <a:p>
            <a:pPr lvl="0"/>
            <a:r>
              <a:rPr lang="en-US" noProof="0"/>
              <a:t>Chapter heading</a:t>
            </a:r>
          </a:p>
        </p:txBody>
      </p:sp>
      <p:sp>
        <p:nvSpPr>
          <p:cNvPr id="28" name="Textplatzhalter 21">
            <a:extLst>
              <a:ext uri="{FF2B5EF4-FFF2-40B4-BE49-F238E27FC236}">
                <a16:creationId xmlns:a16="http://schemas.microsoft.com/office/drawing/2014/main" id="{77E6D626-5CF9-6CE2-4F6F-1671F16BED0A}"/>
              </a:ext>
            </a:extLst>
          </p:cNvPr>
          <p:cNvSpPr>
            <a:spLocks noGrp="1"/>
          </p:cNvSpPr>
          <p:nvPr>
            <p:ph type="body" sz="quarter" idx="21" hasCustomPrompt="1"/>
          </p:nvPr>
        </p:nvSpPr>
        <p:spPr>
          <a:xfrm>
            <a:off x="6192838" y="4047730"/>
            <a:ext cx="5618162"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9" name="Textplatzhalter 19">
            <a:extLst>
              <a:ext uri="{FF2B5EF4-FFF2-40B4-BE49-F238E27FC236}">
                <a16:creationId xmlns:a16="http://schemas.microsoft.com/office/drawing/2014/main" id="{286CDAE6-B497-8686-B2B3-63B0FAABA1E1}"/>
              </a:ext>
            </a:extLst>
          </p:cNvPr>
          <p:cNvSpPr>
            <a:spLocks noGrp="1"/>
          </p:cNvSpPr>
          <p:nvPr>
            <p:ph type="body" sz="quarter" idx="22" hasCustomPrompt="1"/>
          </p:nvPr>
        </p:nvSpPr>
        <p:spPr>
          <a:xfrm>
            <a:off x="6192838" y="4560327"/>
            <a:ext cx="5618162" cy="242597"/>
          </a:xfrm>
        </p:spPr>
        <p:txBody>
          <a:bodyPr/>
          <a:lstStyle>
            <a:lvl1pPr marL="719138" indent="-719138">
              <a:buFont typeface="+mj-lt"/>
              <a:buAutoNum type="arabicPeriod" startAt="5"/>
              <a:defRPr b="1">
                <a:latin typeface="+mj-lt"/>
              </a:defRPr>
            </a:lvl1pPr>
          </a:lstStyle>
          <a:p>
            <a:pPr lvl="0"/>
            <a:r>
              <a:rPr lang="en-US" noProof="0"/>
              <a:t>Chapter heading</a:t>
            </a:r>
          </a:p>
        </p:txBody>
      </p:sp>
      <p:sp>
        <p:nvSpPr>
          <p:cNvPr id="30" name="Textplatzhalter 21">
            <a:extLst>
              <a:ext uri="{FF2B5EF4-FFF2-40B4-BE49-F238E27FC236}">
                <a16:creationId xmlns:a16="http://schemas.microsoft.com/office/drawing/2014/main" id="{1B50D682-8ACD-3995-B0AB-C894DD56D500}"/>
              </a:ext>
            </a:extLst>
          </p:cNvPr>
          <p:cNvSpPr>
            <a:spLocks noGrp="1"/>
          </p:cNvSpPr>
          <p:nvPr>
            <p:ph type="body" sz="quarter" idx="23" hasCustomPrompt="1"/>
          </p:nvPr>
        </p:nvSpPr>
        <p:spPr>
          <a:xfrm>
            <a:off x="6192838" y="4802924"/>
            <a:ext cx="5618162"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10" name="Date Placeholder 9">
            <a:extLst>
              <a:ext uri="{FF2B5EF4-FFF2-40B4-BE49-F238E27FC236}">
                <a16:creationId xmlns:a16="http://schemas.microsoft.com/office/drawing/2014/main" id="{E1B17CF3-5C4C-0D46-60F0-E0E93C38D834}"/>
              </a:ext>
            </a:extLst>
          </p:cNvPr>
          <p:cNvSpPr>
            <a:spLocks noGrp="1"/>
          </p:cNvSpPr>
          <p:nvPr>
            <p:ph type="dt" sz="half" idx="25"/>
          </p:nvPr>
        </p:nvSpPr>
        <p:spPr>
          <a:xfrm>
            <a:off x="6192838" y="6387525"/>
            <a:ext cx="592173" cy="123111"/>
          </a:xfrm>
        </p:spPr>
        <p:txBody>
          <a:bodyPr/>
          <a:lstStyle/>
          <a:p>
            <a:fld id="{230848E0-4435-4948-853E-FF7E322CF545}" type="datetime1">
              <a:rPr lang="en-US" noProof="0" smtClean="0"/>
              <a:t>10/31/2024</a:t>
            </a:fld>
            <a:endParaRPr lang="en-US" noProof="0"/>
          </a:p>
        </p:txBody>
      </p:sp>
      <p:sp>
        <p:nvSpPr>
          <p:cNvPr id="11" name="Footer Placeholder 10">
            <a:extLst>
              <a:ext uri="{FF2B5EF4-FFF2-40B4-BE49-F238E27FC236}">
                <a16:creationId xmlns:a16="http://schemas.microsoft.com/office/drawing/2014/main" id="{7638BDD2-7014-F28D-8CB6-368BCAF3C49A}"/>
              </a:ext>
            </a:extLst>
          </p:cNvPr>
          <p:cNvSpPr>
            <a:spLocks noGrp="1"/>
          </p:cNvSpPr>
          <p:nvPr>
            <p:ph type="ftr" sz="quarter" idx="26"/>
          </p:nvPr>
        </p:nvSpPr>
        <p:spPr>
          <a:xfrm>
            <a:off x="7164388" y="6387525"/>
            <a:ext cx="3667125" cy="123111"/>
          </a:xfrm>
        </p:spPr>
        <p:txBody>
          <a:bodyPr/>
          <a:lstStyle/>
          <a:p>
            <a:r>
              <a:rPr lang="en-US" noProof="0"/>
              <a:t>Group Presentation</a:t>
            </a:r>
          </a:p>
        </p:txBody>
      </p:sp>
      <p:sp>
        <p:nvSpPr>
          <p:cNvPr id="12" name="Slide Number Placeholder 11">
            <a:extLst>
              <a:ext uri="{FF2B5EF4-FFF2-40B4-BE49-F238E27FC236}">
                <a16:creationId xmlns:a16="http://schemas.microsoft.com/office/drawing/2014/main" id="{EA5E6616-8E56-236F-22CA-EF4AB2CB74AA}"/>
              </a:ext>
            </a:extLst>
          </p:cNvPr>
          <p:cNvSpPr>
            <a:spLocks noGrp="1"/>
          </p:cNvSpPr>
          <p:nvPr>
            <p:ph type="sldNum" sz="quarter" idx="27"/>
          </p:nvPr>
        </p:nvSpPr>
        <p:spPr/>
        <p:txBody>
          <a:bodyPr/>
          <a:lstStyle/>
          <a:p>
            <a:fld id="{A115CDC9-74CB-4F6C-8CD3-A6C89F254EE7}" type="slidenum">
              <a:rPr lang="en-US" noProof="0" smtClean="0"/>
              <a:pPr/>
              <a:t>‹#›</a:t>
            </a:fld>
            <a:endParaRPr lang="en-US" noProof="0"/>
          </a:p>
        </p:txBody>
      </p:sp>
      <p:sp>
        <p:nvSpPr>
          <p:cNvPr id="3" name="Bildplatzhalter 19">
            <a:extLst>
              <a:ext uri="{FF2B5EF4-FFF2-40B4-BE49-F238E27FC236}">
                <a16:creationId xmlns:a16="http://schemas.microsoft.com/office/drawing/2014/main" id="{EC6A1EFB-F13D-05CF-FE4C-5387DDD25260}"/>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Tree>
    <p:extLst>
      <p:ext uri="{BB962C8B-B14F-4D97-AF65-F5344CB8AC3E}">
        <p14:creationId xmlns:p14="http://schemas.microsoft.com/office/powerpoint/2010/main" val="270756723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9DA5E9-E4BA-9A87-0124-200A34FBF4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8" name="Object 7" hidden="1">
                        <a:extLst>
                          <a:ext uri="{FF2B5EF4-FFF2-40B4-BE49-F238E27FC236}">
                            <a16:creationId xmlns:a16="http://schemas.microsoft.com/office/drawing/2014/main" id="{799DA5E9-E4BA-9A87-0124-200A34FBF4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F10C284B-0642-0A03-A988-6383BE3F80E7}"/>
              </a:ext>
            </a:extLst>
          </p:cNvPr>
          <p:cNvSpPr>
            <a:spLocks noGrp="1"/>
          </p:cNvSpPr>
          <p:nvPr>
            <p:ph type="pic" sz="quarter" idx="13"/>
          </p:nvPr>
        </p:nvSpPr>
        <p:spPr>
          <a:xfrm>
            <a:off x="0" y="271"/>
            <a:ext cx="3095502" cy="6857729"/>
          </a:xfrm>
          <a:solidFill>
            <a:schemeClr val="bg1"/>
          </a:solidFill>
        </p:spPr>
        <p:txBody>
          <a:bodyPr/>
          <a:lstStyle/>
          <a:p>
            <a:r>
              <a:rPr lang="de-DE" noProof="0"/>
              <a:t>Bild durch Klicken auf Symbol hinzufügen</a:t>
            </a:r>
            <a:endParaRPr lang="en-GB" noProof="0"/>
          </a:p>
        </p:txBody>
      </p:sp>
      <p:sp>
        <p:nvSpPr>
          <p:cNvPr id="7" name="Titel 6">
            <a:extLst>
              <a:ext uri="{FF2B5EF4-FFF2-40B4-BE49-F238E27FC236}">
                <a16:creationId xmlns:a16="http://schemas.microsoft.com/office/drawing/2014/main" id="{810C69C8-D508-0724-A353-6D1F76723721}"/>
              </a:ext>
            </a:extLst>
          </p:cNvPr>
          <p:cNvSpPr>
            <a:spLocks noGrp="1"/>
          </p:cNvSpPr>
          <p:nvPr>
            <p:ph type="title" hasCustomPrompt="1"/>
          </p:nvPr>
        </p:nvSpPr>
        <p:spPr>
          <a:xfrm>
            <a:off x="4260849" y="547147"/>
            <a:ext cx="7544691" cy="283219"/>
          </a:xfrm>
        </p:spPr>
        <p:txBody>
          <a:bodyPr vert="horz"/>
          <a:lstStyle>
            <a:lvl1pPr>
              <a:defRPr/>
            </a:lvl1pPr>
          </a:lstStyle>
          <a:p>
            <a:r>
              <a:rPr lang="en-US" noProof="0"/>
              <a:t>Agenda</a:t>
            </a:r>
          </a:p>
        </p:txBody>
      </p:sp>
      <p:sp>
        <p:nvSpPr>
          <p:cNvPr id="2" name="Textplatzhalter 19">
            <a:extLst>
              <a:ext uri="{FF2B5EF4-FFF2-40B4-BE49-F238E27FC236}">
                <a16:creationId xmlns:a16="http://schemas.microsoft.com/office/drawing/2014/main" id="{CA39A1E5-E8EF-0237-A64E-13416A5D1022}"/>
              </a:ext>
            </a:extLst>
          </p:cNvPr>
          <p:cNvSpPr>
            <a:spLocks noGrp="1"/>
          </p:cNvSpPr>
          <p:nvPr>
            <p:ph type="body" sz="quarter" idx="14" hasCustomPrompt="1"/>
          </p:nvPr>
        </p:nvSpPr>
        <p:spPr>
          <a:xfrm>
            <a:off x="4260850" y="1539550"/>
            <a:ext cx="3676650" cy="242597"/>
          </a:xfrm>
        </p:spPr>
        <p:txBody>
          <a:bodyPr/>
          <a:lstStyle>
            <a:lvl1pPr marL="719138" indent="-719138">
              <a:buFont typeface="+mj-lt"/>
              <a:buAutoNum type="arabicPeriod"/>
              <a:defRPr b="1">
                <a:latin typeface="+mj-lt"/>
              </a:defRPr>
            </a:lvl1pPr>
          </a:lstStyle>
          <a:p>
            <a:pPr lvl="0"/>
            <a:r>
              <a:rPr lang="en-US" noProof="0"/>
              <a:t>Chapter heading</a:t>
            </a:r>
          </a:p>
        </p:txBody>
      </p:sp>
      <p:sp>
        <p:nvSpPr>
          <p:cNvPr id="3" name="Textplatzhalter 21">
            <a:extLst>
              <a:ext uri="{FF2B5EF4-FFF2-40B4-BE49-F238E27FC236}">
                <a16:creationId xmlns:a16="http://schemas.microsoft.com/office/drawing/2014/main" id="{9A5E3B74-AC92-D4E6-08FB-7E0E1D2E7CDB}"/>
              </a:ext>
            </a:extLst>
          </p:cNvPr>
          <p:cNvSpPr>
            <a:spLocks noGrp="1"/>
          </p:cNvSpPr>
          <p:nvPr>
            <p:ph type="body" sz="quarter" idx="15" hasCustomPrompt="1"/>
          </p:nvPr>
        </p:nvSpPr>
        <p:spPr>
          <a:xfrm>
            <a:off x="4260850" y="1782148"/>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4" name="Textplatzhalter 19">
            <a:extLst>
              <a:ext uri="{FF2B5EF4-FFF2-40B4-BE49-F238E27FC236}">
                <a16:creationId xmlns:a16="http://schemas.microsoft.com/office/drawing/2014/main" id="{194A37A7-CCE0-C4DD-08FB-84CAC2A14E9F}"/>
              </a:ext>
            </a:extLst>
          </p:cNvPr>
          <p:cNvSpPr>
            <a:spLocks noGrp="1"/>
          </p:cNvSpPr>
          <p:nvPr>
            <p:ph type="body" sz="quarter" idx="16" hasCustomPrompt="1"/>
          </p:nvPr>
        </p:nvSpPr>
        <p:spPr>
          <a:xfrm>
            <a:off x="4260850" y="2294745"/>
            <a:ext cx="3676650" cy="242597"/>
          </a:xfrm>
        </p:spPr>
        <p:txBody>
          <a:bodyPr/>
          <a:lstStyle>
            <a:lvl1pPr marL="719138" indent="-719138">
              <a:buFont typeface="+mj-lt"/>
              <a:buAutoNum type="arabicPeriod" startAt="2"/>
              <a:defRPr b="1">
                <a:latin typeface="+mj-lt"/>
              </a:defRPr>
            </a:lvl1pPr>
          </a:lstStyle>
          <a:p>
            <a:pPr lvl="0"/>
            <a:r>
              <a:rPr lang="en-US" noProof="0"/>
              <a:t>Chapter heading</a:t>
            </a:r>
          </a:p>
        </p:txBody>
      </p:sp>
      <p:sp>
        <p:nvSpPr>
          <p:cNvPr id="5" name="Textplatzhalter 21">
            <a:extLst>
              <a:ext uri="{FF2B5EF4-FFF2-40B4-BE49-F238E27FC236}">
                <a16:creationId xmlns:a16="http://schemas.microsoft.com/office/drawing/2014/main" id="{CDCF2FC9-7F31-58A8-86E1-536ECADA3D7E}"/>
              </a:ext>
            </a:extLst>
          </p:cNvPr>
          <p:cNvSpPr>
            <a:spLocks noGrp="1"/>
          </p:cNvSpPr>
          <p:nvPr>
            <p:ph type="body" sz="quarter" idx="17" hasCustomPrompt="1"/>
          </p:nvPr>
        </p:nvSpPr>
        <p:spPr>
          <a:xfrm>
            <a:off x="4260850" y="2537342"/>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6" name="Textplatzhalter 19">
            <a:extLst>
              <a:ext uri="{FF2B5EF4-FFF2-40B4-BE49-F238E27FC236}">
                <a16:creationId xmlns:a16="http://schemas.microsoft.com/office/drawing/2014/main" id="{7DF88484-847E-4926-F617-C732B90F6E1E}"/>
              </a:ext>
            </a:extLst>
          </p:cNvPr>
          <p:cNvSpPr>
            <a:spLocks noGrp="1"/>
          </p:cNvSpPr>
          <p:nvPr>
            <p:ph type="body" sz="quarter" idx="18" hasCustomPrompt="1"/>
          </p:nvPr>
        </p:nvSpPr>
        <p:spPr>
          <a:xfrm>
            <a:off x="4260850" y="3049939"/>
            <a:ext cx="3676650" cy="242597"/>
          </a:xfrm>
        </p:spPr>
        <p:txBody>
          <a:bodyPr/>
          <a:lstStyle>
            <a:lvl1pPr marL="719138" indent="-719138">
              <a:buFont typeface="+mj-lt"/>
              <a:buAutoNum type="arabicPeriod" startAt="3"/>
              <a:defRPr b="1">
                <a:latin typeface="+mj-lt"/>
              </a:defRPr>
            </a:lvl1pPr>
          </a:lstStyle>
          <a:p>
            <a:pPr lvl="0"/>
            <a:r>
              <a:rPr lang="en-US" noProof="0"/>
              <a:t>Chapter heading</a:t>
            </a:r>
          </a:p>
        </p:txBody>
      </p:sp>
      <p:sp>
        <p:nvSpPr>
          <p:cNvPr id="11" name="Textplatzhalter 21">
            <a:extLst>
              <a:ext uri="{FF2B5EF4-FFF2-40B4-BE49-F238E27FC236}">
                <a16:creationId xmlns:a16="http://schemas.microsoft.com/office/drawing/2014/main" id="{FA8EC28A-3440-0DF5-AE6F-F97C33C3335B}"/>
              </a:ext>
            </a:extLst>
          </p:cNvPr>
          <p:cNvSpPr>
            <a:spLocks noGrp="1"/>
          </p:cNvSpPr>
          <p:nvPr>
            <p:ph type="body" sz="quarter" idx="19" hasCustomPrompt="1"/>
          </p:nvPr>
        </p:nvSpPr>
        <p:spPr>
          <a:xfrm>
            <a:off x="4260850" y="3292536"/>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12" name="Textplatzhalter 19">
            <a:extLst>
              <a:ext uri="{FF2B5EF4-FFF2-40B4-BE49-F238E27FC236}">
                <a16:creationId xmlns:a16="http://schemas.microsoft.com/office/drawing/2014/main" id="{8643FFF0-4582-651C-F184-4D64BD89C2AA}"/>
              </a:ext>
            </a:extLst>
          </p:cNvPr>
          <p:cNvSpPr>
            <a:spLocks noGrp="1"/>
          </p:cNvSpPr>
          <p:nvPr>
            <p:ph type="body" sz="quarter" idx="20" hasCustomPrompt="1"/>
          </p:nvPr>
        </p:nvSpPr>
        <p:spPr>
          <a:xfrm>
            <a:off x="4260850" y="3805133"/>
            <a:ext cx="3676650" cy="242597"/>
          </a:xfrm>
        </p:spPr>
        <p:txBody>
          <a:bodyPr/>
          <a:lstStyle>
            <a:lvl1pPr marL="719138" indent="-719138">
              <a:buFont typeface="+mj-lt"/>
              <a:buAutoNum type="arabicPeriod" startAt="4"/>
              <a:defRPr b="1">
                <a:latin typeface="+mj-lt"/>
              </a:defRPr>
            </a:lvl1pPr>
          </a:lstStyle>
          <a:p>
            <a:pPr lvl="0"/>
            <a:r>
              <a:rPr lang="en-US" noProof="0"/>
              <a:t>Chapter heading</a:t>
            </a:r>
          </a:p>
        </p:txBody>
      </p:sp>
      <p:sp>
        <p:nvSpPr>
          <p:cNvPr id="14" name="Textplatzhalter 21">
            <a:extLst>
              <a:ext uri="{FF2B5EF4-FFF2-40B4-BE49-F238E27FC236}">
                <a16:creationId xmlns:a16="http://schemas.microsoft.com/office/drawing/2014/main" id="{E2C72C6B-00DD-24EB-0D80-A696763DC761}"/>
              </a:ext>
            </a:extLst>
          </p:cNvPr>
          <p:cNvSpPr>
            <a:spLocks noGrp="1"/>
          </p:cNvSpPr>
          <p:nvPr>
            <p:ph type="body" sz="quarter" idx="21" hasCustomPrompt="1"/>
          </p:nvPr>
        </p:nvSpPr>
        <p:spPr>
          <a:xfrm>
            <a:off x="4260850" y="4047730"/>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19" name="Textplatzhalter 19">
            <a:extLst>
              <a:ext uri="{FF2B5EF4-FFF2-40B4-BE49-F238E27FC236}">
                <a16:creationId xmlns:a16="http://schemas.microsoft.com/office/drawing/2014/main" id="{8D862FC6-3FEE-D8EA-0C5F-4D3300F00047}"/>
              </a:ext>
            </a:extLst>
          </p:cNvPr>
          <p:cNvSpPr>
            <a:spLocks noGrp="1"/>
          </p:cNvSpPr>
          <p:nvPr>
            <p:ph type="body" sz="quarter" idx="22" hasCustomPrompt="1"/>
          </p:nvPr>
        </p:nvSpPr>
        <p:spPr>
          <a:xfrm>
            <a:off x="4260850" y="4560327"/>
            <a:ext cx="3676650" cy="242597"/>
          </a:xfrm>
        </p:spPr>
        <p:txBody>
          <a:bodyPr/>
          <a:lstStyle>
            <a:lvl1pPr marL="719138" indent="-719138">
              <a:buFont typeface="+mj-lt"/>
              <a:buAutoNum type="arabicPeriod" startAt="5"/>
              <a:defRPr b="1">
                <a:latin typeface="+mj-lt"/>
              </a:defRPr>
            </a:lvl1pPr>
          </a:lstStyle>
          <a:p>
            <a:pPr lvl="0"/>
            <a:r>
              <a:rPr lang="en-US" noProof="0"/>
              <a:t>Chapter heading</a:t>
            </a:r>
          </a:p>
        </p:txBody>
      </p:sp>
      <p:sp>
        <p:nvSpPr>
          <p:cNvPr id="24" name="Textplatzhalter 21">
            <a:extLst>
              <a:ext uri="{FF2B5EF4-FFF2-40B4-BE49-F238E27FC236}">
                <a16:creationId xmlns:a16="http://schemas.microsoft.com/office/drawing/2014/main" id="{66374619-2AE0-8B11-57D0-3A61E5D540F9}"/>
              </a:ext>
            </a:extLst>
          </p:cNvPr>
          <p:cNvSpPr>
            <a:spLocks noGrp="1"/>
          </p:cNvSpPr>
          <p:nvPr>
            <p:ph type="body" sz="quarter" idx="23" hasCustomPrompt="1"/>
          </p:nvPr>
        </p:nvSpPr>
        <p:spPr>
          <a:xfrm>
            <a:off x="4260850" y="4802924"/>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5" name="Textplatzhalter 19">
            <a:extLst>
              <a:ext uri="{FF2B5EF4-FFF2-40B4-BE49-F238E27FC236}">
                <a16:creationId xmlns:a16="http://schemas.microsoft.com/office/drawing/2014/main" id="{CD9F7968-3D9B-E69D-220F-F0CB15EC9726}"/>
              </a:ext>
            </a:extLst>
          </p:cNvPr>
          <p:cNvSpPr>
            <a:spLocks noGrp="1"/>
          </p:cNvSpPr>
          <p:nvPr>
            <p:ph type="body" sz="quarter" idx="24" hasCustomPrompt="1"/>
          </p:nvPr>
        </p:nvSpPr>
        <p:spPr>
          <a:xfrm>
            <a:off x="8135938" y="1527175"/>
            <a:ext cx="3676650" cy="242597"/>
          </a:xfrm>
        </p:spPr>
        <p:txBody>
          <a:bodyPr/>
          <a:lstStyle>
            <a:lvl1pPr marL="719138" indent="-719138">
              <a:buFont typeface="+mj-lt"/>
              <a:buAutoNum type="arabicPeriod" startAt="6"/>
              <a:defRPr b="1">
                <a:latin typeface="+mj-lt"/>
              </a:defRPr>
            </a:lvl1pPr>
          </a:lstStyle>
          <a:p>
            <a:pPr lvl="0"/>
            <a:r>
              <a:rPr lang="en-US" noProof="0"/>
              <a:t>Chapter heading</a:t>
            </a:r>
          </a:p>
        </p:txBody>
      </p:sp>
      <p:sp>
        <p:nvSpPr>
          <p:cNvPr id="26" name="Textplatzhalter 21">
            <a:extLst>
              <a:ext uri="{FF2B5EF4-FFF2-40B4-BE49-F238E27FC236}">
                <a16:creationId xmlns:a16="http://schemas.microsoft.com/office/drawing/2014/main" id="{D82B70E0-C476-78C4-3C02-71EBA0C9EDC0}"/>
              </a:ext>
            </a:extLst>
          </p:cNvPr>
          <p:cNvSpPr>
            <a:spLocks noGrp="1"/>
          </p:cNvSpPr>
          <p:nvPr>
            <p:ph type="body" sz="quarter" idx="25" hasCustomPrompt="1"/>
          </p:nvPr>
        </p:nvSpPr>
        <p:spPr>
          <a:xfrm>
            <a:off x="8135938" y="1769773"/>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7" name="Textplatzhalter 19">
            <a:extLst>
              <a:ext uri="{FF2B5EF4-FFF2-40B4-BE49-F238E27FC236}">
                <a16:creationId xmlns:a16="http://schemas.microsoft.com/office/drawing/2014/main" id="{5C631519-6969-29C0-663C-5E51356E910E}"/>
              </a:ext>
            </a:extLst>
          </p:cNvPr>
          <p:cNvSpPr>
            <a:spLocks noGrp="1"/>
          </p:cNvSpPr>
          <p:nvPr>
            <p:ph type="body" sz="quarter" idx="26" hasCustomPrompt="1"/>
          </p:nvPr>
        </p:nvSpPr>
        <p:spPr>
          <a:xfrm>
            <a:off x="8135938" y="2282370"/>
            <a:ext cx="3676650" cy="242597"/>
          </a:xfrm>
        </p:spPr>
        <p:txBody>
          <a:bodyPr/>
          <a:lstStyle>
            <a:lvl1pPr marL="719138" indent="-719138">
              <a:buFont typeface="+mj-lt"/>
              <a:buAutoNum type="arabicPeriod" startAt="7"/>
              <a:defRPr b="1">
                <a:latin typeface="+mj-lt"/>
              </a:defRPr>
            </a:lvl1pPr>
          </a:lstStyle>
          <a:p>
            <a:pPr lvl="0"/>
            <a:r>
              <a:rPr lang="en-US" noProof="0"/>
              <a:t>Chapter heading</a:t>
            </a:r>
          </a:p>
        </p:txBody>
      </p:sp>
      <p:sp>
        <p:nvSpPr>
          <p:cNvPr id="28" name="Textplatzhalter 21">
            <a:extLst>
              <a:ext uri="{FF2B5EF4-FFF2-40B4-BE49-F238E27FC236}">
                <a16:creationId xmlns:a16="http://schemas.microsoft.com/office/drawing/2014/main" id="{D25547B7-3EA6-7411-FDC2-EC03C298DC3C}"/>
              </a:ext>
            </a:extLst>
          </p:cNvPr>
          <p:cNvSpPr>
            <a:spLocks noGrp="1"/>
          </p:cNvSpPr>
          <p:nvPr>
            <p:ph type="body" sz="quarter" idx="27" hasCustomPrompt="1"/>
          </p:nvPr>
        </p:nvSpPr>
        <p:spPr>
          <a:xfrm>
            <a:off x="8135938" y="2524967"/>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29" name="Textplatzhalter 19">
            <a:extLst>
              <a:ext uri="{FF2B5EF4-FFF2-40B4-BE49-F238E27FC236}">
                <a16:creationId xmlns:a16="http://schemas.microsoft.com/office/drawing/2014/main" id="{AD000910-F934-F245-4303-3D3B3EB730D0}"/>
              </a:ext>
            </a:extLst>
          </p:cNvPr>
          <p:cNvSpPr>
            <a:spLocks noGrp="1"/>
          </p:cNvSpPr>
          <p:nvPr>
            <p:ph type="body" sz="quarter" idx="28" hasCustomPrompt="1"/>
          </p:nvPr>
        </p:nvSpPr>
        <p:spPr>
          <a:xfrm>
            <a:off x="8135938" y="3037564"/>
            <a:ext cx="3676650" cy="242597"/>
          </a:xfrm>
        </p:spPr>
        <p:txBody>
          <a:bodyPr/>
          <a:lstStyle>
            <a:lvl1pPr marL="719138" indent="-719138">
              <a:buFont typeface="+mj-lt"/>
              <a:buAutoNum type="arabicPeriod" startAt="8"/>
              <a:defRPr b="1">
                <a:latin typeface="+mj-lt"/>
              </a:defRPr>
            </a:lvl1pPr>
          </a:lstStyle>
          <a:p>
            <a:pPr lvl="0"/>
            <a:r>
              <a:rPr lang="en-US" noProof="0"/>
              <a:t>Chapter heading</a:t>
            </a:r>
          </a:p>
        </p:txBody>
      </p:sp>
      <p:sp>
        <p:nvSpPr>
          <p:cNvPr id="30" name="Textplatzhalter 21">
            <a:extLst>
              <a:ext uri="{FF2B5EF4-FFF2-40B4-BE49-F238E27FC236}">
                <a16:creationId xmlns:a16="http://schemas.microsoft.com/office/drawing/2014/main" id="{39E6C198-7F9D-691C-3FD0-A7A633446DFA}"/>
              </a:ext>
            </a:extLst>
          </p:cNvPr>
          <p:cNvSpPr>
            <a:spLocks noGrp="1"/>
          </p:cNvSpPr>
          <p:nvPr>
            <p:ph type="body" sz="quarter" idx="29" hasCustomPrompt="1"/>
          </p:nvPr>
        </p:nvSpPr>
        <p:spPr>
          <a:xfrm>
            <a:off x="8135938" y="3280161"/>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31" name="Textplatzhalter 19">
            <a:extLst>
              <a:ext uri="{FF2B5EF4-FFF2-40B4-BE49-F238E27FC236}">
                <a16:creationId xmlns:a16="http://schemas.microsoft.com/office/drawing/2014/main" id="{851DA279-9FE1-1511-CA36-E1D42B2042E3}"/>
              </a:ext>
            </a:extLst>
          </p:cNvPr>
          <p:cNvSpPr>
            <a:spLocks noGrp="1"/>
          </p:cNvSpPr>
          <p:nvPr>
            <p:ph type="body" sz="quarter" idx="30" hasCustomPrompt="1"/>
          </p:nvPr>
        </p:nvSpPr>
        <p:spPr>
          <a:xfrm>
            <a:off x="8135938" y="3792758"/>
            <a:ext cx="3676650" cy="242597"/>
          </a:xfrm>
        </p:spPr>
        <p:txBody>
          <a:bodyPr/>
          <a:lstStyle>
            <a:lvl1pPr marL="719138" indent="-719138">
              <a:buFont typeface="+mj-lt"/>
              <a:buAutoNum type="arabicPeriod" startAt="9"/>
              <a:defRPr b="1">
                <a:latin typeface="+mj-lt"/>
              </a:defRPr>
            </a:lvl1pPr>
          </a:lstStyle>
          <a:p>
            <a:pPr lvl="0"/>
            <a:r>
              <a:rPr lang="en-US" noProof="0"/>
              <a:t>Chapter heading</a:t>
            </a:r>
          </a:p>
        </p:txBody>
      </p:sp>
      <p:sp>
        <p:nvSpPr>
          <p:cNvPr id="32" name="Textplatzhalter 21">
            <a:extLst>
              <a:ext uri="{FF2B5EF4-FFF2-40B4-BE49-F238E27FC236}">
                <a16:creationId xmlns:a16="http://schemas.microsoft.com/office/drawing/2014/main" id="{C9D6D55E-8585-D922-33D0-7FB69BDA977E}"/>
              </a:ext>
            </a:extLst>
          </p:cNvPr>
          <p:cNvSpPr>
            <a:spLocks noGrp="1"/>
          </p:cNvSpPr>
          <p:nvPr>
            <p:ph type="body" sz="quarter" idx="31" hasCustomPrompt="1"/>
          </p:nvPr>
        </p:nvSpPr>
        <p:spPr>
          <a:xfrm>
            <a:off x="8135938" y="4035355"/>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33" name="Textplatzhalter 19">
            <a:extLst>
              <a:ext uri="{FF2B5EF4-FFF2-40B4-BE49-F238E27FC236}">
                <a16:creationId xmlns:a16="http://schemas.microsoft.com/office/drawing/2014/main" id="{63E4B976-3034-8602-58B1-664686D12DAC}"/>
              </a:ext>
            </a:extLst>
          </p:cNvPr>
          <p:cNvSpPr>
            <a:spLocks noGrp="1"/>
          </p:cNvSpPr>
          <p:nvPr>
            <p:ph type="body" sz="quarter" idx="32" hasCustomPrompt="1"/>
          </p:nvPr>
        </p:nvSpPr>
        <p:spPr>
          <a:xfrm>
            <a:off x="8135938" y="4547952"/>
            <a:ext cx="3676650" cy="242597"/>
          </a:xfrm>
        </p:spPr>
        <p:txBody>
          <a:bodyPr/>
          <a:lstStyle>
            <a:lvl1pPr marL="719138" indent="-719138">
              <a:buFont typeface="+mj-lt"/>
              <a:buAutoNum type="arabicPeriod" startAt="10"/>
              <a:defRPr b="1">
                <a:latin typeface="+mj-lt"/>
              </a:defRPr>
            </a:lvl1pPr>
          </a:lstStyle>
          <a:p>
            <a:pPr lvl="0"/>
            <a:r>
              <a:rPr lang="en-US" noProof="0"/>
              <a:t>Chapter heading</a:t>
            </a:r>
          </a:p>
        </p:txBody>
      </p:sp>
      <p:sp>
        <p:nvSpPr>
          <p:cNvPr id="34" name="Textplatzhalter 21">
            <a:extLst>
              <a:ext uri="{FF2B5EF4-FFF2-40B4-BE49-F238E27FC236}">
                <a16:creationId xmlns:a16="http://schemas.microsoft.com/office/drawing/2014/main" id="{A15B8A27-0CAB-13C7-C7B1-4EE3120EF1CB}"/>
              </a:ext>
            </a:extLst>
          </p:cNvPr>
          <p:cNvSpPr>
            <a:spLocks noGrp="1"/>
          </p:cNvSpPr>
          <p:nvPr>
            <p:ph type="body" sz="quarter" idx="33" hasCustomPrompt="1"/>
          </p:nvPr>
        </p:nvSpPr>
        <p:spPr>
          <a:xfrm>
            <a:off x="8135938" y="4790549"/>
            <a:ext cx="3676650" cy="242597"/>
          </a:xfrm>
        </p:spPr>
        <p:txBody>
          <a:bodyPr tIns="36000"/>
          <a:lstStyle>
            <a:lvl1pPr marL="719138" indent="0">
              <a:buNone/>
              <a:defRPr/>
            </a:lvl1pPr>
          </a:lstStyle>
          <a:p>
            <a:pPr lvl="0"/>
            <a:r>
              <a:rPr lang="en-US" noProof="0"/>
              <a:t>Lorem </a:t>
            </a:r>
            <a:r>
              <a:rPr lang="en-US"/>
              <a:t>ipsum dolor sit </a:t>
            </a:r>
            <a:r>
              <a:rPr lang="en-US" err="1"/>
              <a:t>amet</a:t>
            </a:r>
            <a:endParaRPr lang="en-US" noProof="0"/>
          </a:p>
        </p:txBody>
      </p:sp>
      <p:sp>
        <p:nvSpPr>
          <p:cNvPr id="15" name="Bildplatzhalter 19">
            <a:extLst>
              <a:ext uri="{FF2B5EF4-FFF2-40B4-BE49-F238E27FC236}">
                <a16:creationId xmlns:a16="http://schemas.microsoft.com/office/drawing/2014/main" id="{397096BF-371A-6EE9-AF7E-94DEBA7FF117}"/>
              </a:ext>
            </a:extLst>
          </p:cNvPr>
          <p:cNvSpPr>
            <a:spLocks noGrp="1"/>
          </p:cNvSpPr>
          <p:nvPr>
            <p:ph type="pic" sz="quarter" idx="34" hasCustomPrompt="1"/>
          </p:nvPr>
        </p:nvSpPr>
        <p:spPr>
          <a:xfrm>
            <a:off x="1025514" y="6410506"/>
            <a:ext cx="1062384" cy="103295"/>
          </a:xfrm>
          <a:blipFill>
            <a:blip r:embed="rId5" cstate="hq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US" noProof="0"/>
              <a:t> </a:t>
            </a:r>
          </a:p>
        </p:txBody>
      </p:sp>
      <p:sp>
        <p:nvSpPr>
          <p:cNvPr id="20" name="Date Placeholder 19">
            <a:extLst>
              <a:ext uri="{FF2B5EF4-FFF2-40B4-BE49-F238E27FC236}">
                <a16:creationId xmlns:a16="http://schemas.microsoft.com/office/drawing/2014/main" id="{26E541A7-DE82-304B-3356-342106D96024}"/>
              </a:ext>
            </a:extLst>
          </p:cNvPr>
          <p:cNvSpPr>
            <a:spLocks noGrp="1"/>
          </p:cNvSpPr>
          <p:nvPr>
            <p:ph type="dt" sz="half" idx="35"/>
          </p:nvPr>
        </p:nvSpPr>
        <p:spPr>
          <a:xfrm>
            <a:off x="4263279" y="6387525"/>
            <a:ext cx="592173" cy="123111"/>
          </a:xfrm>
        </p:spPr>
        <p:txBody>
          <a:bodyPr/>
          <a:lstStyle/>
          <a:p>
            <a:fld id="{EA82C0AB-2C1B-4046-B666-E56C9D1911CD}" type="datetime1">
              <a:rPr lang="en-US" noProof="0" smtClean="0"/>
              <a:t>10/31/2024</a:t>
            </a:fld>
            <a:endParaRPr lang="en-US" noProof="0"/>
          </a:p>
        </p:txBody>
      </p:sp>
      <p:sp>
        <p:nvSpPr>
          <p:cNvPr id="21" name="Footer Placeholder 20">
            <a:extLst>
              <a:ext uri="{FF2B5EF4-FFF2-40B4-BE49-F238E27FC236}">
                <a16:creationId xmlns:a16="http://schemas.microsoft.com/office/drawing/2014/main" id="{45A577BA-A9D7-EADA-2EAF-9A047A0C7CA5}"/>
              </a:ext>
            </a:extLst>
          </p:cNvPr>
          <p:cNvSpPr>
            <a:spLocks noGrp="1"/>
          </p:cNvSpPr>
          <p:nvPr>
            <p:ph type="ftr" sz="quarter" idx="36"/>
          </p:nvPr>
        </p:nvSpPr>
        <p:spPr>
          <a:xfrm>
            <a:off x="5226782" y="6387525"/>
            <a:ext cx="5418160" cy="123111"/>
          </a:xfrm>
        </p:spPr>
        <p:txBody>
          <a:bodyPr/>
          <a:lstStyle/>
          <a:p>
            <a:r>
              <a:rPr lang="en-US" noProof="0"/>
              <a:t>Group Presentation</a:t>
            </a:r>
          </a:p>
        </p:txBody>
      </p:sp>
      <p:sp>
        <p:nvSpPr>
          <p:cNvPr id="22" name="Slide Number Placeholder 21">
            <a:extLst>
              <a:ext uri="{FF2B5EF4-FFF2-40B4-BE49-F238E27FC236}">
                <a16:creationId xmlns:a16="http://schemas.microsoft.com/office/drawing/2014/main" id="{A4DF786A-DFF7-2E50-D313-665093026396}"/>
              </a:ext>
            </a:extLst>
          </p:cNvPr>
          <p:cNvSpPr>
            <a:spLocks noGrp="1"/>
          </p:cNvSpPr>
          <p:nvPr>
            <p:ph type="sldNum" sz="quarter" idx="37"/>
          </p:nvPr>
        </p:nvSpPr>
        <p:spPr/>
        <p:txBody>
          <a:bodyPr/>
          <a:lstStyle/>
          <a:p>
            <a:fld id="{A115CDC9-74CB-4F6C-8CD3-A6C89F254EE7}" type="slidenum">
              <a:rPr lang="en-US" noProof="0" smtClean="0"/>
              <a:pPr/>
              <a:t>‹#›</a:t>
            </a:fld>
            <a:endParaRPr lang="en-US" noProof="0"/>
          </a:p>
        </p:txBody>
      </p:sp>
    </p:spTree>
    <p:extLst>
      <p:ext uri="{BB962C8B-B14F-4D97-AF65-F5344CB8AC3E}">
        <p14:creationId xmlns:p14="http://schemas.microsoft.com/office/powerpoint/2010/main" val="3713265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theme" Target="../theme/theme10.xml"/><Relationship Id="rId5" Type="http://schemas.openxmlformats.org/officeDocument/2006/relationships/slideLayout" Target="../slideLayouts/slideLayout75.xml"/><Relationship Id="rId4" Type="http://schemas.openxmlformats.org/officeDocument/2006/relationships/slideLayout" Target="../slideLayouts/slideLayout74.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theme" Target="../theme/theme11.xml"/><Relationship Id="rId5" Type="http://schemas.openxmlformats.org/officeDocument/2006/relationships/slideLayout" Target="../slideLayouts/slideLayout80.xml"/><Relationship Id="rId4" Type="http://schemas.openxmlformats.org/officeDocument/2006/relationships/slideLayout" Target="../slideLayouts/slideLayout79.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12.xml"/><Relationship Id="rId5" Type="http://schemas.openxmlformats.org/officeDocument/2006/relationships/slideLayout" Target="../slideLayouts/slideLayout85.xml"/><Relationship Id="rId4" Type="http://schemas.openxmlformats.org/officeDocument/2006/relationships/slideLayout" Target="../slideLayouts/slideLayout84.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theme" Target="../theme/theme13.xml"/><Relationship Id="rId5" Type="http://schemas.openxmlformats.org/officeDocument/2006/relationships/slideLayout" Target="../slideLayouts/slideLayout90.xml"/><Relationship Id="rId4" Type="http://schemas.openxmlformats.org/officeDocument/2006/relationships/slideLayout" Target="../slideLayouts/slideLayout8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9" Type="http://schemas.openxmlformats.org/officeDocument/2006/relationships/slideLayout" Target="../slideLayouts/slideLayout129.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42" Type="http://schemas.openxmlformats.org/officeDocument/2006/relationships/slideLayout" Target="../slideLayouts/slideLayout132.xml"/><Relationship Id="rId47" Type="http://schemas.openxmlformats.org/officeDocument/2006/relationships/slideLayout" Target="../slideLayouts/slideLayout137.xml"/><Relationship Id="rId50" Type="http://schemas.openxmlformats.org/officeDocument/2006/relationships/oleObject" Target="../embeddings/oleObject7.bin"/><Relationship Id="rId7" Type="http://schemas.openxmlformats.org/officeDocument/2006/relationships/slideLayout" Target="../slideLayouts/slideLayout9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9" Type="http://schemas.openxmlformats.org/officeDocument/2006/relationships/slideLayout" Target="../slideLayouts/slideLayout119.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slideLayout" Target="../slideLayouts/slideLayout127.xml"/><Relationship Id="rId40" Type="http://schemas.openxmlformats.org/officeDocument/2006/relationships/slideLayout" Target="../slideLayouts/slideLayout130.xml"/><Relationship Id="rId45" Type="http://schemas.openxmlformats.org/officeDocument/2006/relationships/slideLayout" Target="../slideLayouts/slideLayout135.xml"/><Relationship Id="rId53" Type="http://schemas.openxmlformats.org/officeDocument/2006/relationships/image" Target="../media/image56.png"/><Relationship Id="rId5" Type="http://schemas.openxmlformats.org/officeDocument/2006/relationships/slideLayout" Target="../slideLayouts/slideLayout95.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4" Type="http://schemas.openxmlformats.org/officeDocument/2006/relationships/slideLayout" Target="../slideLayouts/slideLayout134.xml"/><Relationship Id="rId52" Type="http://schemas.openxmlformats.org/officeDocument/2006/relationships/image" Target="../media/image55.png"/><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slideLayout" Target="../slideLayouts/slideLayout125.xml"/><Relationship Id="rId43" Type="http://schemas.openxmlformats.org/officeDocument/2006/relationships/slideLayout" Target="../slideLayouts/slideLayout133.xml"/><Relationship Id="rId48" Type="http://schemas.openxmlformats.org/officeDocument/2006/relationships/theme" Target="../theme/theme14.xml"/><Relationship Id="rId8" Type="http://schemas.openxmlformats.org/officeDocument/2006/relationships/slideLayout" Target="../slideLayouts/slideLayout98.xml"/><Relationship Id="rId51" Type="http://schemas.openxmlformats.org/officeDocument/2006/relationships/image" Target="../media/image9.emf"/><Relationship Id="rId3" Type="http://schemas.openxmlformats.org/officeDocument/2006/relationships/slideLayout" Target="../slideLayouts/slideLayout93.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38" Type="http://schemas.openxmlformats.org/officeDocument/2006/relationships/slideLayout" Target="../slideLayouts/slideLayout128.xml"/><Relationship Id="rId46" Type="http://schemas.openxmlformats.org/officeDocument/2006/relationships/slideLayout" Target="../slideLayouts/slideLayout136.xml"/><Relationship Id="rId20" Type="http://schemas.openxmlformats.org/officeDocument/2006/relationships/slideLayout" Target="../slideLayouts/slideLayout110.xml"/><Relationship Id="rId41" Type="http://schemas.openxmlformats.org/officeDocument/2006/relationships/slideLayout" Target="../slideLayouts/slideLayout131.xml"/><Relationship Id="rId54" Type="http://schemas.openxmlformats.org/officeDocument/2006/relationships/image" Target="../media/image57.svg"/><Relationship Id="rId1" Type="http://schemas.openxmlformats.org/officeDocument/2006/relationships/slideLayout" Target="../slideLayouts/slideLayout91.xml"/><Relationship Id="rId6" Type="http://schemas.openxmlformats.org/officeDocument/2006/relationships/slideLayout" Target="../slideLayouts/slideLayout96.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slideLayout" Target="../slideLayouts/slideLayout126.xml"/><Relationship Id="rId49" Type="http://schemas.openxmlformats.org/officeDocument/2006/relationships/tags" Target="../tags/tag7.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9" Type="http://schemas.openxmlformats.org/officeDocument/2006/relationships/slideLayout" Target="../slideLayouts/slideLayout176.xml"/><Relationship Id="rId21" Type="http://schemas.openxmlformats.org/officeDocument/2006/relationships/slideLayout" Target="../slideLayouts/slideLayout158.xml"/><Relationship Id="rId34" Type="http://schemas.openxmlformats.org/officeDocument/2006/relationships/slideLayout" Target="../slideLayouts/slideLayout171.xml"/><Relationship Id="rId42" Type="http://schemas.openxmlformats.org/officeDocument/2006/relationships/slideLayout" Target="../slideLayouts/slideLayout179.xml"/><Relationship Id="rId47" Type="http://schemas.openxmlformats.org/officeDocument/2006/relationships/slideLayout" Target="../slideLayouts/slideLayout184.xml"/><Relationship Id="rId50" Type="http://schemas.openxmlformats.org/officeDocument/2006/relationships/oleObject" Target="../embeddings/oleObject55.bin"/><Relationship Id="rId7" Type="http://schemas.openxmlformats.org/officeDocument/2006/relationships/slideLayout" Target="../slideLayouts/slideLayout14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9" Type="http://schemas.openxmlformats.org/officeDocument/2006/relationships/slideLayout" Target="../slideLayouts/slideLayout166.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37" Type="http://schemas.openxmlformats.org/officeDocument/2006/relationships/slideLayout" Target="../slideLayouts/slideLayout174.xml"/><Relationship Id="rId40" Type="http://schemas.openxmlformats.org/officeDocument/2006/relationships/slideLayout" Target="../slideLayouts/slideLayout177.xml"/><Relationship Id="rId45" Type="http://schemas.openxmlformats.org/officeDocument/2006/relationships/slideLayout" Target="../slideLayouts/slideLayout182.xml"/><Relationship Id="rId53" Type="http://schemas.openxmlformats.org/officeDocument/2006/relationships/image" Target="../media/image56.png"/><Relationship Id="rId5" Type="http://schemas.openxmlformats.org/officeDocument/2006/relationships/slideLayout" Target="../slideLayouts/slideLayout142.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4" Type="http://schemas.openxmlformats.org/officeDocument/2006/relationships/slideLayout" Target="../slideLayouts/slideLayout181.xml"/><Relationship Id="rId52" Type="http://schemas.openxmlformats.org/officeDocument/2006/relationships/image" Target="../media/image55.png"/><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35" Type="http://schemas.openxmlformats.org/officeDocument/2006/relationships/slideLayout" Target="../slideLayouts/slideLayout172.xml"/><Relationship Id="rId43" Type="http://schemas.openxmlformats.org/officeDocument/2006/relationships/slideLayout" Target="../slideLayouts/slideLayout180.xml"/><Relationship Id="rId48" Type="http://schemas.openxmlformats.org/officeDocument/2006/relationships/theme" Target="../theme/theme15.xml"/><Relationship Id="rId8" Type="http://schemas.openxmlformats.org/officeDocument/2006/relationships/slideLayout" Target="../slideLayouts/slideLayout145.xml"/><Relationship Id="rId51" Type="http://schemas.openxmlformats.org/officeDocument/2006/relationships/image" Target="../media/image9.emf"/><Relationship Id="rId3" Type="http://schemas.openxmlformats.org/officeDocument/2006/relationships/slideLayout" Target="../slideLayouts/slideLayout140.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slideLayout" Target="../slideLayouts/slideLayout170.xml"/><Relationship Id="rId38" Type="http://schemas.openxmlformats.org/officeDocument/2006/relationships/slideLayout" Target="../slideLayouts/slideLayout175.xml"/><Relationship Id="rId46" Type="http://schemas.openxmlformats.org/officeDocument/2006/relationships/slideLayout" Target="../slideLayouts/slideLayout183.xml"/><Relationship Id="rId20" Type="http://schemas.openxmlformats.org/officeDocument/2006/relationships/slideLayout" Target="../slideLayouts/slideLayout157.xml"/><Relationship Id="rId41" Type="http://schemas.openxmlformats.org/officeDocument/2006/relationships/slideLayout" Target="../slideLayouts/slideLayout178.xml"/><Relationship Id="rId54" Type="http://schemas.openxmlformats.org/officeDocument/2006/relationships/image" Target="../media/image57.svg"/><Relationship Id="rId1" Type="http://schemas.openxmlformats.org/officeDocument/2006/relationships/slideLayout" Target="../slideLayouts/slideLayout138.xml"/><Relationship Id="rId6" Type="http://schemas.openxmlformats.org/officeDocument/2006/relationships/slideLayout" Target="../slideLayouts/slideLayout143.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36" Type="http://schemas.openxmlformats.org/officeDocument/2006/relationships/slideLayout" Target="../slideLayouts/slideLayout173.xml"/><Relationship Id="rId49" Type="http://schemas.openxmlformats.org/officeDocument/2006/relationships/tags" Target="../tags/tag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theme" Target="../theme/theme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5.xml"/><Relationship Id="rId5" Type="http://schemas.openxmlformats.org/officeDocument/2006/relationships/slideLayout" Target="../slideLayouts/slideLayout50.xml"/><Relationship Id="rId4"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6.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heme" Target="../theme/theme7.xml"/><Relationship Id="rId5" Type="http://schemas.openxmlformats.org/officeDocument/2006/relationships/slideLayout" Target="../slideLayouts/slideLayout60.xml"/><Relationship Id="rId4" Type="http://schemas.openxmlformats.org/officeDocument/2006/relationships/slideLayout" Target="../slideLayouts/slideLayout59.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theme" Target="../theme/theme8.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9.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563118"/>
      </p:ext>
    </p:extLst>
  </p:cSld>
  <p:clrMap bg1="lt1" tx1="dk1" bg2="lt2" tx2="dk2" accent1="accent1" accent2="accent2" accent3="accent3" accent4="accent4" accent5="accent5" accent6="accent6" hlink="hlink" folHlink="folHlink"/>
  <p:sldLayoutIdLst>
    <p:sldLayoutId id="2147483776" r:id="rId1"/>
    <p:sldLayoutId id="2147483728" r:id="rId2"/>
    <p:sldLayoutId id="2147483747" r:id="rId3"/>
    <p:sldLayoutId id="2147483782" r:id="rId4"/>
    <p:sldLayoutId id="2147483730" r:id="rId5"/>
    <p:sldLayoutId id="2147483731" r:id="rId6"/>
    <p:sldLayoutId id="2147483729" r:id="rId7"/>
    <p:sldLayoutId id="2147483781" r:id="rId8"/>
    <p:sldLayoutId id="2147483780"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22765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42" r:id="rId3"/>
    <p:sldLayoutId id="2147483707" r:id="rId4"/>
    <p:sldLayoutId id="2147483708"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22213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43" r:id="rId3"/>
    <p:sldLayoutId id="2147483713" r:id="rId4"/>
    <p:sldLayoutId id="2147483714"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372464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45" r:id="rId3"/>
    <p:sldLayoutId id="2147483719" r:id="rId4"/>
    <p:sldLayoutId id="2147483720"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176733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46" r:id="rId3"/>
    <p:sldLayoutId id="2147483725" r:id="rId4"/>
    <p:sldLayoutId id="214748372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63EDDBC-3E49-9D4C-10C3-64B0F863A34B}"/>
              </a:ext>
            </a:extLst>
          </p:cNvPr>
          <p:cNvGraphicFramePr>
            <a:graphicFrameLocks noChangeAspect="1"/>
          </p:cNvGraphicFramePr>
          <p:nvPr>
            <p:custDataLst>
              <p:tags r:id="rId4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0" imgW="592" imgH="591" progId="TCLayout.ActiveDocument.1">
                  <p:embed/>
                </p:oleObj>
              </mc:Choice>
              <mc:Fallback>
                <p:oleObj name="think-cell Folie" r:id="rId50" imgW="592" imgH="591" progId="TCLayout.ActiveDocument.1">
                  <p:embed/>
                  <p:pic>
                    <p:nvPicPr>
                      <p:cNvPr id="9" name="Object 8" hidden="1">
                        <a:extLst>
                          <a:ext uri="{FF2B5EF4-FFF2-40B4-BE49-F238E27FC236}">
                            <a16:creationId xmlns:a16="http://schemas.microsoft.com/office/drawing/2014/main" id="{763EDDBC-3E49-9D4C-10C3-64B0F863A34B}"/>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229F5F4-65F8-05C9-D707-21C87250AFB2}"/>
              </a:ext>
            </a:extLst>
          </p:cNvPr>
          <p:cNvSpPr>
            <a:spLocks noGrp="1"/>
          </p:cNvSpPr>
          <p:nvPr>
            <p:ph type="title"/>
          </p:nvPr>
        </p:nvSpPr>
        <p:spPr>
          <a:xfrm>
            <a:off x="386459" y="545005"/>
            <a:ext cx="11419082" cy="283219"/>
          </a:xfrm>
          <a:prstGeom prst="rect">
            <a:avLst/>
          </a:prstGeom>
        </p:spPr>
        <p:txBody>
          <a:bodyPr vert="horz" lIns="0" tIns="0" rIns="0" bIns="0" rtlCol="0" anchor="t">
            <a:spAutoFit/>
          </a:bodyPr>
          <a:lstStyle/>
          <a:p>
            <a:r>
              <a:rPr lang="en-GB" noProof="0"/>
              <a:t>Slide heading</a:t>
            </a:r>
          </a:p>
        </p:txBody>
      </p:sp>
      <p:sp>
        <p:nvSpPr>
          <p:cNvPr id="3" name="Textplatzhalter 2">
            <a:extLst>
              <a:ext uri="{FF2B5EF4-FFF2-40B4-BE49-F238E27FC236}">
                <a16:creationId xmlns:a16="http://schemas.microsoft.com/office/drawing/2014/main" id="{5E543CC5-8CA8-AB9E-3736-0EC6C5535D42}"/>
              </a:ext>
            </a:extLst>
          </p:cNvPr>
          <p:cNvSpPr>
            <a:spLocks noGrp="1"/>
          </p:cNvSpPr>
          <p:nvPr>
            <p:ph type="body" idx="1"/>
          </p:nvPr>
        </p:nvSpPr>
        <p:spPr>
          <a:xfrm>
            <a:off x="382589" y="1341438"/>
            <a:ext cx="11422952" cy="4573587"/>
          </a:xfrm>
          <a:prstGeom prst="rect">
            <a:avLst/>
          </a:prstGeom>
        </p:spPr>
        <p:txBody>
          <a:bodyPr vert="horz" lIns="0" tIns="0" rIns="0" bIns="0" rtlCol="0">
            <a:noAutofit/>
          </a:body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 </a:t>
            </a:r>
          </a:p>
          <a:p>
            <a:pPr lvl="4"/>
            <a:r>
              <a:rPr lang="en-GB" noProof="0"/>
              <a:t>Fifth level</a:t>
            </a:r>
          </a:p>
          <a:p>
            <a:pPr lvl="0"/>
            <a:r>
              <a:rPr lang="en-GB" sz="1400" noProof="0"/>
              <a:t>Sixth level</a:t>
            </a:r>
            <a:endParaRPr lang="en-GB" noProof="0"/>
          </a:p>
        </p:txBody>
      </p:sp>
      <p:sp>
        <p:nvSpPr>
          <p:cNvPr id="4" name="Datumsplatzhalter 3">
            <a:extLst>
              <a:ext uri="{FF2B5EF4-FFF2-40B4-BE49-F238E27FC236}">
                <a16:creationId xmlns:a16="http://schemas.microsoft.com/office/drawing/2014/main" id="{292DE7BC-AFB7-1493-F600-BEA860805CE1}"/>
              </a:ext>
            </a:extLst>
          </p:cNvPr>
          <p:cNvSpPr>
            <a:spLocks noGrp="1"/>
          </p:cNvSpPr>
          <p:nvPr>
            <p:ph type="dt" sz="half" idx="2"/>
          </p:nvPr>
        </p:nvSpPr>
        <p:spPr>
          <a:xfrm>
            <a:off x="2511512" y="6387525"/>
            <a:ext cx="592173" cy="123111"/>
          </a:xfrm>
          <a:prstGeom prst="rect">
            <a:avLst/>
          </a:prstGeom>
        </p:spPr>
        <p:txBody>
          <a:bodyPr vert="horz" lIns="0" tIns="0" rIns="0" bIns="0" rtlCol="0" anchor="t"/>
          <a:lstStyle>
            <a:lvl1pPr algn="l" rtl="0">
              <a:defRPr sz="800">
                <a:solidFill>
                  <a:schemeClr val="tx1"/>
                </a:solidFill>
                <a:latin typeface="+mn-lt"/>
              </a:defRPr>
            </a:lvl1pPr>
          </a:lstStyle>
          <a:p>
            <a:fld id="{EF03C89B-4602-4860-9A0C-BB04907B9E91}" type="datetime1">
              <a:rPr lang="en-US" noProof="0" smtClean="0"/>
              <a:t>10/31/2024</a:t>
            </a:fld>
            <a:endParaRPr lang="en-GB" noProof="0"/>
          </a:p>
        </p:txBody>
      </p:sp>
      <p:sp>
        <p:nvSpPr>
          <p:cNvPr id="5" name="Fußzeilenplatzhalter 4">
            <a:extLst>
              <a:ext uri="{FF2B5EF4-FFF2-40B4-BE49-F238E27FC236}">
                <a16:creationId xmlns:a16="http://schemas.microsoft.com/office/drawing/2014/main" id="{3B85941E-1B1D-C4FB-F08C-BA8502697830}"/>
              </a:ext>
            </a:extLst>
          </p:cNvPr>
          <p:cNvSpPr>
            <a:spLocks noGrp="1"/>
          </p:cNvSpPr>
          <p:nvPr>
            <p:ph type="ftr" sz="quarter" idx="3"/>
          </p:nvPr>
        </p:nvSpPr>
        <p:spPr>
          <a:xfrm>
            <a:off x="3441655" y="6387525"/>
            <a:ext cx="5451520" cy="123111"/>
          </a:xfrm>
          <a:prstGeom prst="rect">
            <a:avLst/>
          </a:prstGeom>
        </p:spPr>
        <p:txBody>
          <a:bodyPr vert="horz" lIns="0" tIns="0" rIns="0" bIns="0" rtlCol="0" anchor="t"/>
          <a:lstStyle>
            <a:lvl1pPr algn="l" rtl="0">
              <a:defRPr sz="800">
                <a:solidFill>
                  <a:schemeClr val="tx1"/>
                </a:solidFill>
              </a:defRPr>
            </a:lvl1pPr>
          </a:lstStyle>
          <a:p>
            <a:r>
              <a:rPr lang="en-GB"/>
              <a:t>Group Presentation</a:t>
            </a:r>
          </a:p>
        </p:txBody>
      </p:sp>
      <p:pic>
        <p:nvPicPr>
          <p:cNvPr id="86" name="Grafik 85">
            <a:extLst>
              <a:ext uri="{FF2B5EF4-FFF2-40B4-BE49-F238E27FC236}">
                <a16:creationId xmlns:a16="http://schemas.microsoft.com/office/drawing/2014/main" id="{9BA1F879-3B6D-34E0-84DC-D79DC7E397CC}"/>
              </a:ext>
            </a:extLst>
          </p:cNvPr>
          <p:cNvPicPr>
            <a:picLocks noChangeAspect="1"/>
          </p:cNvPicPr>
          <p:nvPr/>
        </p:nvPicPr>
        <p:blipFill>
          <a:blip r:embed="rId52" cstate="screen">
            <a:extLst>
              <a:ext uri="{28A0092B-C50C-407E-A947-70E740481C1C}">
                <a14:useLocalDpi xmlns:a14="http://schemas.microsoft.com/office/drawing/2010/main" val="0"/>
              </a:ext>
            </a:extLst>
          </a:blip>
          <a:stretch>
            <a:fillRect/>
          </a:stretch>
        </p:blipFill>
        <p:spPr>
          <a:xfrm>
            <a:off x="11523000" y="6201700"/>
            <a:ext cx="288000" cy="288000"/>
          </a:xfrm>
          <a:prstGeom prst="rect">
            <a:avLst/>
          </a:prstGeom>
        </p:spPr>
      </p:pic>
      <p:sp>
        <p:nvSpPr>
          <p:cNvPr id="11" name="Slide Number Placeholder 10">
            <a:extLst>
              <a:ext uri="{FF2B5EF4-FFF2-40B4-BE49-F238E27FC236}">
                <a16:creationId xmlns:a16="http://schemas.microsoft.com/office/drawing/2014/main" id="{0E1B39B4-8D0F-C71D-EC1A-84E62CA2223E}"/>
              </a:ext>
            </a:extLst>
          </p:cNvPr>
          <p:cNvSpPr>
            <a:spLocks noGrp="1"/>
          </p:cNvSpPr>
          <p:nvPr>
            <p:ph type="sldNum" sz="quarter" idx="4"/>
          </p:nvPr>
        </p:nvSpPr>
        <p:spPr>
          <a:xfrm>
            <a:off x="382589" y="6386334"/>
            <a:ext cx="265112" cy="123111"/>
          </a:xfrm>
          <a:prstGeom prst="rect">
            <a:avLst/>
          </a:prstGeom>
        </p:spPr>
        <p:txBody>
          <a:bodyPr vert="horz" lIns="0" tIns="0" rIns="0" bIns="0" rtlCol="0" anchor="t" anchorCtr="0"/>
          <a:lstStyle>
            <a:lvl1pPr algn="l">
              <a:defRPr sz="800">
                <a:solidFill>
                  <a:schemeClr val="tx2"/>
                </a:solidFill>
                <a:latin typeface="Lexend HM" pitchFamily="2" charset="0"/>
              </a:defRPr>
            </a:lvl1pPr>
          </a:lstStyle>
          <a:p>
            <a:fld id="{A115CDC9-74CB-4F6C-8CD3-A6C89F254EE7}" type="slidenum">
              <a:rPr lang="en-US" smtClean="0"/>
              <a:pPr/>
              <a:t>‹#›</a:t>
            </a:fld>
            <a:endParaRPr lang="en-US"/>
          </a:p>
        </p:txBody>
      </p:sp>
      <p:pic>
        <p:nvPicPr>
          <p:cNvPr id="12" name="Graphic 11">
            <a:extLst>
              <a:ext uri="{FF2B5EF4-FFF2-40B4-BE49-F238E27FC236}">
                <a16:creationId xmlns:a16="http://schemas.microsoft.com/office/drawing/2014/main" id="{C77CFBF3-9849-EF76-98F6-9A96E460F92A}"/>
              </a:ext>
            </a:extLst>
          </p:cNvPr>
          <p:cNvPicPr>
            <a:picLocks noChangeAspect="1"/>
          </p:cNvPicPr>
          <p:nvPr/>
        </p:nvPicPr>
        <p:blipFill>
          <a:blip r:embed="rId53" cstate="screen">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025515" y="6410506"/>
            <a:ext cx="1062384" cy="103228"/>
          </a:xfrm>
          <a:prstGeom prst="rect">
            <a:avLst/>
          </a:prstGeom>
        </p:spPr>
      </p:pic>
    </p:spTree>
    <p:extLst>
      <p:ext uri="{BB962C8B-B14F-4D97-AF65-F5344CB8AC3E}">
        <p14:creationId xmlns:p14="http://schemas.microsoft.com/office/powerpoint/2010/main" val="3213930011"/>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 id="2147483668" r:id="rId18"/>
    <p:sldLayoutId id="2147483669" r:id="rId19"/>
    <p:sldLayoutId id="2147483670" r:id="rId20"/>
    <p:sldLayoutId id="2147483671" r:id="rId21"/>
    <p:sldLayoutId id="2147483672" r:id="rId22"/>
    <p:sldLayoutId id="2147483673" r:id="rId23"/>
    <p:sldLayoutId id="2147483674" r:id="rId24"/>
    <p:sldLayoutId id="2147483675" r:id="rId25"/>
    <p:sldLayoutId id="2147483676" r:id="rId26"/>
    <p:sldLayoutId id="2147483677" r:id="rId27"/>
    <p:sldLayoutId id="2147483678" r:id="rId28"/>
    <p:sldLayoutId id="2147483679" r:id="rId29"/>
    <p:sldLayoutId id="2147483680" r:id="rId30"/>
    <p:sldLayoutId id="2147483681" r:id="rId31"/>
    <p:sldLayoutId id="2147483682" r:id="rId32"/>
    <p:sldLayoutId id="2147483683" r:id="rId33"/>
    <p:sldLayoutId id="2147483684" r:id="rId34"/>
    <p:sldLayoutId id="2147483685" r:id="rId35"/>
    <p:sldLayoutId id="2147483686" r:id="rId36"/>
    <p:sldLayoutId id="2147483687" r:id="rId37"/>
    <p:sldLayoutId id="2147483688" r:id="rId38"/>
    <p:sldLayoutId id="2147483689" r:id="rId39"/>
    <p:sldLayoutId id="2147483690" r:id="rId40"/>
    <p:sldLayoutId id="2147483691" r:id="rId41"/>
    <p:sldLayoutId id="2147483692" r:id="rId42"/>
    <p:sldLayoutId id="2147483693" r:id="rId43"/>
    <p:sldLayoutId id="2147483694" r:id="rId44"/>
    <p:sldLayoutId id="2147483695" r:id="rId45"/>
    <p:sldLayoutId id="2147483696" r:id="rId46"/>
    <p:sldLayoutId id="2147483697" r:id="rId47"/>
  </p:sldLayoutIdLst>
  <p:hf hdr="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1336">
          <p15:clr>
            <a:srgbClr val="F26B43"/>
          </p15:clr>
        </p15:guide>
        <p15:guide id="3" pos="1459">
          <p15:clr>
            <a:srgbClr val="F26B43"/>
          </p15:clr>
        </p15:guide>
        <p15:guide id="4" pos="2559">
          <p15:clr>
            <a:srgbClr val="F26B43"/>
          </p15:clr>
        </p15:guide>
        <p15:guide id="5" pos="2684">
          <p15:clr>
            <a:srgbClr val="F26B43"/>
          </p15:clr>
        </p15:guide>
        <p15:guide id="6" pos="3777">
          <p15:clr>
            <a:srgbClr val="F26B43"/>
          </p15:clr>
        </p15:guide>
        <p15:guide id="7" pos="3901">
          <p15:clr>
            <a:srgbClr val="F26B43"/>
          </p15:clr>
        </p15:guide>
        <p15:guide id="8" pos="5000">
          <p15:clr>
            <a:srgbClr val="F26B43"/>
          </p15:clr>
        </p15:guide>
        <p15:guide id="9" pos="5125">
          <p15:clr>
            <a:srgbClr val="F26B43"/>
          </p15:clr>
        </p15:guide>
        <p15:guide id="10" pos="6217">
          <p15:clr>
            <a:srgbClr val="F26B43"/>
          </p15:clr>
        </p15:guide>
        <p15:guide id="11" pos="6342">
          <p15:clr>
            <a:srgbClr val="F26B43"/>
          </p15:clr>
        </p15:guide>
        <p15:guide id="12" pos="7440">
          <p15:clr>
            <a:srgbClr val="F26B43"/>
          </p15:clr>
        </p15:guide>
        <p15:guide id="13" orient="horz" pos="234">
          <p15:clr>
            <a:srgbClr val="F26B43"/>
          </p15:clr>
        </p15:guide>
        <p15:guide id="14" orient="horz" pos="471">
          <p15:clr>
            <a:srgbClr val="F26B43"/>
          </p15:clr>
        </p15:guide>
        <p15:guide id="15" orient="horz" pos="3604">
          <p15:clr>
            <a:srgbClr val="F26B43"/>
          </p15:clr>
        </p15:guide>
        <p15:guide id="16" orient="horz" pos="3842">
          <p15:clr>
            <a:srgbClr val="F26B43"/>
          </p15:clr>
        </p15:guide>
        <p15:guide id="17" orient="horz" pos="4088">
          <p15:clr>
            <a:srgbClr val="F26B43"/>
          </p15:clr>
        </p15:guide>
        <p15:guide id="18" orient="horz" pos="958">
          <p15:clr>
            <a:srgbClr val="F26B43"/>
          </p15:clr>
        </p15:guide>
        <p15:guide id="19" pos="722">
          <p15:clr>
            <a:srgbClr val="F26B43"/>
          </p15:clr>
        </p15:guide>
        <p15:guide id="20" pos="3165">
          <p15:clr>
            <a:srgbClr val="F26B43"/>
          </p15:clr>
        </p15:guide>
        <p15:guide id="21" pos="855">
          <p15:clr>
            <a:srgbClr val="F26B43"/>
          </p15:clr>
        </p15:guide>
        <p15:guide id="22" pos="1943">
          <p15:clr>
            <a:srgbClr val="F26B43"/>
          </p15:clr>
        </p15:guide>
        <p15:guide id="23" pos="2076">
          <p15:clr>
            <a:srgbClr val="F26B43"/>
          </p15:clr>
        </p15:guide>
        <p15:guide id="24" pos="3291">
          <p15:clr>
            <a:srgbClr val="F26B43"/>
          </p15:clr>
        </p15:guide>
        <p15:guide id="25" pos="4380">
          <p15:clr>
            <a:srgbClr val="F26B43"/>
          </p15:clr>
        </p15:guide>
        <p15:guide id="26" pos="4513">
          <p15:clr>
            <a:srgbClr val="F26B43"/>
          </p15:clr>
        </p15:guide>
        <p15:guide id="27" pos="5602">
          <p15:clr>
            <a:srgbClr val="F26B43"/>
          </p15:clr>
        </p15:guide>
        <p15:guide id="28" pos="5735">
          <p15:clr>
            <a:srgbClr val="F26B43"/>
          </p15:clr>
        </p15:guide>
        <p15:guide id="29" orient="horz" pos="2160">
          <p15:clr>
            <a:srgbClr val="F26B43"/>
          </p15:clr>
        </p15:guide>
        <p15:guide id="30" orient="horz" pos="731">
          <p15:clr>
            <a:srgbClr val="F26B43"/>
          </p15:clr>
        </p15:guide>
        <p15:guide id="31" orient="horz" pos="1207">
          <p15:clr>
            <a:srgbClr val="F26B43"/>
          </p15:clr>
        </p15:guide>
        <p15:guide id="32" orient="horz" pos="1684">
          <p15:clr>
            <a:srgbClr val="F26B43"/>
          </p15:clr>
        </p15:guide>
        <p15:guide id="33" orient="horz" pos="2659">
          <p15:clr>
            <a:srgbClr val="F26B43"/>
          </p15:clr>
        </p15:guide>
        <p15:guide id="34" orient="horz" pos="3135">
          <p15:clr>
            <a:srgbClr val="F26B43"/>
          </p15:clr>
        </p15:guide>
        <p15:guide id="35" pos="6823">
          <p15:clr>
            <a:srgbClr val="F26B43"/>
          </p15:clr>
        </p15:guide>
        <p15:guide id="36" pos="6950">
          <p15:clr>
            <a:srgbClr val="F26B43"/>
          </p15:clr>
        </p15:guide>
        <p15:guide id="37" orient="horz" pos="845">
          <p15:clr>
            <a:srgbClr val="F26B43"/>
          </p15:clr>
        </p15:guide>
        <p15:guide id="38" orient="horz" pos="3725">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63EDDBC-3E49-9D4C-10C3-64B0F863A34B}"/>
              </a:ext>
            </a:extLst>
          </p:cNvPr>
          <p:cNvGraphicFramePr>
            <a:graphicFrameLocks noChangeAspect="1"/>
          </p:cNvGraphicFramePr>
          <p:nvPr>
            <p:custDataLst>
              <p:tags r:id="rId4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0" imgW="592" imgH="591" progId="TCLayout.ActiveDocument.1">
                  <p:embed/>
                </p:oleObj>
              </mc:Choice>
              <mc:Fallback>
                <p:oleObj name="think-cell Folie" r:id="rId50" imgW="592" imgH="591" progId="TCLayout.ActiveDocument.1">
                  <p:embed/>
                  <p:pic>
                    <p:nvPicPr>
                      <p:cNvPr id="9" name="Object 8" hidden="1">
                        <a:extLst>
                          <a:ext uri="{FF2B5EF4-FFF2-40B4-BE49-F238E27FC236}">
                            <a16:creationId xmlns:a16="http://schemas.microsoft.com/office/drawing/2014/main" id="{763EDDBC-3E49-9D4C-10C3-64B0F863A34B}"/>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229F5F4-65F8-05C9-D707-21C87250AFB2}"/>
              </a:ext>
            </a:extLst>
          </p:cNvPr>
          <p:cNvSpPr>
            <a:spLocks noGrp="1"/>
          </p:cNvSpPr>
          <p:nvPr>
            <p:ph type="title"/>
          </p:nvPr>
        </p:nvSpPr>
        <p:spPr>
          <a:xfrm>
            <a:off x="386459" y="545005"/>
            <a:ext cx="11419082" cy="283219"/>
          </a:xfrm>
          <a:prstGeom prst="rect">
            <a:avLst/>
          </a:prstGeom>
        </p:spPr>
        <p:txBody>
          <a:bodyPr vert="horz" lIns="0" tIns="0" rIns="0" bIns="0" rtlCol="0" anchor="t">
            <a:spAutoFit/>
          </a:bodyPr>
          <a:lstStyle/>
          <a:p>
            <a:r>
              <a:rPr lang="en-GB" noProof="0"/>
              <a:t>Slide heading</a:t>
            </a:r>
          </a:p>
        </p:txBody>
      </p:sp>
      <p:sp>
        <p:nvSpPr>
          <p:cNvPr id="3" name="Textplatzhalter 2">
            <a:extLst>
              <a:ext uri="{FF2B5EF4-FFF2-40B4-BE49-F238E27FC236}">
                <a16:creationId xmlns:a16="http://schemas.microsoft.com/office/drawing/2014/main" id="{5E543CC5-8CA8-AB9E-3736-0EC6C5535D42}"/>
              </a:ext>
            </a:extLst>
          </p:cNvPr>
          <p:cNvSpPr>
            <a:spLocks noGrp="1"/>
          </p:cNvSpPr>
          <p:nvPr>
            <p:ph type="body" idx="1"/>
          </p:nvPr>
        </p:nvSpPr>
        <p:spPr>
          <a:xfrm>
            <a:off x="382589" y="1341438"/>
            <a:ext cx="11422952" cy="4573587"/>
          </a:xfrm>
          <a:prstGeom prst="rect">
            <a:avLst/>
          </a:prstGeom>
        </p:spPr>
        <p:txBody>
          <a:bodyPr vert="horz" lIns="0" tIns="0" rIns="0" bIns="0" rtlCol="0">
            <a:noAutofit/>
          </a:bodyPr>
          <a:lstStyle/>
          <a:p>
            <a:pPr lvl="0"/>
            <a:r>
              <a:rPr lang="en-GB" noProof="0"/>
              <a:t>14 </a:t>
            </a:r>
            <a:r>
              <a:rPr lang="en-GB" noProof="0" err="1"/>
              <a:t>pt</a:t>
            </a:r>
            <a:r>
              <a:rPr lang="en-GB" noProof="0"/>
              <a:t>, edit master text format</a:t>
            </a:r>
          </a:p>
          <a:p>
            <a:pPr lvl="1"/>
            <a:r>
              <a:rPr lang="en-GB" noProof="0"/>
              <a:t>Second level</a:t>
            </a:r>
          </a:p>
          <a:p>
            <a:pPr lvl="2"/>
            <a:r>
              <a:rPr lang="en-GB" noProof="0"/>
              <a:t>Third level</a:t>
            </a:r>
          </a:p>
          <a:p>
            <a:pPr lvl="3"/>
            <a:r>
              <a:rPr lang="en-GB" noProof="0"/>
              <a:t>Fourth level </a:t>
            </a:r>
          </a:p>
          <a:p>
            <a:pPr lvl="4"/>
            <a:r>
              <a:rPr lang="en-GB" noProof="0"/>
              <a:t>Fifth level</a:t>
            </a:r>
          </a:p>
          <a:p>
            <a:pPr lvl="0"/>
            <a:r>
              <a:rPr lang="en-GB" sz="1400" noProof="0"/>
              <a:t>Sixth level</a:t>
            </a:r>
            <a:endParaRPr lang="en-GB" noProof="0"/>
          </a:p>
        </p:txBody>
      </p:sp>
      <p:sp>
        <p:nvSpPr>
          <p:cNvPr id="4" name="Datumsplatzhalter 3">
            <a:extLst>
              <a:ext uri="{FF2B5EF4-FFF2-40B4-BE49-F238E27FC236}">
                <a16:creationId xmlns:a16="http://schemas.microsoft.com/office/drawing/2014/main" id="{292DE7BC-AFB7-1493-F600-BEA860805CE1}"/>
              </a:ext>
            </a:extLst>
          </p:cNvPr>
          <p:cNvSpPr>
            <a:spLocks noGrp="1"/>
          </p:cNvSpPr>
          <p:nvPr>
            <p:ph type="dt" sz="half" idx="2"/>
          </p:nvPr>
        </p:nvSpPr>
        <p:spPr>
          <a:xfrm>
            <a:off x="2511512" y="6387525"/>
            <a:ext cx="592173" cy="123111"/>
          </a:xfrm>
          <a:prstGeom prst="rect">
            <a:avLst/>
          </a:prstGeom>
        </p:spPr>
        <p:txBody>
          <a:bodyPr vert="horz" lIns="0" tIns="0" rIns="0" bIns="0" rtlCol="0" anchor="t"/>
          <a:lstStyle>
            <a:lvl1pPr algn="l" rtl="0">
              <a:defRPr sz="800">
                <a:solidFill>
                  <a:schemeClr val="tx1"/>
                </a:solidFill>
                <a:latin typeface="+mn-lt"/>
              </a:defRPr>
            </a:lvl1pPr>
          </a:lstStyle>
          <a:p>
            <a:fld id="{EF03C89B-4602-4860-9A0C-BB04907B9E91}" type="datetime1">
              <a:rPr lang="en-US" noProof="0" smtClean="0"/>
              <a:t>10/31/2024</a:t>
            </a:fld>
            <a:endParaRPr lang="en-GB" noProof="0"/>
          </a:p>
        </p:txBody>
      </p:sp>
      <p:sp>
        <p:nvSpPr>
          <p:cNvPr id="5" name="Fußzeilenplatzhalter 4">
            <a:extLst>
              <a:ext uri="{FF2B5EF4-FFF2-40B4-BE49-F238E27FC236}">
                <a16:creationId xmlns:a16="http://schemas.microsoft.com/office/drawing/2014/main" id="{3B85941E-1B1D-C4FB-F08C-BA8502697830}"/>
              </a:ext>
            </a:extLst>
          </p:cNvPr>
          <p:cNvSpPr>
            <a:spLocks noGrp="1"/>
          </p:cNvSpPr>
          <p:nvPr>
            <p:ph type="ftr" sz="quarter" idx="3"/>
          </p:nvPr>
        </p:nvSpPr>
        <p:spPr>
          <a:xfrm>
            <a:off x="3441655" y="6387525"/>
            <a:ext cx="5451520" cy="123111"/>
          </a:xfrm>
          <a:prstGeom prst="rect">
            <a:avLst/>
          </a:prstGeom>
        </p:spPr>
        <p:txBody>
          <a:bodyPr vert="horz" lIns="0" tIns="0" rIns="0" bIns="0" rtlCol="0" anchor="t"/>
          <a:lstStyle>
            <a:lvl1pPr algn="l" rtl="0">
              <a:defRPr sz="800">
                <a:solidFill>
                  <a:schemeClr val="tx1"/>
                </a:solidFill>
              </a:defRPr>
            </a:lvl1pPr>
          </a:lstStyle>
          <a:p>
            <a:r>
              <a:rPr lang="en-GB"/>
              <a:t>Group Presentation</a:t>
            </a:r>
          </a:p>
        </p:txBody>
      </p:sp>
      <p:pic>
        <p:nvPicPr>
          <p:cNvPr id="86" name="Grafik 85">
            <a:extLst>
              <a:ext uri="{FF2B5EF4-FFF2-40B4-BE49-F238E27FC236}">
                <a16:creationId xmlns:a16="http://schemas.microsoft.com/office/drawing/2014/main" id="{9BA1F879-3B6D-34E0-84DC-D79DC7E397CC}"/>
              </a:ext>
            </a:extLst>
          </p:cNvPr>
          <p:cNvPicPr>
            <a:picLocks noChangeAspect="1"/>
          </p:cNvPicPr>
          <p:nvPr/>
        </p:nvPicPr>
        <p:blipFill>
          <a:blip r:embed="rId52" cstate="screen">
            <a:extLst>
              <a:ext uri="{28A0092B-C50C-407E-A947-70E740481C1C}">
                <a14:useLocalDpi xmlns:a14="http://schemas.microsoft.com/office/drawing/2010/main" val="0"/>
              </a:ext>
            </a:extLst>
          </a:blip>
          <a:stretch>
            <a:fillRect/>
          </a:stretch>
        </p:blipFill>
        <p:spPr>
          <a:xfrm>
            <a:off x="11523000" y="6201700"/>
            <a:ext cx="288000" cy="288000"/>
          </a:xfrm>
          <a:prstGeom prst="rect">
            <a:avLst/>
          </a:prstGeom>
        </p:spPr>
      </p:pic>
      <p:sp>
        <p:nvSpPr>
          <p:cNvPr id="11" name="Slide Number Placeholder 10">
            <a:extLst>
              <a:ext uri="{FF2B5EF4-FFF2-40B4-BE49-F238E27FC236}">
                <a16:creationId xmlns:a16="http://schemas.microsoft.com/office/drawing/2014/main" id="{0E1B39B4-8D0F-C71D-EC1A-84E62CA2223E}"/>
              </a:ext>
            </a:extLst>
          </p:cNvPr>
          <p:cNvSpPr>
            <a:spLocks noGrp="1"/>
          </p:cNvSpPr>
          <p:nvPr>
            <p:ph type="sldNum" sz="quarter" idx="4"/>
          </p:nvPr>
        </p:nvSpPr>
        <p:spPr>
          <a:xfrm>
            <a:off x="382589" y="6386334"/>
            <a:ext cx="265112" cy="123111"/>
          </a:xfrm>
          <a:prstGeom prst="rect">
            <a:avLst/>
          </a:prstGeom>
        </p:spPr>
        <p:txBody>
          <a:bodyPr vert="horz" lIns="0" tIns="0" rIns="0" bIns="0" rtlCol="0" anchor="t" anchorCtr="0"/>
          <a:lstStyle>
            <a:lvl1pPr algn="l">
              <a:defRPr sz="800">
                <a:solidFill>
                  <a:schemeClr val="tx2"/>
                </a:solidFill>
                <a:latin typeface="Lexend HM" pitchFamily="2" charset="0"/>
              </a:defRPr>
            </a:lvl1pPr>
          </a:lstStyle>
          <a:p>
            <a:fld id="{A115CDC9-74CB-4F6C-8CD3-A6C89F254EE7}" type="slidenum">
              <a:rPr lang="en-US" smtClean="0"/>
              <a:pPr/>
              <a:t>‹#›</a:t>
            </a:fld>
            <a:endParaRPr lang="en-US"/>
          </a:p>
        </p:txBody>
      </p:sp>
      <p:pic>
        <p:nvPicPr>
          <p:cNvPr id="12" name="Graphic 11">
            <a:extLst>
              <a:ext uri="{FF2B5EF4-FFF2-40B4-BE49-F238E27FC236}">
                <a16:creationId xmlns:a16="http://schemas.microsoft.com/office/drawing/2014/main" id="{C77CFBF3-9849-EF76-98F6-9A96E460F92A}"/>
              </a:ext>
            </a:extLst>
          </p:cNvPr>
          <p:cNvPicPr>
            <a:picLocks noChangeAspect="1"/>
          </p:cNvPicPr>
          <p:nvPr/>
        </p:nvPicPr>
        <p:blipFill>
          <a:blip r:embed="rId53" cstate="screen">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025515" y="6410506"/>
            <a:ext cx="1062384" cy="103228"/>
          </a:xfrm>
          <a:prstGeom prst="rect">
            <a:avLst/>
          </a:prstGeom>
        </p:spPr>
      </p:pic>
    </p:spTree>
    <p:extLst>
      <p:ext uri="{BB962C8B-B14F-4D97-AF65-F5344CB8AC3E}">
        <p14:creationId xmlns:p14="http://schemas.microsoft.com/office/powerpoint/2010/main" val="3213930011"/>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 id="2147483832" r:id="rId25"/>
    <p:sldLayoutId id="2147483833" r:id="rId26"/>
    <p:sldLayoutId id="2147483834" r:id="rId27"/>
    <p:sldLayoutId id="2147483835" r:id="rId28"/>
    <p:sldLayoutId id="2147483836" r:id="rId29"/>
    <p:sldLayoutId id="2147483837" r:id="rId30"/>
    <p:sldLayoutId id="2147483838" r:id="rId31"/>
    <p:sldLayoutId id="2147483839" r:id="rId32"/>
    <p:sldLayoutId id="2147483840"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0" r:id="rId43"/>
    <p:sldLayoutId id="2147483851" r:id="rId44"/>
    <p:sldLayoutId id="2147483852" r:id="rId45"/>
    <p:sldLayoutId id="2147483853" r:id="rId46"/>
    <p:sldLayoutId id="2147483854" r:id="rId47"/>
  </p:sldLayoutIdLst>
  <p:hf hdr="0"/>
  <p:txStyles>
    <p:title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p:titleStyle>
    <p:body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1336">
          <p15:clr>
            <a:srgbClr val="F26B43"/>
          </p15:clr>
        </p15:guide>
        <p15:guide id="3" pos="1459">
          <p15:clr>
            <a:srgbClr val="F26B43"/>
          </p15:clr>
        </p15:guide>
        <p15:guide id="4" pos="2559">
          <p15:clr>
            <a:srgbClr val="F26B43"/>
          </p15:clr>
        </p15:guide>
        <p15:guide id="5" pos="2684">
          <p15:clr>
            <a:srgbClr val="F26B43"/>
          </p15:clr>
        </p15:guide>
        <p15:guide id="6" pos="3777">
          <p15:clr>
            <a:srgbClr val="F26B43"/>
          </p15:clr>
        </p15:guide>
        <p15:guide id="7" pos="3901">
          <p15:clr>
            <a:srgbClr val="F26B43"/>
          </p15:clr>
        </p15:guide>
        <p15:guide id="8" pos="5000">
          <p15:clr>
            <a:srgbClr val="F26B43"/>
          </p15:clr>
        </p15:guide>
        <p15:guide id="9" pos="5125">
          <p15:clr>
            <a:srgbClr val="F26B43"/>
          </p15:clr>
        </p15:guide>
        <p15:guide id="10" pos="6217">
          <p15:clr>
            <a:srgbClr val="F26B43"/>
          </p15:clr>
        </p15:guide>
        <p15:guide id="11" pos="6342">
          <p15:clr>
            <a:srgbClr val="F26B43"/>
          </p15:clr>
        </p15:guide>
        <p15:guide id="12" pos="7440">
          <p15:clr>
            <a:srgbClr val="F26B43"/>
          </p15:clr>
        </p15:guide>
        <p15:guide id="13" orient="horz" pos="234">
          <p15:clr>
            <a:srgbClr val="F26B43"/>
          </p15:clr>
        </p15:guide>
        <p15:guide id="14" orient="horz" pos="471">
          <p15:clr>
            <a:srgbClr val="F26B43"/>
          </p15:clr>
        </p15:guide>
        <p15:guide id="15" orient="horz" pos="3604">
          <p15:clr>
            <a:srgbClr val="F26B43"/>
          </p15:clr>
        </p15:guide>
        <p15:guide id="16" orient="horz" pos="3842">
          <p15:clr>
            <a:srgbClr val="F26B43"/>
          </p15:clr>
        </p15:guide>
        <p15:guide id="17" orient="horz" pos="4088">
          <p15:clr>
            <a:srgbClr val="F26B43"/>
          </p15:clr>
        </p15:guide>
        <p15:guide id="18" orient="horz" pos="958">
          <p15:clr>
            <a:srgbClr val="F26B43"/>
          </p15:clr>
        </p15:guide>
        <p15:guide id="19" pos="722">
          <p15:clr>
            <a:srgbClr val="F26B43"/>
          </p15:clr>
        </p15:guide>
        <p15:guide id="20" pos="3165">
          <p15:clr>
            <a:srgbClr val="F26B43"/>
          </p15:clr>
        </p15:guide>
        <p15:guide id="21" pos="855">
          <p15:clr>
            <a:srgbClr val="F26B43"/>
          </p15:clr>
        </p15:guide>
        <p15:guide id="22" pos="1943">
          <p15:clr>
            <a:srgbClr val="F26B43"/>
          </p15:clr>
        </p15:guide>
        <p15:guide id="23" pos="2076">
          <p15:clr>
            <a:srgbClr val="F26B43"/>
          </p15:clr>
        </p15:guide>
        <p15:guide id="24" pos="3291">
          <p15:clr>
            <a:srgbClr val="F26B43"/>
          </p15:clr>
        </p15:guide>
        <p15:guide id="25" pos="4380">
          <p15:clr>
            <a:srgbClr val="F26B43"/>
          </p15:clr>
        </p15:guide>
        <p15:guide id="26" pos="4513">
          <p15:clr>
            <a:srgbClr val="F26B43"/>
          </p15:clr>
        </p15:guide>
        <p15:guide id="27" pos="5602">
          <p15:clr>
            <a:srgbClr val="F26B43"/>
          </p15:clr>
        </p15:guide>
        <p15:guide id="28" pos="5735">
          <p15:clr>
            <a:srgbClr val="F26B43"/>
          </p15:clr>
        </p15:guide>
        <p15:guide id="29" orient="horz" pos="2160">
          <p15:clr>
            <a:srgbClr val="F26B43"/>
          </p15:clr>
        </p15:guide>
        <p15:guide id="30" orient="horz" pos="731">
          <p15:clr>
            <a:srgbClr val="F26B43"/>
          </p15:clr>
        </p15:guide>
        <p15:guide id="31" orient="horz" pos="1207">
          <p15:clr>
            <a:srgbClr val="F26B43"/>
          </p15:clr>
        </p15:guide>
        <p15:guide id="32" orient="horz" pos="1684">
          <p15:clr>
            <a:srgbClr val="F26B43"/>
          </p15:clr>
        </p15:guide>
        <p15:guide id="33" orient="horz" pos="2659">
          <p15:clr>
            <a:srgbClr val="F26B43"/>
          </p15:clr>
        </p15:guide>
        <p15:guide id="34" orient="horz" pos="3135">
          <p15:clr>
            <a:srgbClr val="F26B43"/>
          </p15:clr>
        </p15:guide>
        <p15:guide id="35" pos="6823">
          <p15:clr>
            <a:srgbClr val="F26B43"/>
          </p15:clr>
        </p15:guide>
        <p15:guide id="36" pos="6950">
          <p15:clr>
            <a:srgbClr val="F26B43"/>
          </p15:clr>
        </p15:guide>
        <p15:guide id="37" orient="horz" pos="845">
          <p15:clr>
            <a:srgbClr val="F26B43"/>
          </p15:clr>
        </p15:guide>
        <p15:guide id="38" orient="horz" pos="372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899516"/>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63" r:id="rId3"/>
    <p:sldLayoutId id="2147483784" r:id="rId4"/>
    <p:sldLayoutId id="2147483762" r:id="rId5"/>
    <p:sldLayoutId id="2147483783" r:id="rId6"/>
    <p:sldLayoutId id="2147483748" r:id="rId7"/>
    <p:sldLayoutId id="2147483736" r:id="rId8"/>
    <p:sldLayoutId id="2147483765" r:id="rId9"/>
    <p:sldLayoutId id="2147483764" r:id="rId10"/>
    <p:sldLayoutId id="2147483751" r:id="rId11"/>
    <p:sldLayoutId id="2147483750"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487731"/>
      </p:ext>
    </p:extLst>
  </p:cSld>
  <p:clrMap bg1="lt1" tx1="dk1" bg2="lt2" tx2="dk2" accent1="accent1" accent2="accent2" accent3="accent3" accent4="accent4" accent5="accent5" accent6="accent6" hlink="hlink" folHlink="folHlink"/>
  <p:sldLayoutIdLst>
    <p:sldLayoutId id="2147483759" r:id="rId1"/>
    <p:sldLayoutId id="2147483761" r:id="rId2"/>
    <p:sldLayoutId id="2147483760" r:id="rId3"/>
    <p:sldLayoutId id="2147483756" r:id="rId4"/>
    <p:sldLayoutId id="2147483757" r:id="rId5"/>
    <p:sldLayoutId id="2147483758" r:id="rId6"/>
    <p:sldLayoutId id="2147483755" r:id="rId7"/>
    <p:sldLayoutId id="2147483754"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839824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49" r:id="rId5"/>
    <p:sldLayoutId id="2147483785"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700978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38" r:id="rId3"/>
    <p:sldLayoutId id="2147483789" r:id="rId4"/>
    <p:sldLayoutId id="2147483790"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3483813"/>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39" r:id="rId3"/>
    <p:sldLayoutId id="2147483794" r:id="rId4"/>
    <p:sldLayoutId id="2147483795"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4674976"/>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40" r:id="rId3"/>
    <p:sldLayoutId id="2147483799" r:id="rId4"/>
    <p:sldLayoutId id="2147483800"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247408"/>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741" r:id="rId3"/>
    <p:sldLayoutId id="2147483804" r:id="rId4"/>
    <p:sldLayoutId id="2147483805"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93326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44" r:id="rId3"/>
    <p:sldLayoutId id="2147483701" r:id="rId4"/>
    <p:sldLayoutId id="2147483702"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84.xml"/><Relationship Id="rId1" Type="http://schemas.openxmlformats.org/officeDocument/2006/relationships/tags" Target="../tags/tag103.xml"/><Relationship Id="rId6" Type="http://schemas.openxmlformats.org/officeDocument/2006/relationships/image" Target="../media/image111.png"/><Relationship Id="rId5" Type="http://schemas.openxmlformats.org/officeDocument/2006/relationships/image" Target="../media/image9.emf"/><Relationship Id="rId4" Type="http://schemas.openxmlformats.org/officeDocument/2006/relationships/oleObject" Target="../embeddings/oleObject103.bin"/></Relationships>
</file>

<file path=ppt/slides/_rels/slide25.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jpeg"/><Relationship Id="rId7" Type="http://schemas.openxmlformats.org/officeDocument/2006/relationships/image" Target="../media/image116.svg"/><Relationship Id="rId2" Type="http://schemas.openxmlformats.org/officeDocument/2006/relationships/notesSlide" Target="../notesSlides/notesSlide12.xml"/><Relationship Id="rId1" Type="http://schemas.openxmlformats.org/officeDocument/2006/relationships/slideLayout" Target="../slideLayouts/slideLayout120.xml"/><Relationship Id="rId6" Type="http://schemas.openxmlformats.org/officeDocument/2006/relationships/image" Target="../media/image115.png"/><Relationship Id="rId5" Type="http://schemas.openxmlformats.org/officeDocument/2006/relationships/image" Target="../media/image114.svg"/><Relationship Id="rId4" Type="http://schemas.openxmlformats.org/officeDocument/2006/relationships/image" Target="../media/image113.png"/><Relationship Id="rId9" Type="http://schemas.openxmlformats.org/officeDocument/2006/relationships/image" Target="../media/image118.svg"/></Relationships>
</file>

<file path=ppt/slides/_rels/slide26.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oleObject" Target="../embeddings/oleObject104.bin"/><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notesSlide" Target="../notesSlides/notesSlide13.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slideLayout" Target="../slideLayouts/slideLayout123.xml"/><Relationship Id="rId5" Type="http://schemas.openxmlformats.org/officeDocument/2006/relationships/tags" Target="../tags/tag108.xml"/><Relationship Id="rId15" Type="http://schemas.openxmlformats.org/officeDocument/2006/relationships/chart" Target="../charts/chart4.xml"/><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image" Target="../media/image119.emf"/></Relationships>
</file>

<file path=ppt/slides/_rels/slide27.xml.rels><?xml version="1.0" encoding="UTF-8" standalone="yes"?>
<Relationships xmlns="http://schemas.openxmlformats.org/package/2006/relationships"><Relationship Id="rId8" Type="http://schemas.openxmlformats.org/officeDocument/2006/relationships/image" Target="../media/image123.jpeg"/><Relationship Id="rId3" Type="http://schemas.openxmlformats.org/officeDocument/2006/relationships/oleObject" Target="../embeddings/oleObject105.bin"/><Relationship Id="rId7" Type="http://schemas.openxmlformats.org/officeDocument/2006/relationships/image" Target="../media/image122.png"/><Relationship Id="rId2" Type="http://schemas.openxmlformats.org/officeDocument/2006/relationships/slideLayout" Target="../slideLayouts/slideLayout114.xml"/><Relationship Id="rId1" Type="http://schemas.openxmlformats.org/officeDocument/2006/relationships/tags" Target="../tags/tag114.xml"/><Relationship Id="rId6" Type="http://schemas.openxmlformats.org/officeDocument/2006/relationships/image" Target="../media/image121.jpeg"/><Relationship Id="rId5" Type="http://schemas.openxmlformats.org/officeDocument/2006/relationships/image" Target="../media/image120.png"/><Relationship Id="rId4" Type="http://schemas.openxmlformats.org/officeDocument/2006/relationships/image" Target="../media/image119.emf"/><Relationship Id="rId9" Type="http://schemas.openxmlformats.org/officeDocument/2006/relationships/image" Target="../media/image124.pn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114.xml"/><Relationship Id="rId1" Type="http://schemas.openxmlformats.org/officeDocument/2006/relationships/tags" Target="../tags/tag115.xml"/><Relationship Id="rId4" Type="http://schemas.openxmlformats.org/officeDocument/2006/relationships/image" Target="../media/image119.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134.xml"/><Relationship Id="rId1" Type="http://schemas.openxmlformats.org/officeDocument/2006/relationships/tags" Target="../tags/tag116.xml"/><Relationship Id="rId4" Type="http://schemas.openxmlformats.org/officeDocument/2006/relationships/image" Target="../media/image119.emf"/></Relationships>
</file>

<file path=ppt/slides/_rels/slide3.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5.xml"/><Relationship Id="rId1" Type="http://schemas.openxmlformats.org/officeDocument/2006/relationships/tags" Target="../tags/tag117.xml"/><Relationship Id="rId5" Type="http://schemas.openxmlformats.org/officeDocument/2006/relationships/image" Target="../media/image79.emf"/><Relationship Id="rId4" Type="http://schemas.openxmlformats.org/officeDocument/2006/relationships/oleObject" Target="../embeddings/oleObject108.bin"/></Relationships>
</file>

<file path=ppt/slides/_rels/slide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1.xml"/><Relationship Id="rId6" Type="http://schemas.openxmlformats.org/officeDocument/2006/relationships/image" Target="../media/image89.png"/><Relationship Id="rId5" Type="http://schemas.openxmlformats.org/officeDocument/2006/relationships/image" Target="../media/image88.jpeg"/><Relationship Id="rId4" Type="http://schemas.openxmlformats.org/officeDocument/2006/relationships/image" Target="../media/image8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99.png"/><Relationship Id="rId3" Type="http://schemas.openxmlformats.org/officeDocument/2006/relationships/image" Target="../media/image90.emf"/><Relationship Id="rId7" Type="http://schemas.openxmlformats.org/officeDocument/2006/relationships/image" Target="../media/image94.wmf"/><Relationship Id="rId12" Type="http://schemas.openxmlformats.org/officeDocument/2006/relationships/image" Target="../media/image98.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93.emf"/><Relationship Id="rId11" Type="http://schemas.microsoft.com/office/2007/relationships/hdphoto" Target="../media/hdphoto1.wdp"/><Relationship Id="rId5" Type="http://schemas.openxmlformats.org/officeDocument/2006/relationships/image" Target="../media/image92.emf"/><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emf"/><Relationship Id="rId14" Type="http://schemas.openxmlformats.org/officeDocument/2006/relationships/image" Target="../media/image10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52C61EA6-EAA7-E137-0C32-545A2B10D6AA}"/>
              </a:ext>
            </a:extLst>
          </p:cNvPr>
          <p:cNvSpPr>
            <a:spLocks noGrp="1"/>
          </p:cNvSpPr>
          <p:nvPr>
            <p:ph type="body" sz="quarter" idx="10"/>
          </p:nvPr>
        </p:nvSpPr>
        <p:spPr>
          <a:xfrm>
            <a:off x="1436071" y="2342928"/>
            <a:ext cx="9507468" cy="1700081"/>
          </a:xfrm>
        </p:spPr>
        <p:txBody>
          <a:bodyPr/>
          <a:lstStyle/>
          <a:p>
            <a:r>
              <a:rPr lang="en-US"/>
              <a:t>Corporate Social Responsibility (CSR) in the Energy Sector</a:t>
            </a:r>
            <a:endParaRPr lang="nb-NO"/>
          </a:p>
        </p:txBody>
      </p:sp>
      <p:sp>
        <p:nvSpPr>
          <p:cNvPr id="3" name="Plassholder for tekst 2">
            <a:extLst>
              <a:ext uri="{FF2B5EF4-FFF2-40B4-BE49-F238E27FC236}">
                <a16:creationId xmlns:a16="http://schemas.microsoft.com/office/drawing/2014/main" id="{D225A8C2-A120-49B2-CA4A-2153E8974AB5}"/>
              </a:ext>
            </a:extLst>
          </p:cNvPr>
          <p:cNvSpPr>
            <a:spLocks noGrp="1"/>
          </p:cNvSpPr>
          <p:nvPr>
            <p:ph type="body" sz="quarter" idx="11"/>
          </p:nvPr>
        </p:nvSpPr>
        <p:spPr/>
        <p:txBody>
          <a:bodyPr/>
          <a:lstStyle/>
          <a:p>
            <a:endParaRPr lang="nb-NO"/>
          </a:p>
          <a:p>
            <a:endParaRPr lang="nb-NO"/>
          </a:p>
        </p:txBody>
      </p:sp>
      <p:sp>
        <p:nvSpPr>
          <p:cNvPr id="4" name="Plassholder for tekst 2">
            <a:extLst>
              <a:ext uri="{FF2B5EF4-FFF2-40B4-BE49-F238E27FC236}">
                <a16:creationId xmlns:a16="http://schemas.microsoft.com/office/drawing/2014/main" id="{2D9ED9DE-2E2A-0765-7CCD-2D0911D52772}"/>
              </a:ext>
            </a:extLst>
          </p:cNvPr>
          <p:cNvSpPr txBox="1">
            <a:spLocks/>
          </p:cNvSpPr>
          <p:nvPr/>
        </p:nvSpPr>
        <p:spPr>
          <a:xfrm>
            <a:off x="1436070" y="5269212"/>
            <a:ext cx="6433996" cy="1379346"/>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500" b="0" i="0" kern="1200">
                <a:solidFill>
                  <a:schemeClr val="bg1"/>
                </a:solidFill>
                <a:latin typeface="Haffer Light" pitchFamily="2" charset="77"/>
                <a:ea typeface="+mn-ea"/>
                <a:cs typeface="Haffer Light"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latin typeface="Haffer Light"/>
                <a:cs typeface="Haffer Light"/>
              </a:rPr>
              <a:t>Laura Malinen, Market Manager Montel Match</a:t>
            </a:r>
            <a:endParaRPr lang="de-DE"/>
          </a:p>
          <a:p>
            <a:r>
              <a:rPr lang="en-US" sz="1800">
                <a:latin typeface="Haffer Light"/>
                <a:cs typeface="Haffer Light"/>
              </a:rPr>
              <a:t>Juan Cordero, European Sales Executive Montel Analytics</a:t>
            </a:r>
          </a:p>
          <a:p>
            <a:r>
              <a:rPr lang="en-US" sz="1800">
                <a:latin typeface="Haffer Light"/>
                <a:cs typeface="Haffer Light"/>
              </a:rPr>
              <a:t>Josephine Steppat, Analyst Montel Analytics</a:t>
            </a:r>
            <a:endParaRPr lang="en-US"/>
          </a:p>
          <a:p>
            <a:r>
              <a:rPr lang="nb-NO" sz="1800"/>
              <a:t> 31. </a:t>
            </a:r>
            <a:r>
              <a:rPr lang="nb-NO" sz="1800" err="1"/>
              <a:t>October</a:t>
            </a:r>
            <a:r>
              <a:rPr lang="nb-NO" sz="1800"/>
              <a:t> 2024</a:t>
            </a:r>
          </a:p>
          <a:p>
            <a:endParaRPr lang="nb-NO" sz="1800"/>
          </a:p>
        </p:txBody>
      </p:sp>
    </p:spTree>
    <p:extLst>
      <p:ext uri="{BB962C8B-B14F-4D97-AF65-F5344CB8AC3E}">
        <p14:creationId xmlns:p14="http://schemas.microsoft.com/office/powerpoint/2010/main" val="6496832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6683673-8655-0A23-C0A9-FEFD91E5ECA4}"/>
              </a:ext>
            </a:extLst>
          </p:cNvPr>
          <p:cNvSpPr>
            <a:spLocks noGrp="1"/>
          </p:cNvSpPr>
          <p:nvPr>
            <p:ph type="body" sz="quarter" idx="11"/>
          </p:nvPr>
        </p:nvSpPr>
        <p:spPr/>
        <p:txBody>
          <a:bodyPr lIns="91440" tIns="45720" rIns="91440" bIns="45720" anchor="b"/>
          <a:lstStyle/>
          <a:p>
            <a:r>
              <a:rPr lang="de-DE" err="1">
                <a:latin typeface="Haffer"/>
                <a:cs typeface="Haffer"/>
              </a:rPr>
              <a:t>Importance</a:t>
            </a:r>
            <a:r>
              <a:rPr lang="de-DE">
                <a:latin typeface="Haffer"/>
                <a:cs typeface="Haffer"/>
              </a:rPr>
              <a:t> </a:t>
            </a:r>
            <a:r>
              <a:rPr lang="de-DE" err="1">
                <a:latin typeface="Haffer"/>
                <a:cs typeface="Haffer"/>
              </a:rPr>
              <a:t>of</a:t>
            </a:r>
            <a:r>
              <a:rPr lang="de-DE">
                <a:latin typeface="Haffer"/>
                <a:cs typeface="Haffer"/>
              </a:rPr>
              <a:t> </a:t>
            </a:r>
            <a:r>
              <a:rPr lang="de-DE" err="1">
                <a:latin typeface="Haffer"/>
                <a:cs typeface="Haffer"/>
              </a:rPr>
              <a:t>the</a:t>
            </a:r>
            <a:r>
              <a:rPr lang="de-DE">
                <a:latin typeface="Haffer"/>
                <a:cs typeface="Haffer"/>
              </a:rPr>
              <a:t> CSR </a:t>
            </a:r>
            <a:r>
              <a:rPr lang="de-DE" err="1">
                <a:latin typeface="Haffer"/>
                <a:cs typeface="Haffer"/>
              </a:rPr>
              <a:t>regulation</a:t>
            </a:r>
            <a:r>
              <a:rPr lang="de-DE">
                <a:latin typeface="Haffer"/>
                <a:cs typeface="Haffer"/>
              </a:rPr>
              <a:t> </a:t>
            </a:r>
            <a:r>
              <a:rPr lang="de-DE" err="1">
                <a:latin typeface="Haffer"/>
                <a:cs typeface="Haffer"/>
              </a:rPr>
              <a:t>for</a:t>
            </a:r>
            <a:r>
              <a:rPr lang="de-DE">
                <a:latin typeface="Haffer"/>
                <a:cs typeface="Haffer"/>
              </a:rPr>
              <a:t> </a:t>
            </a:r>
            <a:r>
              <a:rPr lang="de-DE" err="1">
                <a:latin typeface="Haffer"/>
                <a:cs typeface="Haffer"/>
              </a:rPr>
              <a:t>the</a:t>
            </a:r>
            <a:r>
              <a:rPr lang="de-DE">
                <a:latin typeface="Haffer"/>
                <a:cs typeface="Haffer"/>
              </a:rPr>
              <a:t> </a:t>
            </a:r>
            <a:r>
              <a:rPr lang="de-DE" err="1">
                <a:latin typeface="Haffer"/>
                <a:cs typeface="Haffer"/>
              </a:rPr>
              <a:t>purchase</a:t>
            </a:r>
            <a:r>
              <a:rPr lang="de-DE">
                <a:latin typeface="Haffer"/>
                <a:cs typeface="Haffer"/>
              </a:rPr>
              <a:t> </a:t>
            </a:r>
            <a:r>
              <a:rPr lang="de-DE" err="1">
                <a:latin typeface="Haffer"/>
                <a:cs typeface="Haffer"/>
              </a:rPr>
              <a:t>of</a:t>
            </a:r>
            <a:r>
              <a:rPr lang="de-DE">
                <a:latin typeface="Haffer"/>
                <a:cs typeface="Haffer"/>
              </a:rPr>
              <a:t> </a:t>
            </a:r>
            <a:r>
              <a:rPr lang="de-DE" err="1">
                <a:latin typeface="Haffer"/>
                <a:cs typeface="Haffer"/>
              </a:rPr>
              <a:t>electricity</a:t>
            </a:r>
            <a:r>
              <a:rPr lang="de-DE">
                <a:latin typeface="Haffer"/>
                <a:cs typeface="Haffer"/>
              </a:rPr>
              <a:t> </a:t>
            </a:r>
            <a:r>
              <a:rPr lang="de-DE" err="1">
                <a:latin typeface="Haffer"/>
                <a:cs typeface="Haffer"/>
              </a:rPr>
              <a:t>by</a:t>
            </a:r>
            <a:r>
              <a:rPr lang="de-DE">
                <a:latin typeface="Haffer"/>
                <a:cs typeface="Haffer"/>
              </a:rPr>
              <a:t> </a:t>
            </a:r>
            <a:r>
              <a:rPr lang="de-DE" err="1">
                <a:latin typeface="Haffer"/>
                <a:cs typeface="Haffer"/>
              </a:rPr>
              <a:t>companies</a:t>
            </a:r>
            <a:r>
              <a:rPr lang="de-DE">
                <a:latin typeface="Haffer"/>
                <a:cs typeface="Haffer"/>
              </a:rPr>
              <a:t> </a:t>
            </a:r>
            <a:r>
              <a:rPr lang="de-DE" err="1">
                <a:latin typeface="Haffer"/>
                <a:cs typeface="Haffer"/>
              </a:rPr>
              <a:t>through</a:t>
            </a:r>
            <a:r>
              <a:rPr lang="de-DE">
                <a:latin typeface="Haffer"/>
                <a:cs typeface="Haffer"/>
              </a:rPr>
              <a:t> PPAs</a:t>
            </a:r>
          </a:p>
        </p:txBody>
      </p:sp>
      <p:sp>
        <p:nvSpPr>
          <p:cNvPr id="3" name="Textplatzhalter 2">
            <a:extLst>
              <a:ext uri="{FF2B5EF4-FFF2-40B4-BE49-F238E27FC236}">
                <a16:creationId xmlns:a16="http://schemas.microsoft.com/office/drawing/2014/main" id="{A50C322C-7ADF-F49D-4253-2D2B5F5878A1}"/>
              </a:ext>
            </a:extLst>
          </p:cNvPr>
          <p:cNvSpPr>
            <a:spLocks noGrp="1"/>
          </p:cNvSpPr>
          <p:nvPr>
            <p:ph type="body" sz="quarter" idx="10"/>
          </p:nvPr>
        </p:nvSpPr>
        <p:spPr>
          <a:xfrm>
            <a:off x="959979" y="403514"/>
            <a:ext cx="10611984" cy="1320745"/>
          </a:xfrm>
        </p:spPr>
        <p:txBody>
          <a:bodyPr lIns="91440" tIns="45720" rIns="91440" bIns="45720" anchor="b"/>
          <a:lstStyle/>
          <a:p>
            <a:r>
              <a:rPr lang="de-DE">
                <a:latin typeface="Haffer"/>
                <a:cs typeface="Haffer"/>
              </a:rPr>
              <a:t>CSRD </a:t>
            </a:r>
            <a:r>
              <a:rPr lang="de-DE" err="1">
                <a:latin typeface="Haffer"/>
                <a:cs typeface="Haffer"/>
              </a:rPr>
              <a:t>standards</a:t>
            </a:r>
            <a:r>
              <a:rPr lang="de-DE">
                <a:latin typeface="Haffer"/>
                <a:cs typeface="Haffer"/>
              </a:rPr>
              <a:t> in </a:t>
            </a:r>
            <a:r>
              <a:rPr lang="de-DE" err="1">
                <a:latin typeface="Haffer"/>
                <a:cs typeface="Haffer"/>
              </a:rPr>
              <a:t>context</a:t>
            </a:r>
            <a:r>
              <a:rPr lang="de-DE">
                <a:latin typeface="Haffer"/>
                <a:cs typeface="Haffer"/>
              </a:rPr>
              <a:t> </a:t>
            </a:r>
            <a:r>
              <a:rPr lang="de-DE" err="1">
                <a:latin typeface="Haffer"/>
                <a:cs typeface="Haffer"/>
              </a:rPr>
              <a:t>of</a:t>
            </a:r>
            <a:r>
              <a:rPr lang="de-DE">
                <a:latin typeface="Haffer"/>
                <a:cs typeface="Haffer"/>
              </a:rPr>
              <a:t> PPAs</a:t>
            </a:r>
            <a:endParaRPr lang="de-DE"/>
          </a:p>
        </p:txBody>
      </p:sp>
      <p:sp>
        <p:nvSpPr>
          <p:cNvPr id="5" name="Textplatzhalter 4">
            <a:extLst>
              <a:ext uri="{FF2B5EF4-FFF2-40B4-BE49-F238E27FC236}">
                <a16:creationId xmlns:a16="http://schemas.microsoft.com/office/drawing/2014/main" id="{03E60AF8-C4A6-4E64-D685-0D19B5A330A4}"/>
              </a:ext>
            </a:extLst>
          </p:cNvPr>
          <p:cNvSpPr>
            <a:spLocks noGrp="1"/>
          </p:cNvSpPr>
          <p:nvPr>
            <p:ph type="body" sz="quarter" idx="16"/>
          </p:nvPr>
        </p:nvSpPr>
        <p:spPr>
          <a:xfrm>
            <a:off x="959978" y="2072789"/>
            <a:ext cx="10604494" cy="4011613"/>
          </a:xfrm>
        </p:spPr>
        <p:txBody>
          <a:bodyPr lIns="91440" tIns="45720" rIns="91440" bIns="45720" anchor="t"/>
          <a:lstStyle/>
          <a:p>
            <a:r>
              <a:rPr lang="de-DE" b="1">
                <a:latin typeface="Haffer Light"/>
                <a:cs typeface="Haffer Light"/>
              </a:rPr>
              <a:t>Quantitative and qualitative </a:t>
            </a:r>
            <a:r>
              <a:rPr lang="de-DE" b="1" err="1">
                <a:latin typeface="Haffer Light"/>
                <a:cs typeface="Haffer Light"/>
              </a:rPr>
              <a:t>information</a:t>
            </a:r>
            <a:r>
              <a:rPr lang="de-DE" b="1">
                <a:latin typeface="Haffer Light"/>
                <a:cs typeface="Haffer Light"/>
              </a:rPr>
              <a:t>:</a:t>
            </a:r>
            <a:r>
              <a:rPr lang="de-DE">
                <a:latin typeface="Haffer Light"/>
                <a:cs typeface="Haffer Light"/>
              </a:rPr>
              <a:t> </a:t>
            </a:r>
            <a:r>
              <a:rPr lang="de-DE" err="1">
                <a:latin typeface="Haffer Light"/>
                <a:cs typeface="Haffer Light"/>
              </a:rPr>
              <a:t>companies</a:t>
            </a:r>
            <a:r>
              <a:rPr lang="de-DE">
                <a:latin typeface="Haffer Light"/>
                <a:cs typeface="Haffer Light"/>
              </a:rPr>
              <a:t> </a:t>
            </a:r>
            <a:r>
              <a:rPr lang="de-DE" err="1">
                <a:latin typeface="Haffer Light"/>
                <a:cs typeface="Haffer Light"/>
              </a:rPr>
              <a:t>must</a:t>
            </a:r>
            <a:r>
              <a:rPr lang="de-DE">
                <a:latin typeface="Haffer Light"/>
                <a:cs typeface="Haffer Light"/>
              </a:rPr>
              <a:t> </a:t>
            </a:r>
            <a:r>
              <a:rPr lang="de-DE" err="1">
                <a:latin typeface="Haffer Light"/>
                <a:cs typeface="Haffer Light"/>
              </a:rPr>
              <a:t>provide</a:t>
            </a:r>
            <a:r>
              <a:rPr lang="de-DE">
                <a:latin typeface="Haffer Light"/>
                <a:cs typeface="Haffer Light"/>
              </a:rPr>
              <a:t> </a:t>
            </a:r>
            <a:r>
              <a:rPr lang="de-DE" err="1">
                <a:latin typeface="Haffer Light"/>
                <a:cs typeface="Haffer Light"/>
              </a:rPr>
              <a:t>both</a:t>
            </a:r>
            <a:r>
              <a:rPr lang="de-DE">
                <a:latin typeface="Haffer Light"/>
                <a:cs typeface="Haffer Light"/>
              </a:rPr>
              <a:t> quantitative </a:t>
            </a:r>
            <a:r>
              <a:rPr lang="de-DE" err="1">
                <a:latin typeface="Haffer Light"/>
                <a:cs typeface="Haffer Light"/>
              </a:rPr>
              <a:t>data</a:t>
            </a:r>
            <a:r>
              <a:rPr lang="de-DE">
                <a:latin typeface="Haffer Light"/>
                <a:cs typeface="Haffer Light"/>
              </a:rPr>
              <a:t> (e.g. </a:t>
            </a:r>
            <a:r>
              <a:rPr lang="de-DE" err="1">
                <a:latin typeface="Haffer Light"/>
                <a:cs typeface="Haffer Light"/>
              </a:rPr>
              <a:t>amount</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energy</a:t>
            </a:r>
            <a:r>
              <a:rPr lang="de-DE">
                <a:latin typeface="Haffer Light"/>
                <a:cs typeface="Haffer Light"/>
              </a:rPr>
              <a:t> </a:t>
            </a:r>
            <a:r>
              <a:rPr lang="de-DE" err="1">
                <a:latin typeface="Haffer Light"/>
                <a:cs typeface="Haffer Light"/>
              </a:rPr>
              <a:t>purchased</a:t>
            </a:r>
            <a:r>
              <a:rPr lang="de-DE">
                <a:latin typeface="Haffer Light"/>
                <a:cs typeface="Haffer Light"/>
              </a:rPr>
              <a:t> in MWh) and qualitative </a:t>
            </a:r>
            <a:r>
              <a:rPr lang="de-DE" err="1">
                <a:latin typeface="Haffer Light"/>
                <a:cs typeface="Haffer Light"/>
              </a:rPr>
              <a:t>information</a:t>
            </a:r>
            <a:r>
              <a:rPr lang="de-DE">
                <a:latin typeface="Haffer Light"/>
                <a:cs typeface="Haffer Light"/>
              </a:rPr>
              <a:t> (e.g. type </a:t>
            </a:r>
            <a:r>
              <a:rPr lang="de-DE" err="1">
                <a:latin typeface="Haffer Light"/>
                <a:cs typeface="Haffer Light"/>
              </a:rPr>
              <a:t>of</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energy</a:t>
            </a:r>
            <a:r>
              <a:rPr lang="de-DE">
                <a:latin typeface="Haffer Light"/>
                <a:cs typeface="Haffer Light"/>
              </a:rPr>
              <a:t> source). The </a:t>
            </a:r>
            <a:r>
              <a:rPr lang="de-DE" err="1">
                <a:latin typeface="Haffer Light"/>
                <a:cs typeface="Haffer Light"/>
              </a:rPr>
              <a:t>impact</a:t>
            </a:r>
            <a:r>
              <a:rPr lang="de-DE">
                <a:latin typeface="Haffer Light"/>
                <a:cs typeface="Haffer Light"/>
              </a:rPr>
              <a:t> </a:t>
            </a:r>
            <a:r>
              <a:rPr lang="de-DE" err="1">
                <a:latin typeface="Haffer Light"/>
                <a:cs typeface="Haffer Light"/>
              </a:rPr>
              <a:t>of</a:t>
            </a:r>
            <a:r>
              <a:rPr lang="de-DE">
                <a:latin typeface="Haffer Light"/>
                <a:cs typeface="Haffer Light"/>
              </a:rPr>
              <a:t> PPAs on </a:t>
            </a:r>
            <a:r>
              <a:rPr lang="de-DE" err="1">
                <a:latin typeface="Haffer Light"/>
                <a:cs typeface="Haffer Light"/>
              </a:rPr>
              <a:t>the</a:t>
            </a:r>
            <a:r>
              <a:rPr lang="de-DE">
                <a:latin typeface="Haffer Light"/>
                <a:cs typeface="Haffer Light"/>
              </a:rPr>
              <a:t> </a:t>
            </a:r>
            <a:r>
              <a:rPr lang="de-DE" err="1">
                <a:latin typeface="Haffer Light"/>
                <a:cs typeface="Haffer Light"/>
              </a:rPr>
              <a:t>reduction</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greenhouse</a:t>
            </a:r>
            <a:r>
              <a:rPr lang="de-DE">
                <a:latin typeface="Haffer Light"/>
                <a:cs typeface="Haffer Light"/>
              </a:rPr>
              <a:t> gas </a:t>
            </a:r>
            <a:r>
              <a:rPr lang="de-DE" err="1">
                <a:latin typeface="Haffer Light"/>
                <a:cs typeface="Haffer Light"/>
              </a:rPr>
              <a:t>emissions</a:t>
            </a:r>
            <a:r>
              <a:rPr lang="de-DE">
                <a:latin typeface="Haffer Light"/>
                <a:cs typeface="Haffer Light"/>
              </a:rPr>
              <a:t> </a:t>
            </a:r>
            <a:r>
              <a:rPr lang="de-DE" err="1">
                <a:latin typeface="Haffer Light"/>
                <a:cs typeface="Haffer Light"/>
              </a:rPr>
              <a:t>should</a:t>
            </a:r>
            <a:r>
              <a:rPr lang="de-DE">
                <a:latin typeface="Haffer Light"/>
                <a:cs typeface="Haffer Light"/>
              </a:rPr>
              <a:t> also </a:t>
            </a:r>
            <a:r>
              <a:rPr lang="de-DE" err="1">
                <a:latin typeface="Haffer Light"/>
                <a:cs typeface="Haffer Light"/>
              </a:rPr>
              <a:t>be</a:t>
            </a:r>
            <a:r>
              <a:rPr lang="de-DE">
                <a:latin typeface="Haffer Light"/>
                <a:cs typeface="Haffer Light"/>
              </a:rPr>
              <a:t> </a:t>
            </a:r>
            <a:r>
              <a:rPr lang="de-DE" err="1">
                <a:latin typeface="Haffer Light"/>
                <a:cs typeface="Haffer Light"/>
              </a:rPr>
              <a:t>clearly</a:t>
            </a:r>
            <a:r>
              <a:rPr lang="de-DE">
                <a:latin typeface="Haffer Light"/>
                <a:cs typeface="Haffer Light"/>
              </a:rPr>
              <a:t> </a:t>
            </a:r>
            <a:r>
              <a:rPr lang="de-DE" err="1">
                <a:latin typeface="Haffer Light"/>
                <a:cs typeface="Haffer Light"/>
              </a:rPr>
              <a:t>presented</a:t>
            </a:r>
            <a:r>
              <a:rPr lang="de-DE">
                <a:latin typeface="Haffer Light"/>
                <a:cs typeface="Haffer Light"/>
              </a:rPr>
              <a:t>.</a:t>
            </a:r>
            <a:endParaRPr lang="de-DE" err="1"/>
          </a:p>
          <a:p>
            <a:r>
              <a:rPr lang="de-DE" b="1">
                <a:latin typeface="Haffer Light"/>
                <a:cs typeface="Haffer Light"/>
              </a:rPr>
              <a:t>Risk and </a:t>
            </a:r>
            <a:r>
              <a:rPr lang="de-DE" b="1" err="1">
                <a:latin typeface="Haffer Light"/>
                <a:cs typeface="Haffer Light"/>
              </a:rPr>
              <a:t>opportunity</a:t>
            </a:r>
            <a:r>
              <a:rPr lang="de-DE" b="1">
                <a:latin typeface="Haffer Light"/>
                <a:cs typeface="Haffer Light"/>
              </a:rPr>
              <a:t> </a:t>
            </a:r>
            <a:r>
              <a:rPr lang="de-DE" b="1" err="1">
                <a:latin typeface="Haffer Light"/>
                <a:cs typeface="Haffer Light"/>
              </a:rPr>
              <a:t>assessment</a:t>
            </a:r>
            <a:r>
              <a:rPr lang="de-DE" b="1">
                <a:latin typeface="Haffer Light"/>
                <a:cs typeface="Haffer Light"/>
              </a:rPr>
              <a:t>:</a:t>
            </a:r>
            <a:r>
              <a:rPr lang="de-DE">
                <a:latin typeface="Haffer Light"/>
                <a:cs typeface="Haffer Light"/>
              </a:rPr>
              <a:t> </a:t>
            </a:r>
            <a:r>
              <a:rPr lang="de-DE" err="1">
                <a:latin typeface="Haffer Light"/>
                <a:cs typeface="Haffer Light"/>
              </a:rPr>
              <a:t>companies</a:t>
            </a:r>
            <a:r>
              <a:rPr lang="de-DE">
                <a:latin typeface="Haffer Light"/>
                <a:cs typeface="Haffer Light"/>
              </a:rPr>
              <a:t> </a:t>
            </a:r>
            <a:r>
              <a:rPr lang="de-DE" err="1">
                <a:latin typeface="Haffer Light"/>
                <a:cs typeface="Haffer Light"/>
              </a:rPr>
              <a:t>should</a:t>
            </a:r>
            <a:r>
              <a:rPr lang="de-DE">
                <a:latin typeface="Haffer Light"/>
                <a:cs typeface="Haffer Light"/>
              </a:rPr>
              <a:t> </a:t>
            </a:r>
            <a:r>
              <a:rPr lang="de-DE" err="1">
                <a:latin typeface="Haffer Light"/>
                <a:cs typeface="Haffer Light"/>
              </a:rPr>
              <a:t>assess</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risks</a:t>
            </a:r>
            <a:r>
              <a:rPr lang="de-DE">
                <a:latin typeface="Haffer Light"/>
                <a:cs typeface="Haffer Light"/>
              </a:rPr>
              <a:t> and </a:t>
            </a:r>
            <a:r>
              <a:rPr lang="de-DE" err="1">
                <a:latin typeface="Haffer Light"/>
                <a:cs typeface="Haffer Light"/>
              </a:rPr>
              <a:t>opportunities</a:t>
            </a:r>
            <a:r>
              <a:rPr lang="de-DE">
                <a:latin typeface="Haffer Light"/>
                <a:cs typeface="Haffer Light"/>
              </a:rPr>
              <a:t> </a:t>
            </a:r>
            <a:r>
              <a:rPr lang="de-DE" err="1">
                <a:latin typeface="Haffer Light"/>
                <a:cs typeface="Haffer Light"/>
              </a:rPr>
              <a:t>associated</a:t>
            </a:r>
            <a:r>
              <a:rPr lang="de-DE">
                <a:latin typeface="Haffer Light"/>
                <a:cs typeface="Haffer Light"/>
              </a:rPr>
              <a:t> </a:t>
            </a:r>
            <a:r>
              <a:rPr lang="de-DE" err="1">
                <a:latin typeface="Haffer Light"/>
                <a:cs typeface="Haffer Light"/>
              </a:rPr>
              <a:t>with</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use</a:t>
            </a:r>
            <a:r>
              <a:rPr lang="de-DE">
                <a:latin typeface="Haffer Light"/>
                <a:cs typeface="Haffer Light"/>
              </a:rPr>
              <a:t> </a:t>
            </a:r>
            <a:r>
              <a:rPr lang="de-DE" err="1">
                <a:latin typeface="Haffer Light"/>
                <a:cs typeface="Haffer Light"/>
              </a:rPr>
              <a:t>of</a:t>
            </a:r>
            <a:r>
              <a:rPr lang="de-DE">
                <a:latin typeface="Haffer Light"/>
                <a:cs typeface="Haffer Light"/>
              </a:rPr>
              <a:t> PPAs </a:t>
            </a:r>
            <a:r>
              <a:rPr lang="de-DE" err="1">
                <a:latin typeface="Haffer Light"/>
                <a:cs typeface="Haffer Light"/>
              </a:rPr>
              <a:t>for</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energy</a:t>
            </a:r>
            <a:r>
              <a:rPr lang="de-DE">
                <a:latin typeface="Haffer Light"/>
                <a:cs typeface="Haffer Light"/>
              </a:rPr>
              <a:t> and </a:t>
            </a:r>
            <a:r>
              <a:rPr lang="de-DE" err="1">
                <a:latin typeface="Haffer Light"/>
                <a:cs typeface="Haffer Light"/>
              </a:rPr>
              <a:t>present</a:t>
            </a:r>
            <a:r>
              <a:rPr lang="de-DE">
                <a:latin typeface="Haffer Light"/>
                <a:cs typeface="Haffer Light"/>
              </a:rPr>
              <a:t> </a:t>
            </a:r>
            <a:r>
              <a:rPr lang="de-DE" err="1">
                <a:latin typeface="Haffer Light"/>
                <a:cs typeface="Haffer Light"/>
              </a:rPr>
              <a:t>them</a:t>
            </a:r>
            <a:r>
              <a:rPr lang="de-DE">
                <a:latin typeface="Haffer Light"/>
                <a:cs typeface="Haffer Light"/>
              </a:rPr>
              <a:t> in </a:t>
            </a:r>
            <a:r>
              <a:rPr lang="de-DE" err="1">
                <a:latin typeface="Haffer Light"/>
                <a:cs typeface="Haffer Light"/>
              </a:rPr>
              <a:t>their</a:t>
            </a:r>
            <a:r>
              <a:rPr lang="de-DE">
                <a:latin typeface="Haffer Light"/>
                <a:cs typeface="Haffer Light"/>
              </a:rPr>
              <a:t> </a:t>
            </a:r>
            <a:r>
              <a:rPr lang="de-DE" err="1">
                <a:latin typeface="Haffer Light"/>
                <a:cs typeface="Haffer Light"/>
              </a:rPr>
              <a:t>reports</a:t>
            </a:r>
            <a:r>
              <a:rPr lang="de-DE">
                <a:latin typeface="Haffer Light"/>
                <a:cs typeface="Haffer Light"/>
              </a:rPr>
              <a:t>. </a:t>
            </a:r>
            <a:endParaRPr lang="de-DE"/>
          </a:p>
          <a:p>
            <a:r>
              <a:rPr lang="de-DE" b="1" err="1">
                <a:latin typeface="Haffer Light"/>
                <a:cs typeface="Haffer Light"/>
              </a:rPr>
              <a:t>Traceability</a:t>
            </a:r>
            <a:r>
              <a:rPr lang="de-DE" b="1">
                <a:latin typeface="Haffer Light"/>
                <a:cs typeface="Haffer Light"/>
              </a:rPr>
              <a:t> and </a:t>
            </a:r>
            <a:r>
              <a:rPr lang="de-DE" b="1" err="1">
                <a:latin typeface="Haffer Light"/>
                <a:cs typeface="Haffer Light"/>
              </a:rPr>
              <a:t>certification</a:t>
            </a:r>
            <a:r>
              <a:rPr lang="de-DE" b="1">
                <a:latin typeface="Haffer Light"/>
                <a:cs typeface="Haffer Light"/>
              </a:rPr>
              <a:t>:</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energy</a:t>
            </a:r>
            <a:r>
              <a:rPr lang="de-DE">
                <a:latin typeface="Haffer Light"/>
                <a:cs typeface="Haffer Light"/>
              </a:rPr>
              <a:t> </a:t>
            </a:r>
            <a:r>
              <a:rPr lang="de-DE" err="1">
                <a:latin typeface="Haffer Light"/>
                <a:cs typeface="Haffer Light"/>
              </a:rPr>
              <a:t>purchased</a:t>
            </a:r>
            <a:r>
              <a:rPr lang="de-DE">
                <a:latin typeface="Haffer Light"/>
                <a:cs typeface="Haffer Light"/>
              </a:rPr>
              <a:t> </a:t>
            </a:r>
            <a:r>
              <a:rPr lang="de-DE" err="1">
                <a:latin typeface="Haffer Light"/>
                <a:cs typeface="Haffer Light"/>
              </a:rPr>
              <a:t>through</a:t>
            </a:r>
            <a:r>
              <a:rPr lang="de-DE">
                <a:latin typeface="Haffer Light"/>
                <a:cs typeface="Haffer Light"/>
              </a:rPr>
              <a:t> PPAs </a:t>
            </a:r>
            <a:r>
              <a:rPr lang="de-DE" err="1">
                <a:latin typeface="Haffer Light"/>
                <a:cs typeface="Haffer Light"/>
              </a:rPr>
              <a:t>must</a:t>
            </a:r>
            <a:r>
              <a:rPr lang="de-DE">
                <a:latin typeface="Haffer Light"/>
                <a:cs typeface="Haffer Light"/>
              </a:rPr>
              <a:t> </a:t>
            </a:r>
            <a:r>
              <a:rPr lang="de-DE" err="1">
                <a:latin typeface="Haffer Light"/>
                <a:cs typeface="Haffer Light"/>
              </a:rPr>
              <a:t>be</a:t>
            </a:r>
            <a:r>
              <a:rPr lang="de-DE">
                <a:latin typeface="Haffer Light"/>
                <a:cs typeface="Haffer Light"/>
              </a:rPr>
              <a:t> </a:t>
            </a:r>
            <a:r>
              <a:rPr lang="de-DE" err="1">
                <a:latin typeface="Haffer Light"/>
                <a:cs typeface="Haffer Light"/>
              </a:rPr>
              <a:t>clearly</a:t>
            </a:r>
            <a:r>
              <a:rPr lang="de-DE">
                <a:latin typeface="Haffer Light"/>
                <a:cs typeface="Haffer Light"/>
              </a:rPr>
              <a:t> </a:t>
            </a:r>
            <a:r>
              <a:rPr lang="de-DE" err="1">
                <a:latin typeface="Haffer Light"/>
                <a:cs typeface="Haffer Light"/>
              </a:rPr>
              <a:t>identifiable</a:t>
            </a:r>
            <a:r>
              <a:rPr lang="de-DE">
                <a:latin typeface="Haffer Light"/>
                <a:cs typeface="Haffer Light"/>
              </a:rPr>
              <a:t> and </a:t>
            </a:r>
            <a:r>
              <a:rPr lang="de-DE" err="1">
                <a:latin typeface="Haffer Light"/>
                <a:cs typeface="Haffer Light"/>
              </a:rPr>
              <a:t>traceable</a:t>
            </a:r>
            <a:r>
              <a:rPr lang="de-DE">
                <a:latin typeface="Haffer Light"/>
                <a:cs typeface="Haffer Light"/>
              </a:rPr>
              <a:t> </a:t>
            </a:r>
            <a:r>
              <a:rPr lang="de-DE" err="1">
                <a:latin typeface="Haffer Light"/>
                <a:cs typeface="Haffer Light"/>
              </a:rPr>
              <a:t>as</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energy</a:t>
            </a:r>
            <a:r>
              <a:rPr lang="de-DE">
                <a:latin typeface="Haffer Light"/>
                <a:cs typeface="Haffer Light"/>
              </a:rPr>
              <a:t>. Companies </a:t>
            </a:r>
            <a:r>
              <a:rPr lang="de-DE" err="1">
                <a:latin typeface="Haffer Light"/>
                <a:cs typeface="Haffer Light"/>
              </a:rPr>
              <a:t>must</a:t>
            </a:r>
            <a:r>
              <a:rPr lang="de-DE">
                <a:latin typeface="Haffer Light"/>
                <a:cs typeface="Haffer Light"/>
              </a:rPr>
              <a:t> </a:t>
            </a:r>
            <a:r>
              <a:rPr lang="de-DE" err="1">
                <a:latin typeface="Haffer Light"/>
                <a:cs typeface="Haffer Light"/>
              </a:rPr>
              <a:t>provide</a:t>
            </a:r>
            <a:r>
              <a:rPr lang="de-DE">
                <a:latin typeface="Haffer Light"/>
                <a:cs typeface="Haffer Light"/>
              </a:rPr>
              <a:t> GOs </a:t>
            </a:r>
            <a:r>
              <a:rPr lang="de-DE" err="1">
                <a:latin typeface="Haffer Light"/>
                <a:cs typeface="Haffer Light"/>
              </a:rPr>
              <a:t>or</a:t>
            </a:r>
            <a:r>
              <a:rPr lang="de-DE">
                <a:latin typeface="Haffer Light"/>
                <a:cs typeface="Haffer Light"/>
              </a:rPr>
              <a:t> </a:t>
            </a:r>
            <a:r>
              <a:rPr lang="de-DE" err="1">
                <a:latin typeface="Haffer Light"/>
                <a:cs typeface="Haffer Light"/>
              </a:rPr>
              <a:t>certificates</a:t>
            </a:r>
            <a:r>
              <a:rPr lang="de-DE">
                <a:latin typeface="Haffer Light"/>
                <a:cs typeface="Haffer Light"/>
              </a:rPr>
              <a:t> </a:t>
            </a:r>
            <a:r>
              <a:rPr lang="de-DE" err="1">
                <a:latin typeface="Haffer Light"/>
                <a:cs typeface="Haffer Light"/>
              </a:rPr>
              <a:t>that</a:t>
            </a:r>
            <a:r>
              <a:rPr lang="de-DE">
                <a:latin typeface="Haffer Light"/>
                <a:cs typeface="Haffer Light"/>
              </a:rPr>
              <a:t> </a:t>
            </a:r>
            <a:r>
              <a:rPr lang="de-DE" err="1">
                <a:latin typeface="Haffer Light"/>
                <a:cs typeface="Haffer Light"/>
              </a:rPr>
              <a:t>confirm</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sustainability</a:t>
            </a:r>
            <a:r>
              <a:rPr lang="de-DE">
                <a:latin typeface="Haffer Light"/>
                <a:cs typeface="Haffer Light"/>
              </a:rPr>
              <a:t> and </a:t>
            </a:r>
            <a:r>
              <a:rPr lang="de-DE" err="1">
                <a:latin typeface="Haffer Light"/>
                <a:cs typeface="Haffer Light"/>
              </a:rPr>
              <a:t>renewability</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energy</a:t>
            </a:r>
            <a:r>
              <a:rPr lang="de-DE">
                <a:latin typeface="Haffer Light"/>
                <a:cs typeface="Haffer Light"/>
              </a:rPr>
              <a:t>.</a:t>
            </a:r>
            <a:endParaRPr lang="de-DE"/>
          </a:p>
        </p:txBody>
      </p:sp>
    </p:spTree>
    <p:extLst>
      <p:ext uri="{BB962C8B-B14F-4D97-AF65-F5344CB8AC3E}">
        <p14:creationId xmlns:p14="http://schemas.microsoft.com/office/powerpoint/2010/main" val="32850400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6683673-8655-0A23-C0A9-FEFD91E5ECA4}"/>
              </a:ext>
            </a:extLst>
          </p:cNvPr>
          <p:cNvSpPr>
            <a:spLocks noGrp="1"/>
          </p:cNvSpPr>
          <p:nvPr>
            <p:ph type="body" sz="quarter" idx="11"/>
          </p:nvPr>
        </p:nvSpPr>
        <p:spPr/>
        <p:txBody>
          <a:bodyPr lIns="91440" tIns="45720" rIns="91440" bIns="45720" anchor="b"/>
          <a:lstStyle/>
          <a:p>
            <a:r>
              <a:rPr lang="de-DE" err="1">
                <a:latin typeface="Haffer"/>
                <a:cs typeface="Haffer"/>
              </a:rPr>
              <a:t>Importance</a:t>
            </a:r>
            <a:r>
              <a:rPr lang="de-DE">
                <a:latin typeface="Haffer"/>
                <a:cs typeface="Haffer"/>
              </a:rPr>
              <a:t> </a:t>
            </a:r>
            <a:r>
              <a:rPr lang="de-DE" err="1">
                <a:latin typeface="Haffer"/>
                <a:cs typeface="Haffer"/>
              </a:rPr>
              <a:t>of</a:t>
            </a:r>
            <a:r>
              <a:rPr lang="de-DE">
                <a:latin typeface="Haffer"/>
                <a:cs typeface="Haffer"/>
              </a:rPr>
              <a:t> </a:t>
            </a:r>
            <a:r>
              <a:rPr lang="de-DE" err="1">
                <a:latin typeface="Haffer"/>
                <a:cs typeface="Haffer"/>
              </a:rPr>
              <a:t>the</a:t>
            </a:r>
            <a:r>
              <a:rPr lang="de-DE">
                <a:latin typeface="Haffer"/>
                <a:cs typeface="Haffer"/>
              </a:rPr>
              <a:t> CSR </a:t>
            </a:r>
            <a:r>
              <a:rPr lang="de-DE" err="1">
                <a:latin typeface="Haffer"/>
                <a:cs typeface="Haffer"/>
              </a:rPr>
              <a:t>regulation</a:t>
            </a:r>
            <a:r>
              <a:rPr lang="de-DE">
                <a:latin typeface="Haffer"/>
                <a:cs typeface="Haffer"/>
              </a:rPr>
              <a:t> </a:t>
            </a:r>
            <a:r>
              <a:rPr lang="de-DE" err="1">
                <a:latin typeface="Haffer"/>
                <a:cs typeface="Haffer"/>
              </a:rPr>
              <a:t>for</a:t>
            </a:r>
            <a:r>
              <a:rPr lang="de-DE">
                <a:latin typeface="Haffer"/>
                <a:cs typeface="Haffer"/>
              </a:rPr>
              <a:t> </a:t>
            </a:r>
            <a:r>
              <a:rPr lang="de-DE" err="1">
                <a:latin typeface="Haffer"/>
                <a:cs typeface="Haffer"/>
              </a:rPr>
              <a:t>the</a:t>
            </a:r>
            <a:r>
              <a:rPr lang="de-DE">
                <a:latin typeface="Haffer"/>
                <a:cs typeface="Haffer"/>
              </a:rPr>
              <a:t> </a:t>
            </a:r>
            <a:r>
              <a:rPr lang="de-DE" err="1">
                <a:latin typeface="Haffer"/>
                <a:cs typeface="Haffer"/>
              </a:rPr>
              <a:t>purchase</a:t>
            </a:r>
            <a:r>
              <a:rPr lang="de-DE">
                <a:latin typeface="Haffer"/>
                <a:cs typeface="Haffer"/>
              </a:rPr>
              <a:t> </a:t>
            </a:r>
            <a:r>
              <a:rPr lang="de-DE" err="1">
                <a:latin typeface="Haffer"/>
                <a:cs typeface="Haffer"/>
              </a:rPr>
              <a:t>of</a:t>
            </a:r>
            <a:r>
              <a:rPr lang="de-DE">
                <a:latin typeface="Haffer"/>
                <a:cs typeface="Haffer"/>
              </a:rPr>
              <a:t> </a:t>
            </a:r>
            <a:r>
              <a:rPr lang="de-DE" err="1">
                <a:latin typeface="Haffer"/>
                <a:cs typeface="Haffer"/>
              </a:rPr>
              <a:t>electricity</a:t>
            </a:r>
            <a:r>
              <a:rPr lang="de-DE">
                <a:latin typeface="Haffer"/>
                <a:cs typeface="Haffer"/>
              </a:rPr>
              <a:t> </a:t>
            </a:r>
            <a:r>
              <a:rPr lang="de-DE" err="1">
                <a:latin typeface="Haffer"/>
                <a:cs typeface="Haffer"/>
              </a:rPr>
              <a:t>by</a:t>
            </a:r>
            <a:r>
              <a:rPr lang="de-DE">
                <a:latin typeface="Haffer"/>
                <a:cs typeface="Haffer"/>
              </a:rPr>
              <a:t> </a:t>
            </a:r>
            <a:r>
              <a:rPr lang="de-DE" err="1">
                <a:latin typeface="Haffer"/>
                <a:cs typeface="Haffer"/>
              </a:rPr>
              <a:t>companies</a:t>
            </a:r>
            <a:r>
              <a:rPr lang="de-DE">
                <a:latin typeface="Haffer"/>
                <a:cs typeface="Haffer"/>
              </a:rPr>
              <a:t> </a:t>
            </a:r>
            <a:r>
              <a:rPr lang="de-DE" err="1">
                <a:latin typeface="Haffer"/>
                <a:cs typeface="Haffer"/>
              </a:rPr>
              <a:t>through</a:t>
            </a:r>
            <a:r>
              <a:rPr lang="de-DE">
                <a:latin typeface="Haffer"/>
                <a:cs typeface="Haffer"/>
              </a:rPr>
              <a:t> PPAs</a:t>
            </a:r>
          </a:p>
        </p:txBody>
      </p:sp>
      <p:sp>
        <p:nvSpPr>
          <p:cNvPr id="3" name="Textplatzhalter 2">
            <a:extLst>
              <a:ext uri="{FF2B5EF4-FFF2-40B4-BE49-F238E27FC236}">
                <a16:creationId xmlns:a16="http://schemas.microsoft.com/office/drawing/2014/main" id="{A50C322C-7ADF-F49D-4253-2D2B5F5878A1}"/>
              </a:ext>
            </a:extLst>
          </p:cNvPr>
          <p:cNvSpPr>
            <a:spLocks noGrp="1"/>
          </p:cNvSpPr>
          <p:nvPr>
            <p:ph type="body" sz="quarter" idx="10"/>
          </p:nvPr>
        </p:nvSpPr>
        <p:spPr>
          <a:xfrm>
            <a:off x="959979" y="403514"/>
            <a:ext cx="10611984" cy="1320745"/>
          </a:xfrm>
        </p:spPr>
        <p:txBody>
          <a:bodyPr lIns="91440" tIns="45720" rIns="91440" bIns="45720" anchor="b"/>
          <a:lstStyle/>
          <a:p>
            <a:r>
              <a:rPr lang="de-DE">
                <a:latin typeface="Haffer"/>
                <a:cs typeface="Haffer"/>
              </a:rPr>
              <a:t>UNGC </a:t>
            </a:r>
            <a:r>
              <a:rPr lang="de-DE" err="1">
                <a:latin typeface="Haffer"/>
                <a:cs typeface="Haffer"/>
              </a:rPr>
              <a:t>standards</a:t>
            </a:r>
            <a:r>
              <a:rPr lang="de-DE">
                <a:latin typeface="Haffer"/>
                <a:cs typeface="Haffer"/>
              </a:rPr>
              <a:t> in </a:t>
            </a:r>
            <a:r>
              <a:rPr lang="de-DE" err="1">
                <a:latin typeface="Haffer"/>
                <a:cs typeface="Haffer"/>
              </a:rPr>
              <a:t>context</a:t>
            </a:r>
            <a:r>
              <a:rPr lang="de-DE">
                <a:latin typeface="Haffer"/>
                <a:cs typeface="Haffer"/>
              </a:rPr>
              <a:t> </a:t>
            </a:r>
            <a:r>
              <a:rPr lang="de-DE" err="1">
                <a:latin typeface="Haffer"/>
                <a:cs typeface="Haffer"/>
              </a:rPr>
              <a:t>of</a:t>
            </a:r>
            <a:r>
              <a:rPr lang="de-DE">
                <a:latin typeface="Haffer"/>
                <a:cs typeface="Haffer"/>
              </a:rPr>
              <a:t> PPAs (1/2)</a:t>
            </a:r>
            <a:endParaRPr lang="de-DE"/>
          </a:p>
        </p:txBody>
      </p:sp>
      <p:sp>
        <p:nvSpPr>
          <p:cNvPr id="5" name="Textplatzhalter 4">
            <a:extLst>
              <a:ext uri="{FF2B5EF4-FFF2-40B4-BE49-F238E27FC236}">
                <a16:creationId xmlns:a16="http://schemas.microsoft.com/office/drawing/2014/main" id="{03E60AF8-C4A6-4E64-D685-0D19B5A330A4}"/>
              </a:ext>
            </a:extLst>
          </p:cNvPr>
          <p:cNvSpPr>
            <a:spLocks noGrp="1"/>
          </p:cNvSpPr>
          <p:nvPr>
            <p:ph type="body" sz="quarter" idx="16"/>
          </p:nvPr>
        </p:nvSpPr>
        <p:spPr>
          <a:xfrm>
            <a:off x="959978" y="2072789"/>
            <a:ext cx="10604494" cy="4011613"/>
          </a:xfrm>
        </p:spPr>
        <p:txBody>
          <a:bodyPr lIns="91440" tIns="45720" rIns="91440" bIns="45720" anchor="t"/>
          <a:lstStyle/>
          <a:p>
            <a:r>
              <a:rPr lang="de-DE" b="1">
                <a:latin typeface="Haffer Light"/>
                <a:cs typeface="Haffer Light"/>
              </a:rPr>
              <a:t>Promotion </a:t>
            </a:r>
            <a:r>
              <a:rPr lang="de-DE" b="1" err="1">
                <a:latin typeface="Haffer Light"/>
                <a:cs typeface="Haffer Light"/>
              </a:rPr>
              <a:t>of</a:t>
            </a:r>
            <a:r>
              <a:rPr lang="de-DE" b="1">
                <a:latin typeface="Haffer Light"/>
                <a:cs typeface="Haffer Light"/>
              </a:rPr>
              <a:t> </a:t>
            </a:r>
            <a:r>
              <a:rPr lang="de-DE" b="1" err="1">
                <a:latin typeface="Haffer Light"/>
                <a:cs typeface="Haffer Light"/>
              </a:rPr>
              <a:t>renewable</a:t>
            </a:r>
            <a:r>
              <a:rPr lang="de-DE" b="1">
                <a:latin typeface="Haffer Light"/>
                <a:cs typeface="Haffer Light"/>
              </a:rPr>
              <a:t> </a:t>
            </a:r>
            <a:r>
              <a:rPr lang="de-DE" b="1" err="1">
                <a:latin typeface="Haffer Light"/>
                <a:cs typeface="Haffer Light"/>
              </a:rPr>
              <a:t>energies</a:t>
            </a:r>
            <a:r>
              <a:rPr lang="de-DE" b="1">
                <a:latin typeface="Haffer Light"/>
                <a:cs typeface="Haffer Light"/>
              </a:rPr>
              <a:t>:</a:t>
            </a:r>
            <a:r>
              <a:rPr lang="de-DE">
                <a:latin typeface="Haffer Light"/>
                <a:cs typeface="Haffer Light"/>
              </a:rPr>
              <a:t> UNGC </a:t>
            </a:r>
            <a:r>
              <a:rPr lang="de-DE" err="1">
                <a:latin typeface="Haffer Light"/>
                <a:cs typeface="Haffer Light"/>
              </a:rPr>
              <a:t>encourages</a:t>
            </a:r>
            <a:r>
              <a:rPr lang="de-DE">
                <a:latin typeface="Haffer Light"/>
                <a:cs typeface="Haffer Light"/>
              </a:rPr>
              <a:t> </a:t>
            </a:r>
            <a:r>
              <a:rPr lang="de-DE" err="1">
                <a:latin typeface="Haffer Light"/>
                <a:cs typeface="Haffer Light"/>
              </a:rPr>
              <a:t>companies</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reduce</a:t>
            </a:r>
            <a:r>
              <a:rPr lang="de-DE">
                <a:latin typeface="Haffer Light"/>
                <a:cs typeface="Haffer Light"/>
              </a:rPr>
              <a:t> environmental </a:t>
            </a:r>
            <a:r>
              <a:rPr lang="de-DE" err="1">
                <a:latin typeface="Haffer Light"/>
                <a:cs typeface="Haffer Light"/>
              </a:rPr>
              <a:t>impacts</a:t>
            </a:r>
            <a:r>
              <a:rPr lang="de-DE">
                <a:latin typeface="Haffer Light"/>
                <a:cs typeface="Haffer Light"/>
              </a:rPr>
              <a:t> and promote </a:t>
            </a:r>
            <a:r>
              <a:rPr lang="de-DE" err="1">
                <a:latin typeface="Haffer Light"/>
                <a:cs typeface="Haffer Light"/>
              </a:rPr>
              <a:t>sustainable</a:t>
            </a:r>
            <a:r>
              <a:rPr lang="de-DE">
                <a:latin typeface="Haffer Light"/>
                <a:cs typeface="Haffer Light"/>
              </a:rPr>
              <a:t> environmental </a:t>
            </a:r>
            <a:r>
              <a:rPr lang="de-DE" err="1">
                <a:latin typeface="Haffer Light"/>
                <a:cs typeface="Haffer Light"/>
              </a:rPr>
              <a:t>practices</a:t>
            </a:r>
            <a:endParaRPr lang="de-DE"/>
          </a:p>
          <a:p>
            <a:r>
              <a:rPr lang="de-DE" b="1">
                <a:latin typeface="Haffer Light"/>
                <a:cs typeface="Haffer Light"/>
              </a:rPr>
              <a:t>Energy </a:t>
            </a:r>
            <a:r>
              <a:rPr lang="de-DE" b="1" err="1">
                <a:latin typeface="Haffer Light"/>
                <a:cs typeface="Haffer Light"/>
              </a:rPr>
              <a:t>efficiency</a:t>
            </a:r>
            <a:r>
              <a:rPr lang="de-DE" b="1">
                <a:latin typeface="Haffer Light"/>
                <a:cs typeface="Haffer Light"/>
              </a:rPr>
              <a:t> and environmental </a:t>
            </a:r>
            <a:r>
              <a:rPr lang="de-DE" b="1" err="1">
                <a:latin typeface="Haffer Light"/>
                <a:cs typeface="Haffer Light"/>
              </a:rPr>
              <a:t>sustainability</a:t>
            </a:r>
            <a:r>
              <a:rPr lang="de-DE" b="1">
                <a:latin typeface="Haffer Light"/>
                <a:cs typeface="Haffer Light"/>
              </a:rPr>
              <a:t>: </a:t>
            </a:r>
            <a:r>
              <a:rPr lang="de-DE" err="1">
                <a:latin typeface="Haffer Light"/>
                <a:cs typeface="Haffer Light"/>
              </a:rPr>
              <a:t>by</a:t>
            </a:r>
            <a:r>
              <a:rPr lang="de-DE">
                <a:latin typeface="Haffer Light"/>
                <a:cs typeface="Haffer Light"/>
              </a:rPr>
              <a:t> </a:t>
            </a:r>
            <a:r>
              <a:rPr lang="de-DE" err="1">
                <a:latin typeface="Haffer Light"/>
                <a:cs typeface="Haffer Light"/>
              </a:rPr>
              <a:t>using</a:t>
            </a:r>
            <a:r>
              <a:rPr lang="de-DE">
                <a:latin typeface="Haffer Light"/>
                <a:cs typeface="Haffer Light"/>
              </a:rPr>
              <a:t> PPAs </a:t>
            </a:r>
            <a:r>
              <a:rPr lang="de-DE" err="1">
                <a:latin typeface="Haffer Light"/>
                <a:cs typeface="Haffer Light"/>
              </a:rPr>
              <a:t>companies</a:t>
            </a:r>
            <a:r>
              <a:rPr lang="de-DE">
                <a:latin typeface="Haffer Light"/>
                <a:cs typeface="Haffer Light"/>
              </a:rPr>
              <a:t> </a:t>
            </a:r>
            <a:r>
              <a:rPr lang="de-DE" err="1">
                <a:latin typeface="Haffer Light"/>
                <a:cs typeface="Haffer Light"/>
              </a:rPr>
              <a:t>can</a:t>
            </a:r>
            <a:r>
              <a:rPr lang="de-DE">
                <a:latin typeface="Haffer Light"/>
                <a:cs typeface="Haffer Light"/>
              </a:rPr>
              <a:t> </a:t>
            </a:r>
            <a:r>
              <a:rPr lang="de-DE" err="1">
                <a:latin typeface="Haffer Light"/>
                <a:cs typeface="Haffer Light"/>
              </a:rPr>
              <a:t>reduce</a:t>
            </a:r>
            <a:r>
              <a:rPr lang="de-DE">
                <a:latin typeface="Haffer Light"/>
                <a:cs typeface="Haffer Light"/>
              </a:rPr>
              <a:t> </a:t>
            </a:r>
            <a:r>
              <a:rPr lang="de-DE" err="1">
                <a:latin typeface="Haffer Light"/>
                <a:cs typeface="Haffer Light"/>
              </a:rPr>
              <a:t>the</a:t>
            </a:r>
            <a:r>
              <a:rPr lang="de-DE">
                <a:latin typeface="Haffer Light"/>
                <a:cs typeface="Haffer Light"/>
              </a:rPr>
              <a:t> environmental </a:t>
            </a:r>
            <a:r>
              <a:rPr lang="de-DE" err="1">
                <a:latin typeface="Haffer Light"/>
                <a:cs typeface="Haffer Light"/>
              </a:rPr>
              <a:t>footprint</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their</a:t>
            </a:r>
            <a:r>
              <a:rPr lang="de-DE">
                <a:latin typeface="Haffer Light"/>
                <a:cs typeface="Haffer Light"/>
              </a:rPr>
              <a:t> </a:t>
            </a:r>
            <a:r>
              <a:rPr lang="de-DE" err="1">
                <a:latin typeface="Haffer Light"/>
                <a:cs typeface="Haffer Light"/>
              </a:rPr>
              <a:t>electricity</a:t>
            </a:r>
            <a:r>
              <a:rPr lang="de-DE">
                <a:latin typeface="Haffer Light"/>
                <a:cs typeface="Haffer Light"/>
              </a:rPr>
              <a:t> </a:t>
            </a:r>
            <a:r>
              <a:rPr lang="de-DE" err="1">
                <a:latin typeface="Haffer Light"/>
                <a:cs typeface="Haffer Light"/>
              </a:rPr>
              <a:t>consumption</a:t>
            </a:r>
            <a:r>
              <a:rPr lang="de-DE">
                <a:latin typeface="Haffer Light"/>
                <a:cs typeface="Haffer Light"/>
              </a:rPr>
              <a:t>. This </a:t>
            </a:r>
            <a:r>
              <a:rPr lang="de-DE" err="1">
                <a:latin typeface="Haffer Light"/>
                <a:cs typeface="Haffer Light"/>
              </a:rPr>
              <a:t>is</a:t>
            </a:r>
            <a:r>
              <a:rPr lang="de-DE">
                <a:latin typeface="Haffer Light"/>
                <a:cs typeface="Haffer Light"/>
              </a:rPr>
              <a:t> in </a:t>
            </a:r>
            <a:r>
              <a:rPr lang="de-DE" err="1">
                <a:latin typeface="Haffer Light"/>
                <a:cs typeface="Haffer Light"/>
              </a:rPr>
              <a:t>line</a:t>
            </a:r>
            <a:r>
              <a:rPr lang="de-DE">
                <a:latin typeface="Haffer Light"/>
                <a:cs typeface="Haffer Light"/>
              </a:rPr>
              <a:t> </a:t>
            </a:r>
            <a:r>
              <a:rPr lang="de-DE" err="1">
                <a:latin typeface="Haffer Light"/>
                <a:cs typeface="Haffer Light"/>
              </a:rPr>
              <a:t>with</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principle</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minimising</a:t>
            </a:r>
            <a:r>
              <a:rPr lang="de-DE">
                <a:latin typeface="Haffer Light"/>
                <a:cs typeface="Haffer Light"/>
              </a:rPr>
              <a:t> environmental </a:t>
            </a:r>
            <a:r>
              <a:rPr lang="de-DE" err="1">
                <a:latin typeface="Haffer Light"/>
                <a:cs typeface="Haffer Light"/>
              </a:rPr>
              <a:t>impact</a:t>
            </a:r>
            <a:r>
              <a:rPr lang="de-DE">
                <a:latin typeface="Haffer Light"/>
                <a:cs typeface="Haffer Light"/>
              </a:rPr>
              <a:t>.</a:t>
            </a:r>
            <a:endParaRPr lang="de-DE"/>
          </a:p>
          <a:p>
            <a:r>
              <a:rPr lang="de-DE" b="1" err="1">
                <a:latin typeface="Haffer Light"/>
                <a:cs typeface="Haffer Light"/>
              </a:rPr>
              <a:t>Sustainable</a:t>
            </a:r>
            <a:r>
              <a:rPr lang="de-DE" b="1">
                <a:latin typeface="Haffer Light"/>
                <a:cs typeface="Haffer Light"/>
              </a:rPr>
              <a:t> </a:t>
            </a:r>
            <a:r>
              <a:rPr lang="de-DE" b="1" err="1">
                <a:latin typeface="Haffer Light"/>
                <a:cs typeface="Haffer Light"/>
              </a:rPr>
              <a:t>energy</a:t>
            </a:r>
            <a:r>
              <a:rPr lang="de-DE" b="1">
                <a:latin typeface="Haffer Light"/>
                <a:cs typeface="Haffer Light"/>
              </a:rPr>
              <a:t> </a:t>
            </a:r>
            <a:r>
              <a:rPr lang="de-DE" b="1" err="1">
                <a:latin typeface="Haffer Light"/>
                <a:cs typeface="Haffer Light"/>
              </a:rPr>
              <a:t>practices</a:t>
            </a:r>
            <a:r>
              <a:rPr lang="de-DE" b="1">
                <a:latin typeface="Haffer Light"/>
                <a:cs typeface="Haffer Light"/>
              </a:rPr>
              <a:t>:</a:t>
            </a:r>
            <a:r>
              <a:rPr lang="de-DE">
                <a:latin typeface="Haffer Light"/>
                <a:cs typeface="Haffer Light"/>
              </a:rPr>
              <a:t> </a:t>
            </a:r>
            <a:r>
              <a:rPr lang="de-DE" err="1">
                <a:latin typeface="Haffer Light"/>
                <a:cs typeface="Haffer Light"/>
              </a:rPr>
              <a:t>the</a:t>
            </a:r>
            <a:r>
              <a:rPr lang="de-DE">
                <a:latin typeface="Haffer Light"/>
                <a:cs typeface="Haffer Light"/>
              </a:rPr>
              <a:t> UNGC </a:t>
            </a:r>
            <a:r>
              <a:rPr lang="de-DE" err="1">
                <a:latin typeface="Haffer Light"/>
                <a:cs typeface="Haffer Light"/>
              </a:rPr>
              <a:t>emphasises</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need</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pursue</a:t>
            </a:r>
            <a:r>
              <a:rPr lang="de-DE">
                <a:latin typeface="Haffer Light"/>
                <a:cs typeface="Haffer Light"/>
              </a:rPr>
              <a:t> </a:t>
            </a:r>
            <a:r>
              <a:rPr lang="de-DE" err="1">
                <a:latin typeface="Haffer Light"/>
                <a:cs typeface="Haffer Light"/>
              </a:rPr>
              <a:t>environmentally</a:t>
            </a:r>
            <a:r>
              <a:rPr lang="de-DE">
                <a:latin typeface="Haffer Light"/>
                <a:cs typeface="Haffer Light"/>
              </a:rPr>
              <a:t> </a:t>
            </a:r>
            <a:r>
              <a:rPr lang="de-DE" err="1">
                <a:latin typeface="Haffer Light"/>
                <a:cs typeface="Haffer Light"/>
              </a:rPr>
              <a:t>friendly</a:t>
            </a:r>
            <a:r>
              <a:rPr lang="de-DE">
                <a:latin typeface="Haffer Light"/>
                <a:cs typeface="Haffer Light"/>
              </a:rPr>
              <a:t> </a:t>
            </a:r>
            <a:r>
              <a:rPr lang="de-DE" err="1">
                <a:latin typeface="Haffer Light"/>
                <a:cs typeface="Haffer Light"/>
              </a:rPr>
              <a:t>practices</a:t>
            </a:r>
            <a:r>
              <a:rPr lang="de-DE">
                <a:latin typeface="Haffer Light"/>
                <a:cs typeface="Haffer Light"/>
              </a:rPr>
              <a:t> and </a:t>
            </a:r>
            <a:r>
              <a:rPr lang="de-DE" err="1">
                <a:latin typeface="Haffer Light"/>
                <a:cs typeface="Haffer Light"/>
              </a:rPr>
              <a:t>the</a:t>
            </a:r>
            <a:r>
              <a:rPr lang="de-DE">
                <a:latin typeface="Haffer Light"/>
                <a:cs typeface="Haffer Light"/>
              </a:rPr>
              <a:t> </a:t>
            </a:r>
            <a:r>
              <a:rPr lang="de-DE" err="1">
                <a:latin typeface="Haffer Light"/>
                <a:cs typeface="Haffer Light"/>
              </a:rPr>
              <a:t>conclusion</a:t>
            </a:r>
            <a:r>
              <a:rPr lang="de-DE">
                <a:latin typeface="Haffer Light"/>
                <a:cs typeface="Haffer Light"/>
              </a:rPr>
              <a:t> </a:t>
            </a:r>
            <a:r>
              <a:rPr lang="de-DE" err="1">
                <a:latin typeface="Haffer Light"/>
                <a:cs typeface="Haffer Light"/>
              </a:rPr>
              <a:t>of</a:t>
            </a:r>
            <a:r>
              <a:rPr lang="de-DE">
                <a:latin typeface="Haffer Light"/>
                <a:cs typeface="Haffer Light"/>
              </a:rPr>
              <a:t> PPAs </a:t>
            </a:r>
            <a:r>
              <a:rPr lang="de-DE" err="1">
                <a:latin typeface="Haffer Light"/>
                <a:cs typeface="Haffer Light"/>
              </a:rPr>
              <a:t>is</a:t>
            </a:r>
            <a:r>
              <a:rPr lang="de-DE">
                <a:latin typeface="Haffer Light"/>
                <a:cs typeface="Haffer Light"/>
              </a:rPr>
              <a:t> a </a:t>
            </a:r>
            <a:r>
              <a:rPr lang="de-DE" err="1">
                <a:latin typeface="Haffer Light"/>
                <a:cs typeface="Haffer Light"/>
              </a:rPr>
              <a:t>concrete</a:t>
            </a:r>
            <a:r>
              <a:rPr lang="de-DE">
                <a:latin typeface="Haffer Light"/>
                <a:cs typeface="Haffer Light"/>
              </a:rPr>
              <a:t> </a:t>
            </a:r>
            <a:r>
              <a:rPr lang="de-DE" err="1">
                <a:latin typeface="Haffer Light"/>
                <a:cs typeface="Haffer Light"/>
              </a:rPr>
              <a:t>measure</a:t>
            </a:r>
            <a:r>
              <a:rPr lang="de-DE">
                <a:latin typeface="Haffer Light"/>
                <a:cs typeface="Haffer Light"/>
              </a:rPr>
              <a:t> </a:t>
            </a:r>
            <a:r>
              <a:rPr lang="de-DE" err="1">
                <a:latin typeface="Haffer Light"/>
                <a:cs typeface="Haffer Light"/>
              </a:rPr>
              <a:t>that</a:t>
            </a:r>
            <a:r>
              <a:rPr lang="de-DE">
                <a:latin typeface="Haffer Light"/>
                <a:cs typeface="Haffer Light"/>
              </a:rPr>
              <a:t> </a:t>
            </a:r>
            <a:r>
              <a:rPr lang="de-DE" err="1">
                <a:latin typeface="Haffer Light"/>
                <a:cs typeface="Haffer Light"/>
              </a:rPr>
              <a:t>companies</a:t>
            </a:r>
            <a:r>
              <a:rPr lang="de-DE">
                <a:latin typeface="Haffer Light"/>
                <a:cs typeface="Haffer Light"/>
              </a:rPr>
              <a:t> </a:t>
            </a:r>
            <a:r>
              <a:rPr lang="de-DE" err="1">
                <a:latin typeface="Haffer Light"/>
                <a:cs typeface="Haffer Light"/>
              </a:rPr>
              <a:t>can</a:t>
            </a:r>
            <a:r>
              <a:rPr lang="de-DE">
                <a:latin typeface="Haffer Light"/>
                <a:cs typeface="Haffer Light"/>
              </a:rPr>
              <a:t> </a:t>
            </a:r>
            <a:r>
              <a:rPr lang="de-DE" err="1">
                <a:latin typeface="Haffer Light"/>
                <a:cs typeface="Haffer Light"/>
              </a:rPr>
              <a:t>take</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fulfill</a:t>
            </a:r>
            <a:r>
              <a:rPr lang="de-DE">
                <a:latin typeface="Haffer Light"/>
                <a:cs typeface="Haffer Light"/>
              </a:rPr>
              <a:t> </a:t>
            </a:r>
            <a:r>
              <a:rPr lang="de-DE" err="1">
                <a:latin typeface="Haffer Light"/>
                <a:cs typeface="Haffer Light"/>
              </a:rPr>
              <a:t>their</a:t>
            </a:r>
            <a:r>
              <a:rPr lang="de-DE">
                <a:latin typeface="Haffer Light"/>
                <a:cs typeface="Haffer Light"/>
              </a:rPr>
              <a:t> environmental </a:t>
            </a:r>
            <a:r>
              <a:rPr lang="de-DE" err="1">
                <a:latin typeface="Haffer Light"/>
                <a:cs typeface="Haffer Light"/>
              </a:rPr>
              <a:t>responsibilities</a:t>
            </a:r>
            <a:r>
              <a:rPr lang="de-DE">
                <a:latin typeface="Haffer Light"/>
                <a:cs typeface="Haffer Light"/>
              </a:rPr>
              <a:t>.</a:t>
            </a:r>
          </a:p>
          <a:p>
            <a:r>
              <a:rPr lang="de-DE" b="1">
                <a:latin typeface="Haffer Light"/>
                <a:cs typeface="Haffer Light"/>
              </a:rPr>
              <a:t>Transparency and </a:t>
            </a:r>
            <a:r>
              <a:rPr lang="de-DE" b="1" err="1">
                <a:latin typeface="Haffer Light"/>
                <a:cs typeface="Haffer Light"/>
              </a:rPr>
              <a:t>responsibility</a:t>
            </a:r>
            <a:r>
              <a:rPr lang="de-DE" b="1">
                <a:latin typeface="Haffer Light"/>
                <a:cs typeface="Haffer Light"/>
              </a:rPr>
              <a:t>:</a:t>
            </a:r>
            <a:r>
              <a:rPr lang="de-DE">
                <a:latin typeface="Haffer Light"/>
                <a:cs typeface="Haffer Light"/>
              </a:rPr>
              <a:t> Companies </a:t>
            </a:r>
            <a:r>
              <a:rPr lang="de-DE" err="1">
                <a:latin typeface="Haffer Light"/>
                <a:cs typeface="Haffer Light"/>
              </a:rPr>
              <a:t>that</a:t>
            </a:r>
            <a:r>
              <a:rPr lang="de-DE">
                <a:latin typeface="Haffer Light"/>
                <a:cs typeface="Haffer Light"/>
              </a:rPr>
              <a:t> </a:t>
            </a:r>
            <a:r>
              <a:rPr lang="de-DE" err="1">
                <a:latin typeface="Haffer Light"/>
                <a:cs typeface="Haffer Light"/>
              </a:rPr>
              <a:t>use</a:t>
            </a:r>
            <a:r>
              <a:rPr lang="de-DE">
                <a:latin typeface="Haffer Light"/>
                <a:cs typeface="Haffer Light"/>
              </a:rPr>
              <a:t> PPAs </a:t>
            </a:r>
            <a:r>
              <a:rPr lang="de-DE" err="1">
                <a:latin typeface="Haffer Light"/>
                <a:cs typeface="Haffer Light"/>
              </a:rPr>
              <a:t>can</a:t>
            </a:r>
            <a:r>
              <a:rPr lang="de-DE">
                <a:latin typeface="Haffer Light"/>
                <a:cs typeface="Haffer Light"/>
              </a:rPr>
              <a:t> </a:t>
            </a:r>
            <a:r>
              <a:rPr lang="de-DE" err="1">
                <a:latin typeface="Haffer Light"/>
                <a:cs typeface="Haffer Light"/>
              </a:rPr>
              <a:t>report</a:t>
            </a:r>
            <a:r>
              <a:rPr lang="de-DE">
                <a:latin typeface="Haffer Light"/>
                <a:cs typeface="Haffer Light"/>
              </a:rPr>
              <a:t> </a:t>
            </a:r>
            <a:r>
              <a:rPr lang="de-DE" err="1">
                <a:latin typeface="Haffer Light"/>
                <a:cs typeface="Haffer Light"/>
              </a:rPr>
              <a:t>transparently</a:t>
            </a:r>
            <a:r>
              <a:rPr lang="de-DE">
                <a:latin typeface="Haffer Light"/>
                <a:cs typeface="Haffer Light"/>
              </a:rPr>
              <a:t> on </a:t>
            </a:r>
            <a:r>
              <a:rPr lang="de-DE" err="1">
                <a:latin typeface="Haffer Light"/>
                <a:cs typeface="Haffer Light"/>
              </a:rPr>
              <a:t>their</a:t>
            </a:r>
            <a:r>
              <a:rPr lang="de-DE">
                <a:latin typeface="Haffer Light"/>
                <a:cs typeface="Haffer Light"/>
              </a:rPr>
              <a:t> </a:t>
            </a:r>
            <a:r>
              <a:rPr lang="de-DE" err="1">
                <a:latin typeface="Haffer Light"/>
                <a:cs typeface="Haffer Light"/>
              </a:rPr>
              <a:t>contracts</a:t>
            </a:r>
            <a:r>
              <a:rPr lang="de-DE">
                <a:latin typeface="Haffer Light"/>
                <a:cs typeface="Haffer Light"/>
              </a:rPr>
              <a:t> and </a:t>
            </a:r>
            <a:r>
              <a:rPr lang="de-DE" err="1">
                <a:latin typeface="Haffer Light"/>
                <a:cs typeface="Haffer Light"/>
              </a:rPr>
              <a:t>their</a:t>
            </a:r>
            <a:r>
              <a:rPr lang="de-DE">
                <a:latin typeface="Haffer Light"/>
                <a:cs typeface="Haffer Light"/>
              </a:rPr>
              <a:t> </a:t>
            </a:r>
            <a:r>
              <a:rPr lang="de-DE" err="1">
                <a:latin typeface="Haffer Light"/>
                <a:cs typeface="Haffer Light"/>
              </a:rPr>
              <a:t>impact</a:t>
            </a:r>
            <a:r>
              <a:rPr lang="de-DE">
                <a:latin typeface="Haffer Light"/>
                <a:cs typeface="Haffer Light"/>
              </a:rPr>
              <a:t> on </a:t>
            </a:r>
            <a:r>
              <a:rPr lang="de-DE" err="1">
                <a:latin typeface="Haffer Light"/>
                <a:cs typeface="Haffer Light"/>
              </a:rPr>
              <a:t>their</a:t>
            </a:r>
            <a:r>
              <a:rPr lang="de-DE">
                <a:latin typeface="Haffer Light"/>
                <a:cs typeface="Haffer Light"/>
              </a:rPr>
              <a:t> environmental </a:t>
            </a:r>
            <a:r>
              <a:rPr lang="de-DE" err="1">
                <a:latin typeface="Haffer Light"/>
                <a:cs typeface="Haffer Light"/>
              </a:rPr>
              <a:t>performance</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comply</a:t>
            </a:r>
            <a:r>
              <a:rPr lang="de-DE">
                <a:latin typeface="Haffer Light"/>
                <a:cs typeface="Haffer Light"/>
              </a:rPr>
              <a:t> </a:t>
            </a:r>
            <a:r>
              <a:rPr lang="de-DE" err="1">
                <a:latin typeface="Haffer Light"/>
                <a:cs typeface="Haffer Light"/>
              </a:rPr>
              <a:t>with</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principles</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the</a:t>
            </a:r>
            <a:r>
              <a:rPr lang="de-DE">
                <a:latin typeface="Haffer Light"/>
                <a:cs typeface="Haffer Light"/>
              </a:rPr>
              <a:t> UNGC.</a:t>
            </a:r>
          </a:p>
          <a:p>
            <a:endParaRPr lang="de-DE">
              <a:latin typeface="Haffer Light"/>
              <a:cs typeface="Haffer Light"/>
            </a:endParaRPr>
          </a:p>
        </p:txBody>
      </p:sp>
    </p:spTree>
    <p:extLst>
      <p:ext uri="{BB962C8B-B14F-4D97-AF65-F5344CB8AC3E}">
        <p14:creationId xmlns:p14="http://schemas.microsoft.com/office/powerpoint/2010/main" val="1319519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6683673-8655-0A23-C0A9-FEFD91E5ECA4}"/>
              </a:ext>
            </a:extLst>
          </p:cNvPr>
          <p:cNvSpPr>
            <a:spLocks noGrp="1"/>
          </p:cNvSpPr>
          <p:nvPr>
            <p:ph type="body" sz="quarter" idx="11"/>
          </p:nvPr>
        </p:nvSpPr>
        <p:spPr/>
        <p:txBody>
          <a:bodyPr lIns="91440" tIns="45720" rIns="91440" bIns="45720" anchor="b"/>
          <a:lstStyle/>
          <a:p>
            <a:r>
              <a:rPr lang="de-DE" err="1">
                <a:latin typeface="Haffer"/>
                <a:cs typeface="Haffer"/>
              </a:rPr>
              <a:t>Importance</a:t>
            </a:r>
            <a:r>
              <a:rPr lang="de-DE">
                <a:latin typeface="Haffer"/>
                <a:cs typeface="Haffer"/>
              </a:rPr>
              <a:t> </a:t>
            </a:r>
            <a:r>
              <a:rPr lang="de-DE" err="1">
                <a:latin typeface="Haffer"/>
                <a:cs typeface="Haffer"/>
              </a:rPr>
              <a:t>of</a:t>
            </a:r>
            <a:r>
              <a:rPr lang="de-DE">
                <a:latin typeface="Haffer"/>
                <a:cs typeface="Haffer"/>
              </a:rPr>
              <a:t> </a:t>
            </a:r>
            <a:r>
              <a:rPr lang="de-DE" err="1">
                <a:latin typeface="Haffer"/>
                <a:cs typeface="Haffer"/>
              </a:rPr>
              <a:t>the</a:t>
            </a:r>
            <a:r>
              <a:rPr lang="de-DE">
                <a:latin typeface="Haffer"/>
                <a:cs typeface="Haffer"/>
              </a:rPr>
              <a:t> CSR </a:t>
            </a:r>
            <a:r>
              <a:rPr lang="de-DE" err="1">
                <a:latin typeface="Haffer"/>
                <a:cs typeface="Haffer"/>
              </a:rPr>
              <a:t>regulation</a:t>
            </a:r>
            <a:r>
              <a:rPr lang="de-DE">
                <a:latin typeface="Haffer"/>
                <a:cs typeface="Haffer"/>
              </a:rPr>
              <a:t> </a:t>
            </a:r>
            <a:r>
              <a:rPr lang="de-DE" err="1">
                <a:latin typeface="Haffer"/>
                <a:cs typeface="Haffer"/>
              </a:rPr>
              <a:t>for</a:t>
            </a:r>
            <a:r>
              <a:rPr lang="de-DE">
                <a:latin typeface="Haffer"/>
                <a:cs typeface="Haffer"/>
              </a:rPr>
              <a:t> </a:t>
            </a:r>
            <a:r>
              <a:rPr lang="de-DE" err="1">
                <a:latin typeface="Haffer"/>
                <a:cs typeface="Haffer"/>
              </a:rPr>
              <a:t>the</a:t>
            </a:r>
            <a:r>
              <a:rPr lang="de-DE">
                <a:latin typeface="Haffer"/>
                <a:cs typeface="Haffer"/>
              </a:rPr>
              <a:t> </a:t>
            </a:r>
            <a:r>
              <a:rPr lang="de-DE" err="1">
                <a:latin typeface="Haffer"/>
                <a:cs typeface="Haffer"/>
              </a:rPr>
              <a:t>purchase</a:t>
            </a:r>
            <a:r>
              <a:rPr lang="de-DE">
                <a:latin typeface="Haffer"/>
                <a:cs typeface="Haffer"/>
              </a:rPr>
              <a:t> </a:t>
            </a:r>
            <a:r>
              <a:rPr lang="de-DE" err="1">
                <a:latin typeface="Haffer"/>
                <a:cs typeface="Haffer"/>
              </a:rPr>
              <a:t>of</a:t>
            </a:r>
            <a:r>
              <a:rPr lang="de-DE">
                <a:latin typeface="Haffer"/>
                <a:cs typeface="Haffer"/>
              </a:rPr>
              <a:t> </a:t>
            </a:r>
            <a:r>
              <a:rPr lang="de-DE" err="1">
                <a:latin typeface="Haffer"/>
                <a:cs typeface="Haffer"/>
              </a:rPr>
              <a:t>electricity</a:t>
            </a:r>
            <a:r>
              <a:rPr lang="de-DE">
                <a:latin typeface="Haffer"/>
                <a:cs typeface="Haffer"/>
              </a:rPr>
              <a:t> </a:t>
            </a:r>
            <a:r>
              <a:rPr lang="de-DE" err="1">
                <a:latin typeface="Haffer"/>
                <a:cs typeface="Haffer"/>
              </a:rPr>
              <a:t>by</a:t>
            </a:r>
            <a:r>
              <a:rPr lang="de-DE">
                <a:latin typeface="Haffer"/>
                <a:cs typeface="Haffer"/>
              </a:rPr>
              <a:t> </a:t>
            </a:r>
            <a:r>
              <a:rPr lang="de-DE" err="1">
                <a:latin typeface="Haffer"/>
                <a:cs typeface="Haffer"/>
              </a:rPr>
              <a:t>companies</a:t>
            </a:r>
            <a:r>
              <a:rPr lang="de-DE">
                <a:latin typeface="Haffer"/>
                <a:cs typeface="Haffer"/>
              </a:rPr>
              <a:t> </a:t>
            </a:r>
            <a:r>
              <a:rPr lang="de-DE" err="1">
                <a:latin typeface="Haffer"/>
                <a:cs typeface="Haffer"/>
              </a:rPr>
              <a:t>through</a:t>
            </a:r>
            <a:r>
              <a:rPr lang="de-DE">
                <a:latin typeface="Haffer"/>
                <a:cs typeface="Haffer"/>
              </a:rPr>
              <a:t> PPAs</a:t>
            </a:r>
          </a:p>
        </p:txBody>
      </p:sp>
      <p:sp>
        <p:nvSpPr>
          <p:cNvPr id="3" name="Textplatzhalter 2">
            <a:extLst>
              <a:ext uri="{FF2B5EF4-FFF2-40B4-BE49-F238E27FC236}">
                <a16:creationId xmlns:a16="http://schemas.microsoft.com/office/drawing/2014/main" id="{A50C322C-7ADF-F49D-4253-2D2B5F5878A1}"/>
              </a:ext>
            </a:extLst>
          </p:cNvPr>
          <p:cNvSpPr>
            <a:spLocks noGrp="1"/>
          </p:cNvSpPr>
          <p:nvPr>
            <p:ph type="body" sz="quarter" idx="10"/>
          </p:nvPr>
        </p:nvSpPr>
        <p:spPr>
          <a:xfrm>
            <a:off x="959979" y="403514"/>
            <a:ext cx="10611984" cy="1320745"/>
          </a:xfrm>
        </p:spPr>
        <p:txBody>
          <a:bodyPr lIns="91440" tIns="45720" rIns="91440" bIns="45720" anchor="b"/>
          <a:lstStyle/>
          <a:p>
            <a:r>
              <a:rPr lang="de-DE">
                <a:latin typeface="Haffer"/>
                <a:cs typeface="Haffer"/>
              </a:rPr>
              <a:t>UNGC </a:t>
            </a:r>
            <a:r>
              <a:rPr lang="de-DE" err="1">
                <a:latin typeface="Haffer"/>
                <a:cs typeface="Haffer"/>
              </a:rPr>
              <a:t>standards</a:t>
            </a:r>
            <a:r>
              <a:rPr lang="de-DE">
                <a:latin typeface="Haffer"/>
                <a:cs typeface="Haffer"/>
              </a:rPr>
              <a:t> in </a:t>
            </a:r>
            <a:r>
              <a:rPr lang="de-DE" err="1">
                <a:latin typeface="Haffer"/>
                <a:cs typeface="Haffer"/>
              </a:rPr>
              <a:t>context</a:t>
            </a:r>
            <a:r>
              <a:rPr lang="de-DE">
                <a:latin typeface="Haffer"/>
                <a:cs typeface="Haffer"/>
              </a:rPr>
              <a:t> </a:t>
            </a:r>
            <a:r>
              <a:rPr lang="de-DE" err="1">
                <a:latin typeface="Haffer"/>
                <a:cs typeface="Haffer"/>
              </a:rPr>
              <a:t>of</a:t>
            </a:r>
            <a:r>
              <a:rPr lang="de-DE">
                <a:latin typeface="Haffer"/>
                <a:cs typeface="Haffer"/>
              </a:rPr>
              <a:t> PPAs (2/2)</a:t>
            </a:r>
            <a:endParaRPr lang="de-DE"/>
          </a:p>
        </p:txBody>
      </p:sp>
      <p:sp>
        <p:nvSpPr>
          <p:cNvPr id="5" name="Textplatzhalter 4">
            <a:extLst>
              <a:ext uri="{FF2B5EF4-FFF2-40B4-BE49-F238E27FC236}">
                <a16:creationId xmlns:a16="http://schemas.microsoft.com/office/drawing/2014/main" id="{03E60AF8-C4A6-4E64-D685-0D19B5A330A4}"/>
              </a:ext>
            </a:extLst>
          </p:cNvPr>
          <p:cNvSpPr>
            <a:spLocks noGrp="1"/>
          </p:cNvSpPr>
          <p:nvPr>
            <p:ph type="body" sz="quarter" idx="16"/>
          </p:nvPr>
        </p:nvSpPr>
        <p:spPr>
          <a:xfrm>
            <a:off x="959978" y="2072789"/>
            <a:ext cx="10604494" cy="4011613"/>
          </a:xfrm>
        </p:spPr>
        <p:txBody>
          <a:bodyPr lIns="91440" tIns="45720" rIns="91440" bIns="45720" anchor="t"/>
          <a:lstStyle/>
          <a:p>
            <a:r>
              <a:rPr lang="de-DE" b="1">
                <a:latin typeface="Haffer Light"/>
                <a:cs typeface="Haffer Light"/>
              </a:rPr>
              <a:t>Climate </a:t>
            </a:r>
            <a:r>
              <a:rPr lang="de-DE" b="1" err="1">
                <a:latin typeface="Haffer Light"/>
                <a:cs typeface="Haffer Light"/>
              </a:rPr>
              <a:t>protection</a:t>
            </a:r>
            <a:r>
              <a:rPr lang="de-DE" b="1">
                <a:latin typeface="Haffer Light"/>
                <a:cs typeface="Haffer Light"/>
              </a:rPr>
              <a:t> and </a:t>
            </a:r>
            <a:r>
              <a:rPr lang="de-DE" b="1" err="1">
                <a:latin typeface="Haffer Light"/>
                <a:cs typeface="Haffer Light"/>
              </a:rPr>
              <a:t>investments</a:t>
            </a:r>
            <a:r>
              <a:rPr lang="de-DE" b="1">
                <a:latin typeface="Haffer Light"/>
                <a:cs typeface="Haffer Light"/>
              </a:rPr>
              <a:t>:</a:t>
            </a:r>
            <a:r>
              <a:rPr lang="de-DE">
                <a:latin typeface="Haffer Light"/>
                <a:cs typeface="Haffer Light"/>
              </a:rPr>
              <a:t> PPAs  </a:t>
            </a:r>
            <a:r>
              <a:rPr lang="de-DE" err="1">
                <a:latin typeface="Haffer Light"/>
                <a:cs typeface="Haffer Light"/>
              </a:rPr>
              <a:t>are</a:t>
            </a:r>
            <a:r>
              <a:rPr lang="de-DE">
                <a:latin typeface="Haffer Light"/>
                <a:cs typeface="Haffer Light"/>
              </a:rPr>
              <a:t> an </a:t>
            </a:r>
            <a:r>
              <a:rPr lang="de-DE" err="1">
                <a:latin typeface="Haffer Light"/>
                <a:cs typeface="Haffer Light"/>
              </a:rPr>
              <a:t>opportunity</a:t>
            </a:r>
            <a:r>
              <a:rPr lang="de-DE">
                <a:latin typeface="Haffer Light"/>
                <a:cs typeface="Haffer Light"/>
              </a:rPr>
              <a:t> </a:t>
            </a:r>
            <a:r>
              <a:rPr lang="de-DE" err="1">
                <a:latin typeface="Haffer Light"/>
                <a:cs typeface="Haffer Light"/>
              </a:rPr>
              <a:t>for</a:t>
            </a:r>
            <a:r>
              <a:rPr lang="de-DE">
                <a:latin typeface="Haffer Light"/>
                <a:cs typeface="Haffer Light"/>
              </a:rPr>
              <a:t> </a:t>
            </a:r>
            <a:r>
              <a:rPr lang="de-DE" err="1">
                <a:latin typeface="Haffer Light"/>
                <a:cs typeface="Haffer Light"/>
              </a:rPr>
              <a:t>companies</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invest</a:t>
            </a:r>
            <a:r>
              <a:rPr lang="de-DE">
                <a:latin typeface="Haffer Light"/>
                <a:cs typeface="Haffer Light"/>
              </a:rPr>
              <a:t> </a:t>
            </a:r>
            <a:r>
              <a:rPr lang="de-DE" err="1">
                <a:latin typeface="Haffer Light"/>
                <a:cs typeface="Haffer Light"/>
              </a:rPr>
              <a:t>directly</a:t>
            </a:r>
            <a:r>
              <a:rPr lang="de-DE">
                <a:latin typeface="Haffer Light"/>
                <a:cs typeface="Haffer Light"/>
              </a:rPr>
              <a:t> in </a:t>
            </a:r>
            <a:r>
              <a:rPr lang="de-DE" err="1">
                <a:latin typeface="Haffer Light"/>
                <a:cs typeface="Haffer Light"/>
              </a:rPr>
              <a:t>projects</a:t>
            </a:r>
            <a:r>
              <a:rPr lang="de-DE">
                <a:latin typeface="Haffer Light"/>
                <a:cs typeface="Haffer Light"/>
              </a:rPr>
              <a:t> </a:t>
            </a:r>
            <a:r>
              <a:rPr lang="de-DE" err="1">
                <a:latin typeface="Haffer Light"/>
                <a:cs typeface="Haffer Light"/>
              </a:rPr>
              <a:t>that</a:t>
            </a:r>
            <a:r>
              <a:rPr lang="de-DE">
                <a:latin typeface="Haffer Light"/>
                <a:cs typeface="Haffer Light"/>
              </a:rPr>
              <a:t> </a:t>
            </a:r>
            <a:r>
              <a:rPr lang="de-DE" err="1">
                <a:latin typeface="Haffer Light"/>
                <a:cs typeface="Haffer Light"/>
              </a:rPr>
              <a:t>contribute</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reducing</a:t>
            </a:r>
            <a:r>
              <a:rPr lang="de-DE">
                <a:latin typeface="Haffer Light"/>
                <a:cs typeface="Haffer Light"/>
              </a:rPr>
              <a:t> </a:t>
            </a:r>
            <a:r>
              <a:rPr lang="de-DE" err="1">
                <a:latin typeface="Haffer Light"/>
                <a:cs typeface="Haffer Light"/>
              </a:rPr>
              <a:t>carbon</a:t>
            </a:r>
            <a:r>
              <a:rPr lang="de-DE">
                <a:latin typeface="Haffer Light"/>
                <a:cs typeface="Haffer Light"/>
              </a:rPr>
              <a:t> </a:t>
            </a:r>
            <a:r>
              <a:rPr lang="de-DE" err="1">
                <a:latin typeface="Haffer Light"/>
                <a:cs typeface="Haffer Light"/>
              </a:rPr>
              <a:t>emissions</a:t>
            </a:r>
            <a:r>
              <a:rPr lang="de-DE">
                <a:latin typeface="Haffer Light"/>
                <a:cs typeface="Haffer Light"/>
              </a:rPr>
              <a:t>. </a:t>
            </a:r>
            <a:endParaRPr lang="de-DE"/>
          </a:p>
          <a:p>
            <a:r>
              <a:rPr lang="de-DE" b="1">
                <a:latin typeface="Haffer Light"/>
                <a:cs typeface="Haffer Light"/>
              </a:rPr>
              <a:t>Stakeholder </a:t>
            </a:r>
            <a:r>
              <a:rPr lang="de-DE" b="1" err="1">
                <a:latin typeface="Haffer Light"/>
                <a:cs typeface="Haffer Light"/>
              </a:rPr>
              <a:t>engagement</a:t>
            </a:r>
            <a:r>
              <a:rPr lang="de-DE" b="1">
                <a:latin typeface="Haffer Light"/>
                <a:cs typeface="Haffer Light"/>
              </a:rPr>
              <a:t>: </a:t>
            </a:r>
            <a:r>
              <a:rPr lang="de-DE">
                <a:latin typeface="Haffer Light"/>
                <a:cs typeface="Haffer Light"/>
              </a:rPr>
              <a:t>The </a:t>
            </a:r>
            <a:r>
              <a:rPr lang="de-DE" err="1">
                <a:latin typeface="Haffer Light"/>
                <a:cs typeface="Haffer Light"/>
              </a:rPr>
              <a:t>conclusion</a:t>
            </a:r>
            <a:r>
              <a:rPr lang="de-DE">
                <a:latin typeface="Haffer Light"/>
                <a:cs typeface="Haffer Light"/>
              </a:rPr>
              <a:t> </a:t>
            </a:r>
            <a:r>
              <a:rPr lang="de-DE" err="1">
                <a:latin typeface="Haffer Light"/>
                <a:cs typeface="Haffer Light"/>
              </a:rPr>
              <a:t>of</a:t>
            </a:r>
            <a:r>
              <a:rPr lang="de-DE">
                <a:latin typeface="Haffer Light"/>
                <a:cs typeface="Haffer Light"/>
              </a:rPr>
              <a:t> PPAs </a:t>
            </a:r>
            <a:r>
              <a:rPr lang="de-DE" err="1">
                <a:latin typeface="Haffer Light"/>
                <a:cs typeface="Haffer Light"/>
              </a:rPr>
              <a:t>can</a:t>
            </a:r>
            <a:r>
              <a:rPr lang="de-DE">
                <a:latin typeface="Haffer Light"/>
                <a:cs typeface="Haffer Light"/>
              </a:rPr>
              <a:t> </a:t>
            </a:r>
            <a:r>
              <a:rPr lang="de-DE" err="1">
                <a:latin typeface="Haffer Light"/>
                <a:cs typeface="Haffer Light"/>
              </a:rPr>
              <a:t>be</a:t>
            </a:r>
            <a:r>
              <a:rPr lang="de-DE">
                <a:latin typeface="Haffer Light"/>
                <a:cs typeface="Haffer Light"/>
              </a:rPr>
              <a:t> a positive </a:t>
            </a:r>
            <a:r>
              <a:rPr lang="de-DE" err="1">
                <a:latin typeface="Haffer Light"/>
                <a:cs typeface="Haffer Light"/>
              </a:rPr>
              <a:t>aspect</a:t>
            </a:r>
            <a:r>
              <a:rPr lang="de-DE">
                <a:latin typeface="Haffer Light"/>
                <a:cs typeface="Haffer Light"/>
              </a:rPr>
              <a:t> </a:t>
            </a:r>
            <a:r>
              <a:rPr lang="de-DE" err="1">
                <a:latin typeface="Haffer Light"/>
                <a:cs typeface="Haffer Light"/>
              </a:rPr>
              <a:t>of</a:t>
            </a:r>
            <a:r>
              <a:rPr lang="de-DE">
                <a:latin typeface="Haffer Light"/>
                <a:cs typeface="Haffer Light"/>
              </a:rPr>
              <a:t> a </a:t>
            </a:r>
            <a:r>
              <a:rPr lang="de-DE" err="1">
                <a:latin typeface="Haffer Light"/>
                <a:cs typeface="Haffer Light"/>
              </a:rPr>
              <a:t>company’s</a:t>
            </a:r>
            <a:r>
              <a:rPr lang="de-DE">
                <a:latin typeface="Haffer Light"/>
                <a:cs typeface="Haffer Light"/>
              </a:rPr>
              <a:t> environmental </a:t>
            </a:r>
            <a:r>
              <a:rPr lang="de-DE" err="1">
                <a:latin typeface="Haffer Light"/>
                <a:cs typeface="Haffer Light"/>
              </a:rPr>
              <a:t>strategy</a:t>
            </a:r>
            <a:r>
              <a:rPr lang="de-DE">
                <a:latin typeface="Haffer Light"/>
                <a:cs typeface="Haffer Light"/>
              </a:rPr>
              <a:t> </a:t>
            </a:r>
            <a:r>
              <a:rPr lang="de-DE" err="1">
                <a:latin typeface="Haffer Light"/>
                <a:cs typeface="Haffer Light"/>
              </a:rPr>
              <a:t>that</a:t>
            </a:r>
            <a:r>
              <a:rPr lang="de-DE">
                <a:latin typeface="Haffer Light"/>
                <a:cs typeface="Haffer Light"/>
              </a:rPr>
              <a:t> </a:t>
            </a:r>
            <a:r>
              <a:rPr lang="de-DE" err="1">
                <a:latin typeface="Haffer Light"/>
                <a:cs typeface="Haffer Light"/>
              </a:rPr>
              <a:t>is</a:t>
            </a:r>
            <a:r>
              <a:rPr lang="de-DE">
                <a:latin typeface="Haffer Light"/>
                <a:cs typeface="Haffer Light"/>
              </a:rPr>
              <a:t> </a:t>
            </a:r>
            <a:r>
              <a:rPr lang="de-DE" err="1">
                <a:latin typeface="Haffer Light"/>
                <a:cs typeface="Haffer Light"/>
              </a:rPr>
              <a:t>valued</a:t>
            </a:r>
            <a:r>
              <a:rPr lang="de-DE">
                <a:latin typeface="Haffer Light"/>
                <a:cs typeface="Haffer Light"/>
              </a:rPr>
              <a:t> </a:t>
            </a:r>
            <a:r>
              <a:rPr lang="de-DE" err="1">
                <a:latin typeface="Haffer Light"/>
                <a:cs typeface="Haffer Light"/>
              </a:rPr>
              <a:t>by</a:t>
            </a:r>
            <a:r>
              <a:rPr lang="de-DE">
                <a:latin typeface="Haffer Light"/>
                <a:cs typeface="Haffer Light"/>
              </a:rPr>
              <a:t> </a:t>
            </a:r>
            <a:r>
              <a:rPr lang="de-DE" err="1">
                <a:latin typeface="Haffer Light"/>
                <a:cs typeface="Haffer Light"/>
              </a:rPr>
              <a:t>stakeholders</a:t>
            </a:r>
            <a:r>
              <a:rPr lang="de-DE">
                <a:latin typeface="Haffer Light"/>
                <a:cs typeface="Haffer Light"/>
              </a:rPr>
              <a:t>.</a:t>
            </a:r>
            <a:endParaRPr lang="de-DE"/>
          </a:p>
          <a:p>
            <a:r>
              <a:rPr lang="de-DE" b="1">
                <a:latin typeface="Haffer Light"/>
                <a:cs typeface="Haffer Light"/>
              </a:rPr>
              <a:t>Reporting on </a:t>
            </a:r>
            <a:r>
              <a:rPr lang="de-DE" b="1" err="1">
                <a:latin typeface="Haffer Light"/>
                <a:cs typeface="Haffer Light"/>
              </a:rPr>
              <a:t>progress</a:t>
            </a:r>
            <a:r>
              <a:rPr lang="de-DE" b="1">
                <a:latin typeface="Haffer Light"/>
                <a:cs typeface="Haffer Light"/>
              </a:rPr>
              <a:t>:</a:t>
            </a:r>
            <a:r>
              <a:rPr lang="de-DE">
                <a:latin typeface="Haffer Light"/>
                <a:cs typeface="Haffer Light"/>
              </a:rPr>
              <a:t> transparent </a:t>
            </a:r>
            <a:r>
              <a:rPr lang="de-DE" err="1">
                <a:latin typeface="Haffer Light"/>
                <a:cs typeface="Haffer Light"/>
              </a:rPr>
              <a:t>reporting</a:t>
            </a:r>
            <a:r>
              <a:rPr lang="de-DE">
                <a:latin typeface="Haffer Light"/>
                <a:cs typeface="Haffer Light"/>
              </a:rPr>
              <a:t> on </a:t>
            </a:r>
            <a:r>
              <a:rPr lang="de-DE" err="1">
                <a:latin typeface="Haffer Light"/>
                <a:cs typeface="Haffer Light"/>
              </a:rPr>
              <a:t>the</a:t>
            </a:r>
            <a:r>
              <a:rPr lang="de-DE">
                <a:latin typeface="Haffer Light"/>
                <a:cs typeface="Haffer Light"/>
              </a:rPr>
              <a:t> </a:t>
            </a:r>
            <a:r>
              <a:rPr lang="de-DE" err="1">
                <a:latin typeface="Haffer Light"/>
                <a:cs typeface="Haffer Light"/>
              </a:rPr>
              <a:t>use</a:t>
            </a:r>
            <a:r>
              <a:rPr lang="de-DE">
                <a:latin typeface="Haffer Light"/>
                <a:cs typeface="Haffer Light"/>
              </a:rPr>
              <a:t> </a:t>
            </a:r>
            <a:r>
              <a:rPr lang="de-DE" err="1">
                <a:latin typeface="Haffer Light"/>
                <a:cs typeface="Haffer Light"/>
              </a:rPr>
              <a:t>of</a:t>
            </a:r>
            <a:r>
              <a:rPr lang="de-DE">
                <a:latin typeface="Haffer Light"/>
                <a:cs typeface="Haffer Light"/>
              </a:rPr>
              <a:t> PPAs and </a:t>
            </a:r>
            <a:r>
              <a:rPr lang="de-DE" err="1">
                <a:latin typeface="Haffer Light"/>
                <a:cs typeface="Haffer Light"/>
              </a:rPr>
              <a:t>their</a:t>
            </a:r>
            <a:r>
              <a:rPr lang="de-DE">
                <a:latin typeface="Haffer Light"/>
                <a:cs typeface="Haffer Light"/>
              </a:rPr>
              <a:t> </a:t>
            </a:r>
            <a:r>
              <a:rPr lang="de-DE" err="1">
                <a:latin typeface="Haffer Light"/>
                <a:cs typeface="Haffer Light"/>
              </a:rPr>
              <a:t>impact</a:t>
            </a:r>
            <a:r>
              <a:rPr lang="de-DE">
                <a:latin typeface="Haffer Light"/>
                <a:cs typeface="Haffer Light"/>
              </a:rPr>
              <a:t> on environmental </a:t>
            </a:r>
            <a:r>
              <a:rPr lang="de-DE" err="1">
                <a:latin typeface="Haffer Light"/>
                <a:cs typeface="Haffer Light"/>
              </a:rPr>
              <a:t>performance</a:t>
            </a:r>
            <a:r>
              <a:rPr lang="de-DE">
                <a:latin typeface="Haffer Light"/>
                <a:cs typeface="Haffer Light"/>
              </a:rPr>
              <a:t> </a:t>
            </a:r>
            <a:r>
              <a:rPr lang="de-DE" err="1">
                <a:latin typeface="Haffer Light"/>
                <a:cs typeface="Haffer Light"/>
              </a:rPr>
              <a:t>helps</a:t>
            </a:r>
            <a:r>
              <a:rPr lang="de-DE">
                <a:latin typeface="Haffer Light"/>
                <a:cs typeface="Haffer Light"/>
              </a:rPr>
              <a:t> </a:t>
            </a:r>
            <a:r>
              <a:rPr lang="de-DE" err="1">
                <a:latin typeface="Haffer Light"/>
                <a:cs typeface="Haffer Light"/>
              </a:rPr>
              <a:t>companies</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document</a:t>
            </a:r>
            <a:r>
              <a:rPr lang="de-DE">
                <a:latin typeface="Haffer Light"/>
                <a:cs typeface="Haffer Light"/>
              </a:rPr>
              <a:t> and </a:t>
            </a:r>
            <a:r>
              <a:rPr lang="de-DE" err="1">
                <a:latin typeface="Haffer Light"/>
                <a:cs typeface="Haffer Light"/>
              </a:rPr>
              <a:t>publicise</a:t>
            </a:r>
            <a:r>
              <a:rPr lang="de-DE">
                <a:latin typeface="Haffer Light"/>
                <a:cs typeface="Haffer Light"/>
              </a:rPr>
              <a:t> </a:t>
            </a:r>
            <a:r>
              <a:rPr lang="de-DE" err="1">
                <a:latin typeface="Haffer Light"/>
                <a:cs typeface="Haffer Light"/>
              </a:rPr>
              <a:t>their</a:t>
            </a:r>
            <a:r>
              <a:rPr lang="de-DE">
                <a:latin typeface="Haffer Light"/>
                <a:cs typeface="Haffer Light"/>
              </a:rPr>
              <a:t> </a:t>
            </a:r>
            <a:r>
              <a:rPr lang="de-DE" err="1">
                <a:latin typeface="Haffer Light"/>
                <a:cs typeface="Haffer Light"/>
              </a:rPr>
              <a:t>progress</a:t>
            </a:r>
          </a:p>
          <a:p>
            <a:endParaRPr lang="de-DE">
              <a:latin typeface="Haffer Light"/>
              <a:cs typeface="Haffer Light"/>
            </a:endParaRPr>
          </a:p>
        </p:txBody>
      </p:sp>
    </p:spTree>
    <p:extLst>
      <p:ext uri="{BB962C8B-B14F-4D97-AF65-F5344CB8AC3E}">
        <p14:creationId xmlns:p14="http://schemas.microsoft.com/office/powerpoint/2010/main" val="34705482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6683673-8655-0A23-C0A9-FEFD91E5ECA4}"/>
              </a:ext>
            </a:extLst>
          </p:cNvPr>
          <p:cNvSpPr>
            <a:spLocks noGrp="1"/>
          </p:cNvSpPr>
          <p:nvPr>
            <p:ph type="body" sz="quarter" idx="11"/>
          </p:nvPr>
        </p:nvSpPr>
        <p:spPr/>
        <p:txBody>
          <a:bodyPr lIns="91440" tIns="45720" rIns="91440" bIns="45720" anchor="b"/>
          <a:lstStyle/>
          <a:p>
            <a:r>
              <a:rPr lang="de-DE" err="1">
                <a:latin typeface="Haffer"/>
                <a:cs typeface="Haffer"/>
              </a:rPr>
              <a:t>Importance</a:t>
            </a:r>
            <a:r>
              <a:rPr lang="de-DE">
                <a:latin typeface="Haffer"/>
                <a:cs typeface="Haffer"/>
              </a:rPr>
              <a:t> </a:t>
            </a:r>
            <a:r>
              <a:rPr lang="de-DE" err="1">
                <a:latin typeface="Haffer"/>
                <a:cs typeface="Haffer"/>
              </a:rPr>
              <a:t>of</a:t>
            </a:r>
            <a:r>
              <a:rPr lang="de-DE">
                <a:latin typeface="Haffer"/>
                <a:cs typeface="Haffer"/>
              </a:rPr>
              <a:t> </a:t>
            </a:r>
            <a:r>
              <a:rPr lang="de-DE" err="1">
                <a:latin typeface="Haffer"/>
                <a:cs typeface="Haffer"/>
              </a:rPr>
              <a:t>the</a:t>
            </a:r>
            <a:r>
              <a:rPr lang="de-DE">
                <a:latin typeface="Haffer"/>
                <a:cs typeface="Haffer"/>
              </a:rPr>
              <a:t> CSR </a:t>
            </a:r>
            <a:r>
              <a:rPr lang="de-DE" err="1">
                <a:latin typeface="Haffer"/>
                <a:cs typeface="Haffer"/>
              </a:rPr>
              <a:t>regulation</a:t>
            </a:r>
            <a:r>
              <a:rPr lang="de-DE">
                <a:latin typeface="Haffer"/>
                <a:cs typeface="Haffer"/>
              </a:rPr>
              <a:t> </a:t>
            </a:r>
            <a:r>
              <a:rPr lang="de-DE" err="1">
                <a:latin typeface="Haffer"/>
                <a:cs typeface="Haffer"/>
              </a:rPr>
              <a:t>for</a:t>
            </a:r>
            <a:r>
              <a:rPr lang="de-DE">
                <a:latin typeface="Haffer"/>
                <a:cs typeface="Haffer"/>
              </a:rPr>
              <a:t> </a:t>
            </a:r>
            <a:r>
              <a:rPr lang="de-DE" err="1">
                <a:latin typeface="Haffer"/>
                <a:cs typeface="Haffer"/>
              </a:rPr>
              <a:t>the</a:t>
            </a:r>
            <a:r>
              <a:rPr lang="de-DE">
                <a:latin typeface="Haffer"/>
                <a:cs typeface="Haffer"/>
              </a:rPr>
              <a:t> </a:t>
            </a:r>
            <a:r>
              <a:rPr lang="de-DE" err="1">
                <a:latin typeface="Haffer"/>
                <a:cs typeface="Haffer"/>
              </a:rPr>
              <a:t>purchase</a:t>
            </a:r>
            <a:r>
              <a:rPr lang="de-DE">
                <a:latin typeface="Haffer"/>
                <a:cs typeface="Haffer"/>
              </a:rPr>
              <a:t> </a:t>
            </a:r>
            <a:r>
              <a:rPr lang="de-DE" err="1">
                <a:latin typeface="Haffer"/>
                <a:cs typeface="Haffer"/>
              </a:rPr>
              <a:t>of</a:t>
            </a:r>
            <a:r>
              <a:rPr lang="de-DE">
                <a:latin typeface="Haffer"/>
                <a:cs typeface="Haffer"/>
              </a:rPr>
              <a:t> </a:t>
            </a:r>
            <a:r>
              <a:rPr lang="de-DE" err="1">
                <a:latin typeface="Haffer"/>
                <a:cs typeface="Haffer"/>
              </a:rPr>
              <a:t>electricity</a:t>
            </a:r>
            <a:r>
              <a:rPr lang="de-DE">
                <a:latin typeface="Haffer"/>
                <a:cs typeface="Haffer"/>
              </a:rPr>
              <a:t> </a:t>
            </a:r>
            <a:r>
              <a:rPr lang="de-DE" err="1">
                <a:latin typeface="Haffer"/>
                <a:cs typeface="Haffer"/>
              </a:rPr>
              <a:t>by</a:t>
            </a:r>
            <a:r>
              <a:rPr lang="de-DE">
                <a:latin typeface="Haffer"/>
                <a:cs typeface="Haffer"/>
              </a:rPr>
              <a:t> </a:t>
            </a:r>
            <a:r>
              <a:rPr lang="de-DE" err="1">
                <a:latin typeface="Haffer"/>
                <a:cs typeface="Haffer"/>
              </a:rPr>
              <a:t>companies</a:t>
            </a:r>
            <a:r>
              <a:rPr lang="de-DE">
                <a:latin typeface="Haffer"/>
                <a:cs typeface="Haffer"/>
              </a:rPr>
              <a:t> </a:t>
            </a:r>
            <a:r>
              <a:rPr lang="de-DE" err="1">
                <a:latin typeface="Haffer"/>
                <a:cs typeface="Haffer"/>
              </a:rPr>
              <a:t>through</a:t>
            </a:r>
            <a:r>
              <a:rPr lang="de-DE">
                <a:latin typeface="Haffer"/>
                <a:cs typeface="Haffer"/>
              </a:rPr>
              <a:t> PPAs</a:t>
            </a:r>
          </a:p>
        </p:txBody>
      </p:sp>
      <p:sp>
        <p:nvSpPr>
          <p:cNvPr id="3" name="Textplatzhalter 2">
            <a:extLst>
              <a:ext uri="{FF2B5EF4-FFF2-40B4-BE49-F238E27FC236}">
                <a16:creationId xmlns:a16="http://schemas.microsoft.com/office/drawing/2014/main" id="{A50C322C-7ADF-F49D-4253-2D2B5F5878A1}"/>
              </a:ext>
            </a:extLst>
          </p:cNvPr>
          <p:cNvSpPr>
            <a:spLocks noGrp="1"/>
          </p:cNvSpPr>
          <p:nvPr>
            <p:ph type="body" sz="quarter" idx="10"/>
          </p:nvPr>
        </p:nvSpPr>
        <p:spPr>
          <a:xfrm>
            <a:off x="959979" y="403514"/>
            <a:ext cx="10611984" cy="1320745"/>
          </a:xfrm>
        </p:spPr>
        <p:txBody>
          <a:bodyPr lIns="91440" tIns="45720" rIns="91440" bIns="45720" anchor="b"/>
          <a:lstStyle/>
          <a:p>
            <a:r>
              <a:rPr lang="de-DE">
                <a:latin typeface="Haffer"/>
                <a:cs typeface="Haffer"/>
              </a:rPr>
              <a:t>RE-100 </a:t>
            </a:r>
            <a:r>
              <a:rPr lang="de-DE" err="1">
                <a:latin typeface="Haffer"/>
                <a:cs typeface="Haffer"/>
              </a:rPr>
              <a:t>standards</a:t>
            </a:r>
            <a:r>
              <a:rPr lang="de-DE">
                <a:latin typeface="Haffer"/>
                <a:cs typeface="Haffer"/>
              </a:rPr>
              <a:t> in </a:t>
            </a:r>
            <a:r>
              <a:rPr lang="de-DE" err="1">
                <a:latin typeface="Haffer"/>
                <a:cs typeface="Haffer"/>
              </a:rPr>
              <a:t>context</a:t>
            </a:r>
            <a:r>
              <a:rPr lang="de-DE">
                <a:latin typeface="Haffer"/>
                <a:cs typeface="Haffer"/>
              </a:rPr>
              <a:t> </a:t>
            </a:r>
            <a:r>
              <a:rPr lang="de-DE" err="1">
                <a:latin typeface="Haffer"/>
                <a:cs typeface="Haffer"/>
              </a:rPr>
              <a:t>of</a:t>
            </a:r>
            <a:r>
              <a:rPr lang="de-DE">
                <a:latin typeface="Haffer"/>
                <a:cs typeface="Haffer"/>
              </a:rPr>
              <a:t> PPAs</a:t>
            </a:r>
            <a:endParaRPr lang="de-DE"/>
          </a:p>
        </p:txBody>
      </p:sp>
      <p:sp>
        <p:nvSpPr>
          <p:cNvPr id="5" name="Textplatzhalter 4">
            <a:extLst>
              <a:ext uri="{FF2B5EF4-FFF2-40B4-BE49-F238E27FC236}">
                <a16:creationId xmlns:a16="http://schemas.microsoft.com/office/drawing/2014/main" id="{03E60AF8-C4A6-4E64-D685-0D19B5A330A4}"/>
              </a:ext>
            </a:extLst>
          </p:cNvPr>
          <p:cNvSpPr>
            <a:spLocks noGrp="1"/>
          </p:cNvSpPr>
          <p:nvPr>
            <p:ph type="body" sz="quarter" idx="16"/>
          </p:nvPr>
        </p:nvSpPr>
        <p:spPr>
          <a:xfrm>
            <a:off x="959978" y="2072789"/>
            <a:ext cx="10604494" cy="4011613"/>
          </a:xfrm>
        </p:spPr>
        <p:txBody>
          <a:bodyPr lIns="91440" tIns="45720" rIns="91440" bIns="45720" anchor="t"/>
          <a:lstStyle/>
          <a:p>
            <a:r>
              <a:rPr lang="de-DE" b="1">
                <a:latin typeface="Haffer Light"/>
                <a:cs typeface="Haffer Light"/>
              </a:rPr>
              <a:t>Long-term </a:t>
            </a:r>
            <a:r>
              <a:rPr lang="de-DE" b="1" err="1">
                <a:latin typeface="Haffer Light"/>
                <a:cs typeface="Haffer Light"/>
              </a:rPr>
              <a:t>commitments</a:t>
            </a:r>
            <a:r>
              <a:rPr lang="de-DE" b="1">
                <a:latin typeface="Haffer Light"/>
                <a:cs typeface="Haffer Light"/>
              </a:rPr>
              <a:t>:</a:t>
            </a:r>
            <a:r>
              <a:rPr lang="de-DE">
                <a:latin typeface="Haffer Light"/>
                <a:cs typeface="Haffer Light"/>
              </a:rPr>
              <a:t> PPAs </a:t>
            </a:r>
            <a:r>
              <a:rPr lang="de-DE" err="1">
                <a:latin typeface="Haffer Light"/>
                <a:cs typeface="Haffer Light"/>
              </a:rPr>
              <a:t>should</a:t>
            </a:r>
            <a:r>
              <a:rPr lang="de-DE">
                <a:latin typeface="Haffer Light"/>
                <a:cs typeface="Haffer Light"/>
              </a:rPr>
              <a:t> </a:t>
            </a:r>
            <a:r>
              <a:rPr lang="de-DE" err="1">
                <a:latin typeface="Haffer Light"/>
                <a:cs typeface="Haffer Light"/>
              </a:rPr>
              <a:t>be</a:t>
            </a:r>
            <a:r>
              <a:rPr lang="de-DE">
                <a:latin typeface="Haffer Light"/>
                <a:cs typeface="Haffer Light"/>
              </a:rPr>
              <a:t> </a:t>
            </a:r>
            <a:r>
              <a:rPr lang="de-DE" err="1">
                <a:latin typeface="Haffer Light"/>
                <a:cs typeface="Haffer Light"/>
              </a:rPr>
              <a:t>set</a:t>
            </a:r>
            <a:r>
              <a:rPr lang="de-DE">
                <a:latin typeface="Haffer Light"/>
                <a:cs typeface="Haffer Light"/>
              </a:rPr>
              <a:t> </a:t>
            </a:r>
            <a:r>
              <a:rPr lang="de-DE" err="1">
                <a:latin typeface="Haffer Light"/>
                <a:cs typeface="Haffer Light"/>
              </a:rPr>
              <a:t>up</a:t>
            </a:r>
            <a:r>
              <a:rPr lang="de-DE">
                <a:latin typeface="Haffer Light"/>
                <a:cs typeface="Haffer Light"/>
              </a:rPr>
              <a:t> </a:t>
            </a:r>
            <a:r>
              <a:rPr lang="de-DE" err="1">
                <a:latin typeface="Haffer Light"/>
                <a:cs typeface="Haffer Light"/>
              </a:rPr>
              <a:t>for</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long</a:t>
            </a:r>
            <a:r>
              <a:rPr lang="de-DE">
                <a:latin typeface="Haffer Light"/>
                <a:cs typeface="Haffer Light"/>
              </a:rPr>
              <a:t> </a:t>
            </a:r>
            <a:r>
              <a:rPr lang="de-DE" err="1">
                <a:latin typeface="Haffer Light"/>
                <a:cs typeface="Haffer Light"/>
              </a:rPr>
              <a:t>term</a:t>
            </a:r>
            <a:r>
              <a:rPr lang="de-DE">
                <a:latin typeface="Haffer Light"/>
                <a:cs typeface="Haffer Light"/>
              </a:rPr>
              <a:t> </a:t>
            </a:r>
            <a:r>
              <a:rPr lang="de-DE" err="1">
                <a:latin typeface="Haffer Light"/>
                <a:cs typeface="Haffer Light"/>
              </a:rPr>
              <a:t>over</a:t>
            </a:r>
            <a:r>
              <a:rPr lang="de-DE">
                <a:latin typeface="Haffer Light"/>
                <a:cs typeface="Haffer Light"/>
              </a:rPr>
              <a:t> a </a:t>
            </a:r>
            <a:r>
              <a:rPr lang="de-DE" err="1">
                <a:latin typeface="Haffer Light"/>
                <a:cs typeface="Haffer Light"/>
              </a:rPr>
              <a:t>period</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approximately</a:t>
            </a:r>
            <a:r>
              <a:rPr lang="de-DE">
                <a:latin typeface="Haffer Light"/>
                <a:cs typeface="Haffer Light"/>
              </a:rPr>
              <a:t> 10 </a:t>
            </a:r>
            <a:r>
              <a:rPr lang="de-DE" err="1">
                <a:latin typeface="Haffer Light"/>
                <a:cs typeface="Haffer Light"/>
              </a:rPr>
              <a:t>to</a:t>
            </a:r>
            <a:r>
              <a:rPr lang="de-DE">
                <a:latin typeface="Haffer Light"/>
                <a:cs typeface="Haffer Light"/>
              </a:rPr>
              <a:t> 20 </a:t>
            </a:r>
            <a:r>
              <a:rPr lang="de-DE" err="1">
                <a:latin typeface="Haffer Light"/>
                <a:cs typeface="Haffer Light"/>
              </a:rPr>
              <a:t>years</a:t>
            </a:r>
            <a:r>
              <a:rPr lang="de-DE">
                <a:latin typeface="Haffer Light"/>
                <a:cs typeface="Haffer Light"/>
              </a:rPr>
              <a:t>. </a:t>
            </a:r>
            <a:endParaRPr lang="de-DE"/>
          </a:p>
          <a:p>
            <a:r>
              <a:rPr lang="de-DE" b="1" err="1">
                <a:latin typeface="Haffer Light"/>
                <a:cs typeface="Haffer Light"/>
              </a:rPr>
              <a:t>Additionality</a:t>
            </a:r>
            <a:r>
              <a:rPr lang="de-DE" b="1">
                <a:latin typeface="Haffer Light"/>
                <a:cs typeface="Haffer Light"/>
              </a:rPr>
              <a:t>:</a:t>
            </a:r>
            <a:r>
              <a:rPr lang="de-DE">
                <a:latin typeface="Haffer Light"/>
                <a:cs typeface="Haffer Light"/>
              </a:rPr>
              <a:t> PPAs </a:t>
            </a:r>
            <a:r>
              <a:rPr lang="de-DE" err="1">
                <a:latin typeface="Haffer Light"/>
                <a:cs typeface="Haffer Light"/>
              </a:rPr>
              <a:t>must</a:t>
            </a:r>
            <a:r>
              <a:rPr lang="de-DE">
                <a:latin typeface="Haffer Light"/>
                <a:cs typeface="Haffer Light"/>
              </a:rPr>
              <a:t> </a:t>
            </a:r>
            <a:r>
              <a:rPr lang="de-DE" err="1">
                <a:latin typeface="Haffer Light"/>
                <a:cs typeface="Haffer Light"/>
              </a:rPr>
              <a:t>contribute</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the</a:t>
            </a:r>
            <a:r>
              <a:rPr lang="de-DE">
                <a:latin typeface="Haffer Light"/>
                <a:cs typeface="Haffer Light"/>
              </a:rPr>
              <a:t> additional </a:t>
            </a:r>
            <a:r>
              <a:rPr lang="de-DE" err="1">
                <a:latin typeface="Haffer Light"/>
                <a:cs typeface="Haffer Light"/>
              </a:rPr>
              <a:t>generation</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energy</a:t>
            </a:r>
            <a:r>
              <a:rPr lang="de-DE">
                <a:latin typeface="Haffer Light"/>
                <a:cs typeface="Haffer Light"/>
              </a:rPr>
              <a:t>. The RE-100 </a:t>
            </a:r>
            <a:r>
              <a:rPr lang="de-DE" err="1">
                <a:latin typeface="Haffer Light"/>
                <a:cs typeface="Haffer Light"/>
              </a:rPr>
              <a:t>criteria</a:t>
            </a:r>
            <a:r>
              <a:rPr lang="de-DE">
                <a:latin typeface="Haffer Light"/>
                <a:cs typeface="Haffer Light"/>
              </a:rPr>
              <a:t> </a:t>
            </a:r>
            <a:r>
              <a:rPr lang="de-DE" err="1">
                <a:latin typeface="Haffer Light"/>
                <a:cs typeface="Haffer Light"/>
              </a:rPr>
              <a:t>require</a:t>
            </a:r>
            <a:r>
              <a:rPr lang="de-DE">
                <a:latin typeface="Haffer Light"/>
                <a:cs typeface="Haffer Light"/>
              </a:rPr>
              <a:t> </a:t>
            </a:r>
            <a:r>
              <a:rPr lang="de-DE" err="1">
                <a:latin typeface="Haffer Light"/>
                <a:cs typeface="Haffer Light"/>
              </a:rPr>
              <a:t>corporate</a:t>
            </a:r>
            <a:r>
              <a:rPr lang="de-DE">
                <a:latin typeface="Haffer Light"/>
                <a:cs typeface="Haffer Light"/>
              </a:rPr>
              <a:t> </a:t>
            </a:r>
            <a:r>
              <a:rPr lang="de-DE" err="1">
                <a:latin typeface="Haffer Light"/>
                <a:cs typeface="Haffer Light"/>
              </a:rPr>
              <a:t>buyers</a:t>
            </a:r>
            <a:r>
              <a:rPr lang="de-DE">
                <a:latin typeface="Haffer Light"/>
                <a:cs typeface="Haffer Light"/>
              </a:rPr>
              <a:t>’ </a:t>
            </a:r>
            <a:r>
              <a:rPr lang="de-DE" err="1">
                <a:latin typeface="Haffer Light"/>
                <a:cs typeface="Haffer Light"/>
              </a:rPr>
              <a:t>procurement</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electricity</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observe</a:t>
            </a:r>
            <a:r>
              <a:rPr lang="de-DE">
                <a:latin typeface="Haffer Light"/>
                <a:cs typeface="Haffer Light"/>
              </a:rPr>
              <a:t> a </a:t>
            </a:r>
            <a:r>
              <a:rPr lang="de-DE" err="1">
                <a:latin typeface="Haffer Light"/>
                <a:cs typeface="Haffer Light"/>
              </a:rPr>
              <a:t>fifteen-year</a:t>
            </a:r>
            <a:r>
              <a:rPr lang="de-DE">
                <a:latin typeface="Haffer Light"/>
                <a:cs typeface="Haffer Light"/>
              </a:rPr>
              <a:t> </a:t>
            </a:r>
            <a:r>
              <a:rPr lang="de-DE" err="1">
                <a:latin typeface="Haffer Light"/>
                <a:cs typeface="Haffer Light"/>
              </a:rPr>
              <a:t>commissioning</a:t>
            </a:r>
            <a:r>
              <a:rPr lang="de-DE">
                <a:latin typeface="Haffer Light"/>
                <a:cs typeface="Haffer Light"/>
              </a:rPr>
              <a:t> </a:t>
            </a:r>
            <a:r>
              <a:rPr lang="de-DE" err="1">
                <a:latin typeface="Haffer Light"/>
                <a:cs typeface="Haffer Light"/>
              </a:rPr>
              <a:t>or</a:t>
            </a:r>
            <a:r>
              <a:rPr lang="de-DE">
                <a:latin typeface="Haffer Light"/>
                <a:cs typeface="Haffer Light"/>
              </a:rPr>
              <a:t> </a:t>
            </a:r>
            <a:r>
              <a:rPr lang="de-DE" err="1">
                <a:latin typeface="Haffer Light"/>
                <a:cs typeface="Haffer Light"/>
              </a:rPr>
              <a:t>re-powering</a:t>
            </a:r>
            <a:r>
              <a:rPr lang="de-DE">
                <a:latin typeface="Haffer Light"/>
                <a:cs typeface="Haffer Light"/>
              </a:rPr>
              <a:t>  date </a:t>
            </a:r>
            <a:r>
              <a:rPr lang="de-DE" err="1">
                <a:latin typeface="Haffer Light"/>
                <a:cs typeface="Haffer Light"/>
              </a:rPr>
              <a:t>limit</a:t>
            </a:r>
            <a:r>
              <a:rPr lang="de-DE">
                <a:latin typeface="Haffer Light"/>
                <a:cs typeface="Haffer Light"/>
              </a:rPr>
              <a:t>. </a:t>
            </a:r>
            <a:endParaRPr lang="de-DE"/>
          </a:p>
          <a:p>
            <a:r>
              <a:rPr lang="de-DE" b="1" err="1">
                <a:latin typeface="Haffer Light"/>
                <a:cs typeface="Haffer Light"/>
              </a:rPr>
              <a:t>Renewable</a:t>
            </a:r>
            <a:r>
              <a:rPr lang="de-DE" b="1">
                <a:latin typeface="Haffer Light"/>
                <a:cs typeface="Haffer Light"/>
              </a:rPr>
              <a:t> </a:t>
            </a:r>
            <a:r>
              <a:rPr lang="de-DE" b="1" err="1">
                <a:latin typeface="Haffer Light"/>
                <a:cs typeface="Haffer Light"/>
              </a:rPr>
              <a:t>energy</a:t>
            </a:r>
            <a:r>
              <a:rPr lang="de-DE" b="1">
                <a:latin typeface="Haffer Light"/>
                <a:cs typeface="Haffer Light"/>
              </a:rPr>
              <a:t> </a:t>
            </a:r>
            <a:r>
              <a:rPr lang="de-DE" b="1" err="1">
                <a:latin typeface="Haffer Light"/>
                <a:cs typeface="Haffer Light"/>
              </a:rPr>
              <a:t>sources</a:t>
            </a:r>
            <a:r>
              <a:rPr lang="de-DE" b="1">
                <a:latin typeface="Haffer Light"/>
                <a:cs typeface="Haffer Light"/>
              </a:rPr>
              <a:t>:</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energy</a:t>
            </a:r>
            <a:r>
              <a:rPr lang="de-DE">
                <a:latin typeface="Haffer Light"/>
                <a:cs typeface="Haffer Light"/>
              </a:rPr>
              <a:t> </a:t>
            </a:r>
            <a:r>
              <a:rPr lang="de-DE" err="1">
                <a:latin typeface="Haffer Light"/>
                <a:cs typeface="Haffer Light"/>
              </a:rPr>
              <a:t>must</a:t>
            </a:r>
            <a:r>
              <a:rPr lang="de-DE">
                <a:latin typeface="Haffer Light"/>
                <a:cs typeface="Haffer Light"/>
              </a:rPr>
              <a:t> </a:t>
            </a:r>
            <a:r>
              <a:rPr lang="de-DE" err="1">
                <a:latin typeface="Haffer Light"/>
                <a:cs typeface="Haffer Light"/>
              </a:rPr>
              <a:t>come</a:t>
            </a:r>
            <a:r>
              <a:rPr lang="de-DE">
                <a:latin typeface="Haffer Light"/>
                <a:cs typeface="Haffer Light"/>
              </a:rPr>
              <a:t> </a:t>
            </a:r>
            <a:r>
              <a:rPr lang="de-DE" err="1">
                <a:latin typeface="Haffer Light"/>
                <a:cs typeface="Haffer Light"/>
              </a:rPr>
              <a:t>from</a:t>
            </a:r>
            <a:r>
              <a:rPr lang="de-DE">
                <a:latin typeface="Haffer Light"/>
                <a:cs typeface="Haffer Light"/>
              </a:rPr>
              <a:t> </a:t>
            </a:r>
            <a:r>
              <a:rPr lang="de-DE" err="1">
                <a:latin typeface="Haffer Light"/>
                <a:cs typeface="Haffer Light"/>
              </a:rPr>
              <a:t>recognised</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sources</a:t>
            </a:r>
            <a:r>
              <a:rPr lang="de-DE">
                <a:latin typeface="Haffer Light"/>
                <a:cs typeface="Haffer Light"/>
              </a:rPr>
              <a:t>, such </a:t>
            </a:r>
            <a:r>
              <a:rPr lang="de-DE" err="1">
                <a:latin typeface="Haffer Light"/>
                <a:cs typeface="Haffer Light"/>
              </a:rPr>
              <a:t>as</a:t>
            </a:r>
            <a:r>
              <a:rPr lang="de-DE">
                <a:latin typeface="Haffer Light"/>
                <a:cs typeface="Haffer Light"/>
              </a:rPr>
              <a:t> solar, wind, </a:t>
            </a:r>
            <a:r>
              <a:rPr lang="de-DE" err="1">
                <a:latin typeface="Haffer Light"/>
                <a:cs typeface="Haffer Light"/>
              </a:rPr>
              <a:t>hydro</a:t>
            </a:r>
            <a:r>
              <a:rPr lang="de-DE">
                <a:latin typeface="Haffer Light"/>
                <a:cs typeface="Haffer Light"/>
              </a:rPr>
              <a:t> </a:t>
            </a:r>
            <a:r>
              <a:rPr lang="de-DE" err="1">
                <a:latin typeface="Haffer Light"/>
                <a:cs typeface="Haffer Light"/>
              </a:rPr>
              <a:t>or</a:t>
            </a:r>
            <a:r>
              <a:rPr lang="de-DE">
                <a:latin typeface="Haffer Light"/>
                <a:cs typeface="Haffer Light"/>
              </a:rPr>
              <a:t> </a:t>
            </a:r>
            <a:r>
              <a:rPr lang="de-DE" err="1">
                <a:latin typeface="Haffer Light"/>
                <a:cs typeface="Haffer Light"/>
              </a:rPr>
              <a:t>biomass</a:t>
            </a:r>
            <a:r>
              <a:rPr lang="de-DE">
                <a:latin typeface="Haffer Light"/>
                <a:cs typeface="Haffer Light"/>
              </a:rPr>
              <a:t> </a:t>
            </a:r>
            <a:r>
              <a:rPr lang="de-DE" err="1">
                <a:latin typeface="Haffer Light"/>
                <a:cs typeface="Haffer Light"/>
              </a:rPr>
              <a:t>energy</a:t>
            </a:r>
            <a:r>
              <a:rPr lang="de-DE">
                <a:latin typeface="Haffer Light"/>
                <a:cs typeface="Haffer Light"/>
              </a:rPr>
              <a:t>.</a:t>
            </a:r>
          </a:p>
          <a:p>
            <a:r>
              <a:rPr lang="de-DE" err="1">
                <a:latin typeface="Haffer Light"/>
                <a:cs typeface="Haffer Light"/>
              </a:rPr>
              <a:t>T</a:t>
            </a:r>
            <a:r>
              <a:rPr lang="de-DE" b="1" err="1">
                <a:latin typeface="Haffer Light"/>
                <a:cs typeface="Haffer Light"/>
              </a:rPr>
              <a:t>raceability</a:t>
            </a:r>
            <a:r>
              <a:rPr lang="de-DE" b="1">
                <a:latin typeface="Haffer Light"/>
                <a:cs typeface="Haffer Light"/>
              </a:rPr>
              <a:t> and </a:t>
            </a:r>
            <a:r>
              <a:rPr lang="de-DE" b="1" err="1">
                <a:latin typeface="Haffer Light"/>
                <a:cs typeface="Haffer Light"/>
              </a:rPr>
              <a:t>certification</a:t>
            </a:r>
            <a:r>
              <a:rPr lang="de-DE" b="1">
                <a:latin typeface="Haffer Light"/>
                <a:cs typeface="Haffer Light"/>
              </a:rPr>
              <a:t>:</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electricity</a:t>
            </a:r>
            <a:r>
              <a:rPr lang="de-DE">
                <a:latin typeface="Haffer Light"/>
                <a:cs typeface="Haffer Light"/>
              </a:rPr>
              <a:t> </a:t>
            </a:r>
            <a:r>
              <a:rPr lang="de-DE" err="1">
                <a:latin typeface="Haffer Light"/>
                <a:cs typeface="Haffer Light"/>
              </a:rPr>
              <a:t>generated</a:t>
            </a:r>
            <a:r>
              <a:rPr lang="de-DE">
                <a:latin typeface="Haffer Light"/>
                <a:cs typeface="Haffer Light"/>
              </a:rPr>
              <a:t> </a:t>
            </a:r>
            <a:r>
              <a:rPr lang="de-DE" err="1">
                <a:latin typeface="Haffer Light"/>
                <a:cs typeface="Haffer Light"/>
              </a:rPr>
              <a:t>must</a:t>
            </a:r>
            <a:r>
              <a:rPr lang="de-DE">
                <a:latin typeface="Haffer Light"/>
                <a:cs typeface="Haffer Light"/>
              </a:rPr>
              <a:t> </a:t>
            </a:r>
            <a:r>
              <a:rPr lang="de-DE" err="1">
                <a:latin typeface="Haffer Light"/>
                <a:cs typeface="Haffer Light"/>
              </a:rPr>
              <a:t>be</a:t>
            </a:r>
            <a:r>
              <a:rPr lang="de-DE">
                <a:latin typeface="Haffer Light"/>
                <a:cs typeface="Haffer Light"/>
              </a:rPr>
              <a:t> </a:t>
            </a:r>
            <a:r>
              <a:rPr lang="de-DE" err="1">
                <a:latin typeface="Haffer Light"/>
                <a:cs typeface="Haffer Light"/>
              </a:rPr>
              <a:t>clearly</a:t>
            </a:r>
            <a:r>
              <a:rPr lang="de-DE">
                <a:latin typeface="Haffer Light"/>
                <a:cs typeface="Haffer Light"/>
              </a:rPr>
              <a:t> </a:t>
            </a:r>
            <a:r>
              <a:rPr lang="de-DE" err="1">
                <a:latin typeface="Haffer Light"/>
                <a:cs typeface="Haffer Light"/>
              </a:rPr>
              <a:t>identifiable</a:t>
            </a:r>
            <a:r>
              <a:rPr lang="de-DE">
                <a:latin typeface="Haffer Light"/>
                <a:cs typeface="Haffer Light"/>
              </a:rPr>
              <a:t> and </a:t>
            </a:r>
            <a:r>
              <a:rPr lang="de-DE" err="1">
                <a:latin typeface="Haffer Light"/>
                <a:cs typeface="Haffer Light"/>
              </a:rPr>
              <a:t>traceable</a:t>
            </a:r>
            <a:r>
              <a:rPr lang="de-DE">
                <a:latin typeface="Haffer Light"/>
                <a:cs typeface="Haffer Light"/>
              </a:rPr>
              <a:t> </a:t>
            </a:r>
            <a:r>
              <a:rPr lang="de-DE" err="1">
                <a:latin typeface="Haffer Light"/>
                <a:cs typeface="Haffer Light"/>
              </a:rPr>
              <a:t>as</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energy</a:t>
            </a:r>
            <a:r>
              <a:rPr lang="de-DE">
                <a:latin typeface="Haffer Light"/>
                <a:cs typeface="Haffer Light"/>
              </a:rPr>
              <a:t> </a:t>
            </a:r>
            <a:r>
              <a:rPr lang="de-DE" err="1">
                <a:latin typeface="Haffer Light"/>
                <a:cs typeface="Haffer Light"/>
              </a:rPr>
              <a:t>by</a:t>
            </a:r>
            <a:r>
              <a:rPr lang="de-DE">
                <a:latin typeface="Haffer Light"/>
                <a:cs typeface="Haffer Light"/>
              </a:rPr>
              <a:t> GOs.</a:t>
            </a:r>
          </a:p>
          <a:p>
            <a:r>
              <a:rPr lang="de-DE" b="1" err="1">
                <a:latin typeface="Haffer Light"/>
                <a:cs typeface="Haffer Light"/>
              </a:rPr>
              <a:t>Direct</a:t>
            </a:r>
            <a:r>
              <a:rPr lang="de-DE" b="1">
                <a:latin typeface="Haffer Light"/>
                <a:cs typeface="Haffer Light"/>
              </a:rPr>
              <a:t> </a:t>
            </a:r>
            <a:r>
              <a:rPr lang="de-DE" b="1" err="1">
                <a:latin typeface="Haffer Light"/>
                <a:cs typeface="Haffer Light"/>
              </a:rPr>
              <a:t>supply</a:t>
            </a:r>
            <a:r>
              <a:rPr lang="de-DE" b="1">
                <a:latin typeface="Haffer Light"/>
                <a:cs typeface="Haffer Light"/>
              </a:rPr>
              <a:t> </a:t>
            </a:r>
            <a:r>
              <a:rPr lang="de-DE" b="1" err="1">
                <a:latin typeface="Haffer Light"/>
                <a:cs typeface="Haffer Light"/>
              </a:rPr>
              <a:t>relationships</a:t>
            </a:r>
            <a:r>
              <a:rPr lang="de-DE" b="1">
                <a:latin typeface="Haffer Light"/>
                <a:cs typeface="Haffer Light"/>
              </a:rPr>
              <a:t>:</a:t>
            </a:r>
            <a:r>
              <a:rPr lang="de-DE">
                <a:latin typeface="Haffer Light"/>
                <a:cs typeface="Haffer Light"/>
              </a:rPr>
              <a:t> On-site </a:t>
            </a:r>
            <a:r>
              <a:rPr lang="de-DE" err="1">
                <a:latin typeface="Haffer Light"/>
                <a:cs typeface="Haffer Light"/>
              </a:rPr>
              <a:t>or</a:t>
            </a:r>
            <a:r>
              <a:rPr lang="de-DE">
                <a:latin typeface="Haffer Light"/>
                <a:cs typeface="Haffer Light"/>
              </a:rPr>
              <a:t> </a:t>
            </a:r>
            <a:r>
              <a:rPr lang="de-DE" err="1">
                <a:latin typeface="Haffer Light"/>
                <a:cs typeface="Haffer Light"/>
              </a:rPr>
              <a:t>physical</a:t>
            </a:r>
            <a:r>
              <a:rPr lang="de-DE">
                <a:latin typeface="Haffer Light"/>
                <a:cs typeface="Haffer Light"/>
              </a:rPr>
              <a:t> PPAs. Virtual PPAs </a:t>
            </a:r>
            <a:r>
              <a:rPr lang="de-DE" err="1">
                <a:latin typeface="Haffer Light"/>
                <a:cs typeface="Haffer Light"/>
              </a:rPr>
              <a:t>can</a:t>
            </a:r>
            <a:r>
              <a:rPr lang="de-DE">
                <a:latin typeface="Haffer Light"/>
                <a:cs typeface="Haffer Light"/>
              </a:rPr>
              <a:t> </a:t>
            </a:r>
            <a:r>
              <a:rPr lang="de-DE" err="1">
                <a:latin typeface="Haffer Light"/>
                <a:cs typeface="Haffer Light"/>
              </a:rPr>
              <a:t>be</a:t>
            </a:r>
            <a:r>
              <a:rPr lang="de-DE">
                <a:latin typeface="Haffer Light"/>
                <a:cs typeface="Haffer Light"/>
              </a:rPr>
              <a:t> </a:t>
            </a:r>
            <a:r>
              <a:rPr lang="de-DE" err="1">
                <a:latin typeface="Haffer Light"/>
                <a:cs typeface="Haffer Light"/>
              </a:rPr>
              <a:t>recognised</a:t>
            </a:r>
            <a:r>
              <a:rPr lang="de-DE">
                <a:latin typeface="Haffer Light"/>
                <a:cs typeface="Haffer Light"/>
              </a:rPr>
              <a:t> </a:t>
            </a:r>
            <a:r>
              <a:rPr lang="de-DE" err="1">
                <a:latin typeface="Haffer Light"/>
                <a:cs typeface="Haffer Light"/>
              </a:rPr>
              <a:t>only</a:t>
            </a:r>
            <a:r>
              <a:rPr lang="de-DE">
                <a:latin typeface="Haffer Light"/>
                <a:cs typeface="Haffer Light"/>
              </a:rPr>
              <a:t> </a:t>
            </a:r>
            <a:r>
              <a:rPr lang="de-DE" err="1">
                <a:latin typeface="Haffer Light"/>
                <a:cs typeface="Haffer Light"/>
              </a:rPr>
              <a:t>when</a:t>
            </a:r>
            <a:r>
              <a:rPr lang="de-DE">
                <a:latin typeface="Haffer Light"/>
                <a:cs typeface="Haffer Light"/>
              </a:rPr>
              <a:t> </a:t>
            </a:r>
            <a:r>
              <a:rPr lang="de-DE" err="1">
                <a:latin typeface="Haffer Light"/>
                <a:cs typeface="Haffer Light"/>
              </a:rPr>
              <a:t>the</a:t>
            </a:r>
            <a:r>
              <a:rPr lang="de-DE">
                <a:latin typeface="Haffer Light"/>
                <a:cs typeface="Haffer Light"/>
              </a:rPr>
              <a:t> virtual PPA </a:t>
            </a:r>
            <a:r>
              <a:rPr lang="de-DE" err="1">
                <a:latin typeface="Haffer Light"/>
                <a:cs typeface="Haffer Light"/>
              </a:rPr>
              <a:t>is</a:t>
            </a:r>
            <a:r>
              <a:rPr lang="de-DE">
                <a:latin typeface="Haffer Light"/>
                <a:cs typeface="Haffer Light"/>
              </a:rPr>
              <a:t> </a:t>
            </a:r>
            <a:r>
              <a:rPr lang="de-DE" err="1">
                <a:latin typeface="Haffer Light"/>
                <a:cs typeface="Haffer Light"/>
              </a:rPr>
              <a:t>used</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make</a:t>
            </a:r>
            <a:r>
              <a:rPr lang="de-DE">
                <a:latin typeface="Haffer Light"/>
                <a:cs typeface="Haffer Light"/>
              </a:rPr>
              <a:t> </a:t>
            </a:r>
            <a:r>
              <a:rPr lang="de-DE" err="1">
                <a:latin typeface="Haffer Light"/>
                <a:cs typeface="Haffer Light"/>
              </a:rPr>
              <a:t>claims</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use</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electricity</a:t>
            </a:r>
            <a:r>
              <a:rPr lang="de-DE">
                <a:latin typeface="Haffer Light"/>
                <a:cs typeface="Haffer Light"/>
              </a:rPr>
              <a:t> </a:t>
            </a:r>
            <a:r>
              <a:rPr lang="de-DE" err="1">
                <a:latin typeface="Haffer Light"/>
                <a:cs typeface="Haffer Light"/>
              </a:rPr>
              <a:t>which</a:t>
            </a:r>
            <a:r>
              <a:rPr lang="de-DE">
                <a:latin typeface="Haffer Light"/>
                <a:cs typeface="Haffer Light"/>
              </a:rPr>
              <a:t> </a:t>
            </a:r>
            <a:r>
              <a:rPr lang="de-DE" err="1">
                <a:latin typeface="Haffer Light"/>
                <a:cs typeface="Haffer Light"/>
              </a:rPr>
              <a:t>observes</a:t>
            </a:r>
            <a:r>
              <a:rPr lang="de-DE">
                <a:latin typeface="Haffer Light"/>
                <a:cs typeface="Haffer Light"/>
              </a:rPr>
              <a:t> </a:t>
            </a:r>
            <a:r>
              <a:rPr lang="de-DE" err="1">
                <a:latin typeface="Haffer Light"/>
                <a:cs typeface="Haffer Light"/>
              </a:rPr>
              <a:t>market</a:t>
            </a:r>
            <a:r>
              <a:rPr lang="de-DE">
                <a:latin typeface="Haffer Light"/>
                <a:cs typeface="Haffer Light"/>
              </a:rPr>
              <a:t> </a:t>
            </a:r>
            <a:r>
              <a:rPr lang="de-DE" err="1">
                <a:latin typeface="Haffer Light"/>
                <a:cs typeface="Haffer Light"/>
              </a:rPr>
              <a:t>boundaries</a:t>
            </a:r>
            <a:r>
              <a:rPr lang="de-DE">
                <a:latin typeface="Haffer Light"/>
                <a:cs typeface="Haffer Light"/>
              </a:rPr>
              <a:t>.</a:t>
            </a:r>
          </a:p>
        </p:txBody>
      </p:sp>
    </p:spTree>
    <p:extLst>
      <p:ext uri="{BB962C8B-B14F-4D97-AF65-F5344CB8AC3E}">
        <p14:creationId xmlns:p14="http://schemas.microsoft.com/office/powerpoint/2010/main" val="5263278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94EEAE3-5111-01CD-DE79-E696990F79E3}"/>
              </a:ext>
            </a:extLst>
          </p:cNvPr>
          <p:cNvSpPr>
            <a:spLocks noGrp="1"/>
          </p:cNvSpPr>
          <p:nvPr>
            <p:ph type="body" sz="quarter" idx="10"/>
          </p:nvPr>
        </p:nvSpPr>
        <p:spPr>
          <a:xfrm>
            <a:off x="1039878" y="2513995"/>
            <a:ext cx="6380163" cy="1239102"/>
          </a:xfrm>
        </p:spPr>
        <p:txBody>
          <a:bodyPr/>
          <a:lstStyle/>
          <a:p>
            <a:r>
              <a:rPr lang="fi-FI" err="1"/>
              <a:t>Guarantees</a:t>
            </a:r>
            <a:r>
              <a:rPr lang="fi-FI"/>
              <a:t> of </a:t>
            </a:r>
            <a:r>
              <a:rPr lang="fi-FI" err="1"/>
              <a:t>Origin</a:t>
            </a:r>
            <a:r>
              <a:rPr lang="fi-FI"/>
              <a:t> in </a:t>
            </a:r>
            <a:r>
              <a:rPr lang="fi-FI" err="1"/>
              <a:t>sustainability</a:t>
            </a:r>
            <a:r>
              <a:rPr lang="fi-FI"/>
              <a:t> </a:t>
            </a:r>
            <a:r>
              <a:rPr lang="fi-FI" err="1"/>
              <a:t>reporting</a:t>
            </a:r>
            <a:endParaRPr lang="en-FI"/>
          </a:p>
        </p:txBody>
      </p:sp>
      <p:pic>
        <p:nvPicPr>
          <p:cNvPr id="9" name="Picture Placeholder 8" descr="Wind turbines at sunset">
            <a:extLst>
              <a:ext uri="{FF2B5EF4-FFF2-40B4-BE49-F238E27FC236}">
                <a16:creationId xmlns:a16="http://schemas.microsoft.com/office/drawing/2014/main" id="{8CC5707E-B04A-43CD-D682-158584B52A2E}"/>
              </a:ext>
            </a:extLst>
          </p:cNvPr>
          <p:cNvPicPr>
            <a:picLocks noGrp="1" noChangeAspect="1"/>
          </p:cNvPicPr>
          <p:nvPr>
            <p:ph type="pic" sz="quarter" idx="13"/>
          </p:nvPr>
        </p:nvPicPr>
        <p:blipFill>
          <a:blip r:embed="rId3"/>
          <a:srcRect l="21040" r="21040"/>
          <a:stretch>
            <a:fillRect/>
          </a:stretch>
        </p:blipFill>
        <p:spPr/>
      </p:pic>
      <p:sp>
        <p:nvSpPr>
          <p:cNvPr id="7" name="Text Placeholder 6">
            <a:extLst>
              <a:ext uri="{FF2B5EF4-FFF2-40B4-BE49-F238E27FC236}">
                <a16:creationId xmlns:a16="http://schemas.microsoft.com/office/drawing/2014/main" id="{3CC097E6-A0FD-A32E-AF8E-2AFD357F6C43}"/>
              </a:ext>
            </a:extLst>
          </p:cNvPr>
          <p:cNvSpPr>
            <a:spLocks noGrp="1"/>
          </p:cNvSpPr>
          <p:nvPr>
            <p:ph type="body" sz="quarter" idx="16"/>
          </p:nvPr>
        </p:nvSpPr>
        <p:spPr>
          <a:xfrm>
            <a:off x="1039878" y="3987688"/>
            <a:ext cx="4277849" cy="1898207"/>
          </a:xfrm>
        </p:spPr>
        <p:txBody>
          <a:bodyPr/>
          <a:lstStyle/>
          <a:p>
            <a:pPr marL="0" indent="0">
              <a:buNone/>
            </a:pPr>
            <a:r>
              <a:rPr lang="fi-FI"/>
              <a:t>Laura Malinen</a:t>
            </a:r>
          </a:p>
          <a:p>
            <a:pPr marL="0" indent="0">
              <a:buNone/>
            </a:pPr>
            <a:r>
              <a:rPr lang="fi-FI"/>
              <a:t>Market </a:t>
            </a:r>
            <a:r>
              <a:rPr lang="fi-FI" err="1"/>
              <a:t>Manager</a:t>
            </a:r>
            <a:r>
              <a:rPr lang="fi-FI"/>
              <a:t>, </a:t>
            </a:r>
            <a:r>
              <a:rPr lang="fi-FI" err="1"/>
              <a:t>Guarantees</a:t>
            </a:r>
            <a:r>
              <a:rPr lang="fi-FI"/>
              <a:t> of </a:t>
            </a:r>
            <a:r>
              <a:rPr lang="fi-FI" err="1"/>
              <a:t>Origin</a:t>
            </a:r>
            <a:endParaRPr lang="fi-FI"/>
          </a:p>
          <a:p>
            <a:pPr marL="0" indent="0">
              <a:buNone/>
            </a:pPr>
            <a:r>
              <a:rPr lang="fi-FI"/>
              <a:t>Montel </a:t>
            </a:r>
            <a:r>
              <a:rPr lang="fi-FI" err="1"/>
              <a:t>Match</a:t>
            </a:r>
            <a:endParaRPr lang="fi-FI"/>
          </a:p>
        </p:txBody>
      </p:sp>
    </p:spTree>
    <p:extLst>
      <p:ext uri="{BB962C8B-B14F-4D97-AF65-F5344CB8AC3E}">
        <p14:creationId xmlns:p14="http://schemas.microsoft.com/office/powerpoint/2010/main" val="3755715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Graph">
            <a:extLst>
              <a:ext uri="{FF2B5EF4-FFF2-40B4-BE49-F238E27FC236}">
                <a16:creationId xmlns:a16="http://schemas.microsoft.com/office/drawing/2014/main" id="{EF0379B7-E631-F54F-2179-0DF1B459144E}"/>
              </a:ext>
            </a:extLst>
          </p:cNvPr>
          <p:cNvPicPr>
            <a:picLocks noGrp="1" noChangeAspect="1"/>
          </p:cNvPicPr>
          <p:nvPr>
            <p:ph type="pic" sz="quarter" idx="14"/>
          </p:nvPr>
        </p:nvPicPr>
        <p:blipFill>
          <a:blip r:embed="rId3"/>
          <a:srcRect l="27778" r="27778"/>
          <a:stretch/>
        </p:blipFill>
        <p:spPr>
          <a:noFill/>
        </p:spPr>
      </p:pic>
      <p:sp>
        <p:nvSpPr>
          <p:cNvPr id="5" name="Text Placeholder 4">
            <a:extLst>
              <a:ext uri="{FF2B5EF4-FFF2-40B4-BE49-F238E27FC236}">
                <a16:creationId xmlns:a16="http://schemas.microsoft.com/office/drawing/2014/main" id="{9FBAEFBC-4365-02FD-82DB-E6666A7ADF32}"/>
              </a:ext>
            </a:extLst>
          </p:cNvPr>
          <p:cNvSpPr>
            <a:spLocks noGrp="1"/>
          </p:cNvSpPr>
          <p:nvPr>
            <p:ph type="body" sz="quarter" idx="10"/>
          </p:nvPr>
        </p:nvSpPr>
        <p:spPr/>
        <p:txBody>
          <a:bodyPr anchor="b">
            <a:normAutofit fontScale="85000" lnSpcReduction="10000"/>
          </a:bodyPr>
          <a:lstStyle/>
          <a:p>
            <a:r>
              <a:rPr lang="fi-FI"/>
              <a:t>A market based instrument for green transition</a:t>
            </a:r>
            <a:endParaRPr lang="en-FI"/>
          </a:p>
        </p:txBody>
      </p:sp>
      <p:sp>
        <p:nvSpPr>
          <p:cNvPr id="7" name="Text Placeholder 6">
            <a:extLst>
              <a:ext uri="{FF2B5EF4-FFF2-40B4-BE49-F238E27FC236}">
                <a16:creationId xmlns:a16="http://schemas.microsoft.com/office/drawing/2014/main" id="{FD29EB99-A787-C0BB-3F48-22C6A62062E2}"/>
              </a:ext>
            </a:extLst>
          </p:cNvPr>
          <p:cNvSpPr>
            <a:spLocks noGrp="1"/>
          </p:cNvSpPr>
          <p:nvPr>
            <p:ph type="body" sz="quarter" idx="16"/>
          </p:nvPr>
        </p:nvSpPr>
        <p:spPr>
          <a:xfrm>
            <a:off x="5633578" y="1852551"/>
            <a:ext cx="5694362" cy="4584825"/>
          </a:xfrm>
        </p:spPr>
        <p:txBody>
          <a:bodyPr>
            <a:noAutofit/>
          </a:bodyPr>
          <a:lstStyle/>
          <a:p>
            <a:r>
              <a:rPr lang="fi-FI" sz="2400" err="1"/>
              <a:t>The</a:t>
            </a:r>
            <a:r>
              <a:rPr lang="fi-FI" sz="2400"/>
              <a:t> </a:t>
            </a:r>
            <a:r>
              <a:rPr lang="fi-FI" sz="2400" err="1"/>
              <a:t>only</a:t>
            </a:r>
            <a:r>
              <a:rPr lang="fi-FI" sz="2400"/>
              <a:t> </a:t>
            </a:r>
            <a:r>
              <a:rPr lang="fi-FI" sz="2400" err="1"/>
              <a:t>way</a:t>
            </a:r>
            <a:r>
              <a:rPr lang="fi-FI" sz="2400"/>
              <a:t> to </a:t>
            </a:r>
            <a:r>
              <a:rPr lang="fi-FI" sz="2400" err="1"/>
              <a:t>make</a:t>
            </a:r>
            <a:r>
              <a:rPr lang="fi-FI" sz="2400"/>
              <a:t> </a:t>
            </a:r>
            <a:r>
              <a:rPr lang="fi-FI" sz="2400" err="1"/>
              <a:t>renewable</a:t>
            </a:r>
            <a:r>
              <a:rPr lang="fi-FI" sz="2400"/>
              <a:t> </a:t>
            </a:r>
            <a:r>
              <a:rPr lang="fi-FI" sz="2400" err="1"/>
              <a:t>claims</a:t>
            </a:r>
            <a:r>
              <a:rPr lang="fi-FI" sz="2400"/>
              <a:t> in </a:t>
            </a:r>
            <a:r>
              <a:rPr lang="fi-FI" sz="2400" err="1"/>
              <a:t>the</a:t>
            </a:r>
            <a:r>
              <a:rPr lang="fi-FI" sz="2400"/>
              <a:t> EEA</a:t>
            </a:r>
          </a:p>
          <a:p>
            <a:r>
              <a:rPr lang="fi-FI" sz="2400" err="1"/>
              <a:t>Book</a:t>
            </a:r>
            <a:r>
              <a:rPr lang="fi-FI" sz="2400"/>
              <a:t> and </a:t>
            </a:r>
            <a:r>
              <a:rPr lang="fi-FI" sz="2400" err="1"/>
              <a:t>claim</a:t>
            </a:r>
            <a:r>
              <a:rPr lang="fi-FI" sz="2400"/>
              <a:t> </a:t>
            </a:r>
            <a:r>
              <a:rPr lang="fi-FI" sz="2400" err="1"/>
              <a:t>system</a:t>
            </a:r>
            <a:r>
              <a:rPr lang="fi-FI" sz="2400"/>
              <a:t> </a:t>
            </a:r>
          </a:p>
          <a:p>
            <a:r>
              <a:rPr lang="fi-FI" sz="2400" err="1"/>
              <a:t>Subject</a:t>
            </a:r>
            <a:r>
              <a:rPr lang="fi-FI" sz="2400"/>
              <a:t> to European and </a:t>
            </a:r>
            <a:r>
              <a:rPr lang="fi-FI" sz="2400" err="1"/>
              <a:t>national</a:t>
            </a:r>
            <a:r>
              <a:rPr lang="fi-FI" sz="2400"/>
              <a:t> </a:t>
            </a:r>
            <a:r>
              <a:rPr lang="fi-FI" sz="2400" err="1"/>
              <a:t>regulation</a:t>
            </a:r>
            <a:endParaRPr lang="fi-FI" sz="2400"/>
          </a:p>
          <a:p>
            <a:pPr lvl="1"/>
            <a:r>
              <a:rPr lang="en-GB" sz="2400"/>
              <a:t>Renewable Energy Directive III </a:t>
            </a:r>
          </a:p>
          <a:p>
            <a:pPr lvl="1"/>
            <a:r>
              <a:rPr lang="en-GB" sz="2400"/>
              <a:t>Renewable Fuels of Non-Biological Origin (RFNBO)</a:t>
            </a:r>
          </a:p>
          <a:p>
            <a:r>
              <a:rPr lang="fi-FI" sz="2400" err="1"/>
              <a:t>Traded</a:t>
            </a:r>
            <a:endParaRPr lang="fi-FI" sz="2400"/>
          </a:p>
          <a:p>
            <a:pPr lvl="1"/>
            <a:r>
              <a:rPr lang="fi-FI" sz="2400" err="1"/>
              <a:t>Mostly</a:t>
            </a:r>
            <a:r>
              <a:rPr lang="fi-FI" sz="2400"/>
              <a:t> </a:t>
            </a:r>
            <a:r>
              <a:rPr lang="fi-FI" sz="2400" err="1"/>
              <a:t>Over</a:t>
            </a:r>
            <a:r>
              <a:rPr lang="fi-FI" sz="2400"/>
              <a:t> </a:t>
            </a:r>
            <a:r>
              <a:rPr lang="fi-FI" sz="2400" err="1"/>
              <a:t>The</a:t>
            </a:r>
            <a:r>
              <a:rPr lang="fi-FI" sz="2400"/>
              <a:t> </a:t>
            </a:r>
            <a:r>
              <a:rPr lang="fi-FI" sz="2400" err="1"/>
              <a:t>Counter</a:t>
            </a:r>
            <a:endParaRPr lang="fi-FI" sz="2400"/>
          </a:p>
          <a:p>
            <a:pPr lvl="1"/>
            <a:r>
              <a:rPr lang="fi-FI" sz="2400" err="1"/>
              <a:t>Also</a:t>
            </a:r>
            <a:r>
              <a:rPr lang="fi-FI" sz="2400"/>
              <a:t> </a:t>
            </a:r>
            <a:r>
              <a:rPr lang="fi-FI" sz="2400" err="1"/>
              <a:t>primary</a:t>
            </a:r>
            <a:r>
              <a:rPr lang="fi-FI" sz="2400"/>
              <a:t> and </a:t>
            </a:r>
            <a:r>
              <a:rPr lang="fi-FI" sz="2400" err="1"/>
              <a:t>secondary</a:t>
            </a:r>
            <a:r>
              <a:rPr lang="fi-FI" sz="2400"/>
              <a:t> </a:t>
            </a:r>
            <a:r>
              <a:rPr lang="fi-FI" sz="2400" err="1"/>
              <a:t>auctions</a:t>
            </a:r>
            <a:endParaRPr lang="fi-FI" sz="2400"/>
          </a:p>
        </p:txBody>
      </p:sp>
    </p:spTree>
    <p:extLst>
      <p:ext uri="{BB962C8B-B14F-4D97-AF65-F5344CB8AC3E}">
        <p14:creationId xmlns:p14="http://schemas.microsoft.com/office/powerpoint/2010/main" val="3325902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67FC5ED-C7D6-E9C0-6EA7-D353F725049B}"/>
              </a:ext>
            </a:extLst>
          </p:cNvPr>
          <p:cNvSpPr>
            <a:spLocks noGrp="1"/>
          </p:cNvSpPr>
          <p:nvPr>
            <p:ph type="body" sz="quarter" idx="10"/>
          </p:nvPr>
        </p:nvSpPr>
        <p:spPr>
          <a:xfrm>
            <a:off x="959978" y="301994"/>
            <a:ext cx="8471189" cy="1239102"/>
          </a:xfrm>
        </p:spPr>
        <p:txBody>
          <a:bodyPr/>
          <a:lstStyle/>
          <a:p>
            <a:r>
              <a:rPr lang="fi-FI"/>
              <a:t>Life of a GO </a:t>
            </a:r>
            <a:r>
              <a:rPr lang="fi-FI" err="1"/>
              <a:t>according</a:t>
            </a:r>
            <a:r>
              <a:rPr lang="fi-FI"/>
              <a:t> to REDIII</a:t>
            </a:r>
            <a:endParaRPr lang="en-FI"/>
          </a:p>
        </p:txBody>
      </p:sp>
      <p:graphicFrame>
        <p:nvGraphicFramePr>
          <p:cNvPr id="5" name="Diagram 4">
            <a:extLst>
              <a:ext uri="{FF2B5EF4-FFF2-40B4-BE49-F238E27FC236}">
                <a16:creationId xmlns:a16="http://schemas.microsoft.com/office/drawing/2014/main" id="{D0133A4B-25EB-3A15-9FC2-085BF79468D8}"/>
              </a:ext>
            </a:extLst>
          </p:cNvPr>
          <p:cNvGraphicFramePr/>
          <p:nvPr/>
        </p:nvGraphicFramePr>
        <p:xfrm>
          <a:off x="959978" y="1439333"/>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90134627-F007-9326-85A6-1F50330162C9}"/>
              </a:ext>
            </a:extLst>
          </p:cNvPr>
          <p:cNvSpPr txBox="1"/>
          <p:nvPr/>
        </p:nvSpPr>
        <p:spPr>
          <a:xfrm>
            <a:off x="5949537" y="3839401"/>
            <a:ext cx="950025" cy="615553"/>
          </a:xfrm>
          <a:prstGeom prst="rect">
            <a:avLst/>
          </a:prstGeom>
          <a:noFill/>
        </p:spPr>
        <p:txBody>
          <a:bodyPr wrap="square" rtlCol="0">
            <a:spAutoFit/>
          </a:bodyPr>
          <a:lstStyle/>
          <a:p>
            <a:r>
              <a:rPr lang="fi-FI"/>
              <a:t>6 </a:t>
            </a:r>
            <a:r>
              <a:rPr lang="fi-FI" sz="1600" err="1"/>
              <a:t>months</a:t>
            </a:r>
            <a:endParaRPr lang="en-FI" sz="1600"/>
          </a:p>
        </p:txBody>
      </p:sp>
      <p:sp>
        <p:nvSpPr>
          <p:cNvPr id="3" name="TextBox 2">
            <a:extLst>
              <a:ext uri="{FF2B5EF4-FFF2-40B4-BE49-F238E27FC236}">
                <a16:creationId xmlns:a16="http://schemas.microsoft.com/office/drawing/2014/main" id="{BDD92E50-954F-EE2E-72EA-03AABF6F6F10}"/>
              </a:ext>
            </a:extLst>
          </p:cNvPr>
          <p:cNvSpPr txBox="1"/>
          <p:nvPr/>
        </p:nvSpPr>
        <p:spPr>
          <a:xfrm>
            <a:off x="4178135" y="3839401"/>
            <a:ext cx="950025" cy="615553"/>
          </a:xfrm>
          <a:prstGeom prst="rect">
            <a:avLst/>
          </a:prstGeom>
          <a:noFill/>
        </p:spPr>
        <p:txBody>
          <a:bodyPr wrap="square" rtlCol="0">
            <a:spAutoFit/>
          </a:bodyPr>
          <a:lstStyle/>
          <a:p>
            <a:r>
              <a:rPr lang="fi-FI"/>
              <a:t>12 </a:t>
            </a:r>
            <a:r>
              <a:rPr lang="fi-FI" sz="1600" err="1"/>
              <a:t>months</a:t>
            </a:r>
            <a:endParaRPr lang="en-FI" sz="1600"/>
          </a:p>
        </p:txBody>
      </p:sp>
    </p:spTree>
    <p:extLst>
      <p:ext uri="{BB962C8B-B14F-4D97-AF65-F5344CB8AC3E}">
        <p14:creationId xmlns:p14="http://schemas.microsoft.com/office/powerpoint/2010/main" val="8674258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Plants growing out of soil">
            <a:extLst>
              <a:ext uri="{FF2B5EF4-FFF2-40B4-BE49-F238E27FC236}">
                <a16:creationId xmlns:a16="http://schemas.microsoft.com/office/drawing/2014/main" id="{FCB9C469-EE6F-561A-CFA9-3923514C6234}"/>
              </a:ext>
            </a:extLst>
          </p:cNvPr>
          <p:cNvPicPr>
            <a:picLocks noGrp="1" noChangeAspect="1"/>
          </p:cNvPicPr>
          <p:nvPr>
            <p:ph type="pic" sz="quarter" idx="14"/>
          </p:nvPr>
        </p:nvPicPr>
        <p:blipFill>
          <a:blip r:embed="rId3"/>
          <a:srcRect l="26259" r="26259"/>
          <a:stretch>
            <a:fillRect/>
          </a:stretch>
        </p:blipFill>
        <p:spPr/>
      </p:pic>
      <p:sp>
        <p:nvSpPr>
          <p:cNvPr id="3" name="Text Placeholder 2">
            <a:extLst>
              <a:ext uri="{FF2B5EF4-FFF2-40B4-BE49-F238E27FC236}">
                <a16:creationId xmlns:a16="http://schemas.microsoft.com/office/drawing/2014/main" id="{0D81BA51-614F-AEF5-E259-F3B79886B9EC}"/>
              </a:ext>
            </a:extLst>
          </p:cNvPr>
          <p:cNvSpPr>
            <a:spLocks noGrp="1"/>
          </p:cNvSpPr>
          <p:nvPr>
            <p:ph type="body" sz="quarter" idx="10"/>
          </p:nvPr>
        </p:nvSpPr>
        <p:spPr/>
        <p:txBody>
          <a:bodyPr/>
          <a:lstStyle/>
          <a:p>
            <a:r>
              <a:rPr lang="en-GB"/>
              <a:t>Not as voluntary as it used to be</a:t>
            </a:r>
            <a:endParaRPr lang="en-FI"/>
          </a:p>
        </p:txBody>
      </p:sp>
      <p:sp>
        <p:nvSpPr>
          <p:cNvPr id="4" name="Text Placeholder 3">
            <a:extLst>
              <a:ext uri="{FF2B5EF4-FFF2-40B4-BE49-F238E27FC236}">
                <a16:creationId xmlns:a16="http://schemas.microsoft.com/office/drawing/2014/main" id="{97B9680D-729D-7BFE-3BED-8AB95D5EA868}"/>
              </a:ext>
            </a:extLst>
          </p:cNvPr>
          <p:cNvSpPr>
            <a:spLocks noGrp="1"/>
          </p:cNvSpPr>
          <p:nvPr>
            <p:ph type="body" sz="quarter" idx="16"/>
          </p:nvPr>
        </p:nvSpPr>
        <p:spPr>
          <a:xfrm>
            <a:off x="5633578" y="2043485"/>
            <a:ext cx="5694362" cy="4040917"/>
          </a:xfrm>
        </p:spPr>
        <p:txBody>
          <a:bodyPr/>
          <a:lstStyle/>
          <a:p>
            <a:r>
              <a:rPr lang="en-GB"/>
              <a:t>Increased pressure for use of GO for corporate actors</a:t>
            </a:r>
          </a:p>
          <a:p>
            <a:pPr lvl="1"/>
            <a:r>
              <a:rPr lang="en-GB"/>
              <a:t>CSRD and ESRS</a:t>
            </a:r>
          </a:p>
          <a:p>
            <a:pPr lvl="1"/>
            <a:r>
              <a:rPr lang="en-GB"/>
              <a:t>Green Claims Directive</a:t>
            </a:r>
          </a:p>
          <a:p>
            <a:pPr lvl="1"/>
            <a:r>
              <a:rPr lang="en-GB"/>
              <a:t>Taxonomy</a:t>
            </a:r>
          </a:p>
          <a:p>
            <a:r>
              <a:rPr lang="en-GB"/>
              <a:t>CSRD only recognizes market based mechanisms for claiming renewable energy consumption</a:t>
            </a:r>
          </a:p>
          <a:p>
            <a:r>
              <a:rPr lang="en-GB"/>
              <a:t>Market based instruments can also be used to report reduced Scope 2 GHG emissions</a:t>
            </a:r>
          </a:p>
        </p:txBody>
      </p:sp>
    </p:spTree>
    <p:extLst>
      <p:ext uri="{BB962C8B-B14F-4D97-AF65-F5344CB8AC3E}">
        <p14:creationId xmlns:p14="http://schemas.microsoft.com/office/powerpoint/2010/main" val="24880918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Kuvan kuvausta ei ole saatavilla.">
            <a:extLst>
              <a:ext uri="{FF2B5EF4-FFF2-40B4-BE49-F238E27FC236}">
                <a16:creationId xmlns:a16="http://schemas.microsoft.com/office/drawing/2014/main" id="{7A6D1FD3-E817-7F52-9C34-0DE34CCAAE3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315200" y="990600"/>
            <a:ext cx="4876800" cy="4876800"/>
          </a:xfrm>
          <a:prstGeom prst="rect">
            <a:avLst/>
          </a:prstGeom>
          <a:solidFill>
            <a:srgbClr val="FFFFFF"/>
          </a:solidFill>
        </p:spPr>
      </p:pic>
      <p:sp>
        <p:nvSpPr>
          <p:cNvPr id="1031" name="Text Placeholder 2">
            <a:extLst>
              <a:ext uri="{FF2B5EF4-FFF2-40B4-BE49-F238E27FC236}">
                <a16:creationId xmlns:a16="http://schemas.microsoft.com/office/drawing/2014/main" id="{E0110942-248B-38DC-FF7F-7A1A4C573EE1}"/>
              </a:ext>
            </a:extLst>
          </p:cNvPr>
          <p:cNvSpPr>
            <a:spLocks noGrp="1"/>
          </p:cNvSpPr>
          <p:nvPr>
            <p:ph type="body" sz="quarter" idx="10"/>
          </p:nvPr>
        </p:nvSpPr>
        <p:spPr>
          <a:xfrm>
            <a:off x="959978" y="498764"/>
            <a:ext cx="5694362" cy="1239102"/>
          </a:xfrm>
        </p:spPr>
        <p:txBody>
          <a:bodyPr/>
          <a:lstStyle/>
          <a:p>
            <a:r>
              <a:rPr lang="en-US"/>
              <a:t>Consumer driven demand</a:t>
            </a:r>
          </a:p>
        </p:txBody>
      </p:sp>
      <p:sp>
        <p:nvSpPr>
          <p:cNvPr id="1033" name="Text Placeholder 3">
            <a:extLst>
              <a:ext uri="{FF2B5EF4-FFF2-40B4-BE49-F238E27FC236}">
                <a16:creationId xmlns:a16="http://schemas.microsoft.com/office/drawing/2014/main" id="{59857472-CB56-4736-A59B-009A4B1288E0}"/>
              </a:ext>
            </a:extLst>
          </p:cNvPr>
          <p:cNvSpPr>
            <a:spLocks noGrp="1"/>
          </p:cNvSpPr>
          <p:nvPr>
            <p:ph type="body" sz="quarter" idx="16"/>
          </p:nvPr>
        </p:nvSpPr>
        <p:spPr>
          <a:xfrm>
            <a:off x="959978" y="2072789"/>
            <a:ext cx="5694362" cy="4011613"/>
          </a:xfrm>
        </p:spPr>
        <p:txBody>
          <a:bodyPr/>
          <a:lstStyle/>
          <a:p>
            <a:r>
              <a:rPr lang="en-US"/>
              <a:t>Regulation and demand driven market</a:t>
            </a:r>
          </a:p>
          <a:p>
            <a:r>
              <a:rPr lang="en-US"/>
              <a:t>ESRS and EU taxonomy bring Guarantees of Origin to the core of decision making </a:t>
            </a:r>
          </a:p>
          <a:p>
            <a:pPr lvl="1"/>
            <a:r>
              <a:rPr lang="en-US"/>
              <a:t>European Investment Bank guidelines</a:t>
            </a:r>
          </a:p>
          <a:p>
            <a:r>
              <a:rPr lang="en-US"/>
              <a:t>Demand drivers: </a:t>
            </a:r>
          </a:p>
          <a:p>
            <a:pPr lvl="1"/>
            <a:r>
              <a:rPr lang="en-US"/>
              <a:t>Willingness to make green claims</a:t>
            </a:r>
          </a:p>
          <a:p>
            <a:pPr lvl="1"/>
            <a:r>
              <a:rPr lang="en-US"/>
              <a:t>Sustainability reporting requirements and increased transparency</a:t>
            </a:r>
          </a:p>
          <a:p>
            <a:pPr lvl="1"/>
            <a:r>
              <a:rPr lang="en-US"/>
              <a:t>Demands from voluntary initiatives like RE100 or Science Based Targets Initiative</a:t>
            </a:r>
          </a:p>
        </p:txBody>
      </p:sp>
      <p:sp>
        <p:nvSpPr>
          <p:cNvPr id="7" name="TextBox 6">
            <a:extLst>
              <a:ext uri="{FF2B5EF4-FFF2-40B4-BE49-F238E27FC236}">
                <a16:creationId xmlns:a16="http://schemas.microsoft.com/office/drawing/2014/main" id="{96AAAA0B-B408-884A-CC42-8906EC435838}"/>
              </a:ext>
            </a:extLst>
          </p:cNvPr>
          <p:cNvSpPr txBox="1"/>
          <p:nvPr/>
        </p:nvSpPr>
        <p:spPr>
          <a:xfrm>
            <a:off x="7561690" y="6084402"/>
            <a:ext cx="4333461" cy="523220"/>
          </a:xfrm>
          <a:prstGeom prst="rect">
            <a:avLst/>
          </a:prstGeom>
          <a:noFill/>
        </p:spPr>
        <p:txBody>
          <a:bodyPr wrap="square" rtlCol="0">
            <a:spAutoFit/>
          </a:bodyPr>
          <a:lstStyle/>
          <a:p>
            <a:r>
              <a:rPr lang="fi-FI" sz="1400" err="1"/>
              <a:t>Source</a:t>
            </a:r>
            <a:r>
              <a:rPr lang="fi-FI" sz="1400"/>
              <a:t>: </a:t>
            </a:r>
            <a:r>
              <a:rPr lang="fi-FI" sz="1400" err="1"/>
              <a:t>Eurobarometer</a:t>
            </a:r>
            <a:r>
              <a:rPr lang="fi-FI" sz="1400"/>
              <a:t> 2024: </a:t>
            </a:r>
            <a:r>
              <a:rPr lang="en-GB" sz="1400" i="0">
                <a:solidFill>
                  <a:srgbClr val="000000"/>
                </a:solidFill>
                <a:effectLst/>
                <a:latin typeface="arial" panose="020B0604020202020204" pitchFamily="34" charset="0"/>
              </a:rPr>
              <a:t>Attitudes of Europeans towards the environment</a:t>
            </a:r>
          </a:p>
        </p:txBody>
      </p:sp>
    </p:spTree>
    <p:extLst>
      <p:ext uri="{BB962C8B-B14F-4D97-AF65-F5344CB8AC3E}">
        <p14:creationId xmlns:p14="http://schemas.microsoft.com/office/powerpoint/2010/main" val="3866887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screenshot of a computer&#10;&#10;Description automatically generated">
            <a:extLst>
              <a:ext uri="{FF2B5EF4-FFF2-40B4-BE49-F238E27FC236}">
                <a16:creationId xmlns:a16="http://schemas.microsoft.com/office/drawing/2014/main" id="{030EE3E3-0551-2D83-3D76-A53F578251F9}"/>
              </a:ext>
            </a:extLst>
          </p:cNvPr>
          <p:cNvPicPr>
            <a:picLocks noGrp="1" noChangeAspect="1"/>
          </p:cNvPicPr>
          <p:nvPr>
            <p:ph type="pic" sz="quarter" idx="10"/>
          </p:nvPr>
        </p:nvPicPr>
        <p:blipFill>
          <a:blip r:embed="rId2"/>
          <a:srcRect b="13362"/>
          <a:stretch/>
        </p:blipFill>
        <p:spPr>
          <a:xfrm>
            <a:off x="20" y="10"/>
            <a:ext cx="12191980" cy="5836014"/>
          </a:xfrm>
          <a:noFill/>
        </p:spPr>
      </p:pic>
      <p:sp>
        <p:nvSpPr>
          <p:cNvPr id="12" name="Text Placeholder 2">
            <a:extLst>
              <a:ext uri="{FF2B5EF4-FFF2-40B4-BE49-F238E27FC236}">
                <a16:creationId xmlns:a16="http://schemas.microsoft.com/office/drawing/2014/main" id="{69774851-1F00-CD1A-1BF5-54B84FED5811}"/>
              </a:ext>
            </a:extLst>
          </p:cNvPr>
          <p:cNvSpPr>
            <a:spLocks noGrp="1"/>
          </p:cNvSpPr>
          <p:nvPr>
            <p:ph type="body" sz="quarter" idx="11"/>
          </p:nvPr>
        </p:nvSpPr>
        <p:spPr>
          <a:xfrm>
            <a:off x="499110" y="6045761"/>
            <a:ext cx="11132596" cy="602925"/>
          </a:xfrm>
        </p:spPr>
        <p:txBody>
          <a:bodyPr/>
          <a:lstStyle/>
          <a:p>
            <a:endParaRPr lang="en-US"/>
          </a:p>
        </p:txBody>
      </p:sp>
    </p:spTree>
    <p:extLst>
      <p:ext uri="{BB962C8B-B14F-4D97-AF65-F5344CB8AC3E}">
        <p14:creationId xmlns:p14="http://schemas.microsoft.com/office/powerpoint/2010/main" val="29875263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E11E3EAC-6D96-7ACA-7FE1-C2DCAED48D8C}"/>
              </a:ext>
            </a:extLst>
          </p:cNvPr>
          <p:cNvSpPr>
            <a:spLocks noGrp="1"/>
          </p:cNvSpPr>
          <p:nvPr>
            <p:ph type="body" sz="quarter" idx="10"/>
          </p:nvPr>
        </p:nvSpPr>
        <p:spPr/>
        <p:txBody>
          <a:bodyPr/>
          <a:lstStyle/>
          <a:p>
            <a:r>
              <a:rPr lang="nb-NO"/>
              <a:t>Agenda</a:t>
            </a:r>
          </a:p>
        </p:txBody>
      </p:sp>
      <p:sp>
        <p:nvSpPr>
          <p:cNvPr id="3" name="Plassholder for tekst 2">
            <a:extLst>
              <a:ext uri="{FF2B5EF4-FFF2-40B4-BE49-F238E27FC236}">
                <a16:creationId xmlns:a16="http://schemas.microsoft.com/office/drawing/2014/main" id="{3E3835BD-16EC-1F52-C638-DFCB9E1E2BCB}"/>
              </a:ext>
            </a:extLst>
          </p:cNvPr>
          <p:cNvSpPr>
            <a:spLocks noGrp="1"/>
          </p:cNvSpPr>
          <p:nvPr>
            <p:ph type="body" sz="quarter" idx="11"/>
          </p:nvPr>
        </p:nvSpPr>
        <p:spPr/>
        <p:txBody>
          <a:bodyPr/>
          <a:lstStyle/>
          <a:p>
            <a:endParaRPr lang="nb-NO"/>
          </a:p>
        </p:txBody>
      </p:sp>
      <p:sp>
        <p:nvSpPr>
          <p:cNvPr id="4" name="Plassholder for tekst 3">
            <a:extLst>
              <a:ext uri="{FF2B5EF4-FFF2-40B4-BE49-F238E27FC236}">
                <a16:creationId xmlns:a16="http://schemas.microsoft.com/office/drawing/2014/main" id="{BA033F92-8EC0-761C-4EC2-B90E38D016BB}"/>
              </a:ext>
            </a:extLst>
          </p:cNvPr>
          <p:cNvSpPr>
            <a:spLocks noGrp="1"/>
          </p:cNvSpPr>
          <p:nvPr>
            <p:ph type="body" sz="quarter" idx="16"/>
          </p:nvPr>
        </p:nvSpPr>
        <p:spPr>
          <a:xfrm>
            <a:off x="958609" y="2072789"/>
            <a:ext cx="10125075" cy="4011613"/>
          </a:xfrm>
        </p:spPr>
        <p:txBody>
          <a:bodyPr/>
          <a:lstStyle/>
          <a:p>
            <a:endParaRPr lang="nb-NO"/>
          </a:p>
        </p:txBody>
      </p:sp>
      <p:grpSp>
        <p:nvGrpSpPr>
          <p:cNvPr id="32" name="Gruppe 31">
            <a:extLst>
              <a:ext uri="{FF2B5EF4-FFF2-40B4-BE49-F238E27FC236}">
                <a16:creationId xmlns:a16="http://schemas.microsoft.com/office/drawing/2014/main" id="{038F6F2E-3443-63B5-4541-A088B0A173C9}"/>
              </a:ext>
            </a:extLst>
          </p:cNvPr>
          <p:cNvGrpSpPr/>
          <p:nvPr/>
        </p:nvGrpSpPr>
        <p:grpSpPr>
          <a:xfrm>
            <a:off x="959977" y="2067208"/>
            <a:ext cx="4882023" cy="561249"/>
            <a:chOff x="959977" y="3854199"/>
            <a:chExt cx="4882023" cy="561249"/>
          </a:xfrm>
        </p:grpSpPr>
        <p:sp>
          <p:nvSpPr>
            <p:cNvPr id="14" name="Rektangel: avrundede hjørner 13">
              <a:extLst>
                <a:ext uri="{FF2B5EF4-FFF2-40B4-BE49-F238E27FC236}">
                  <a16:creationId xmlns:a16="http://schemas.microsoft.com/office/drawing/2014/main" id="{9195094C-B4B2-A087-B936-385A278C64AF}"/>
                </a:ext>
              </a:extLst>
            </p:cNvPr>
            <p:cNvSpPr/>
            <p:nvPr/>
          </p:nvSpPr>
          <p:spPr>
            <a:xfrm>
              <a:off x="959977" y="3854933"/>
              <a:ext cx="4752423" cy="408623"/>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TekstSylinder 14">
              <a:extLst>
                <a:ext uri="{FF2B5EF4-FFF2-40B4-BE49-F238E27FC236}">
                  <a16:creationId xmlns:a16="http://schemas.microsoft.com/office/drawing/2014/main" id="{F080784A-C458-6CD7-5E6F-B6B41E513D62}"/>
                </a:ext>
              </a:extLst>
            </p:cNvPr>
            <p:cNvSpPr txBox="1"/>
            <p:nvPr/>
          </p:nvSpPr>
          <p:spPr>
            <a:xfrm>
              <a:off x="1410890" y="3892228"/>
              <a:ext cx="4431110" cy="523220"/>
            </a:xfrm>
            <a:prstGeom prst="rect">
              <a:avLst/>
            </a:prstGeom>
            <a:noFill/>
          </p:spPr>
          <p:txBody>
            <a:bodyPr wrap="square" rtlCol="0">
              <a:spAutoFit/>
            </a:bodyPr>
            <a:lstStyle/>
            <a:p>
              <a:r>
                <a:rPr lang="de-DE" sz="1400" err="1">
                  <a:latin typeface="Haffer" pitchFamily="50" charset="0"/>
                  <a:cs typeface="Haffer" pitchFamily="50" charset="0"/>
                </a:rPr>
                <a:t>Introduction</a:t>
              </a:r>
              <a:endParaRPr lang="de-DE" sz="1400">
                <a:latin typeface="Haffer" pitchFamily="50" charset="0"/>
                <a:cs typeface="Haffer" pitchFamily="50" charset="0"/>
              </a:endParaRPr>
            </a:p>
            <a:p>
              <a:endParaRPr lang="nb-NO" sz="1400">
                <a:latin typeface="Haffer" pitchFamily="50" charset="0"/>
                <a:cs typeface="Haffer" pitchFamily="50" charset="0"/>
              </a:endParaRPr>
            </a:p>
          </p:txBody>
        </p:sp>
        <p:sp>
          <p:nvSpPr>
            <p:cNvPr id="16" name="TekstSylinder 15">
              <a:extLst>
                <a:ext uri="{FF2B5EF4-FFF2-40B4-BE49-F238E27FC236}">
                  <a16:creationId xmlns:a16="http://schemas.microsoft.com/office/drawing/2014/main" id="{9BB5C497-541E-4B42-2D36-8BE2DFCA46DC}"/>
                </a:ext>
              </a:extLst>
            </p:cNvPr>
            <p:cNvSpPr txBox="1"/>
            <p:nvPr/>
          </p:nvSpPr>
          <p:spPr>
            <a:xfrm>
              <a:off x="972532" y="3892228"/>
              <a:ext cx="294293" cy="523220"/>
            </a:xfrm>
            <a:prstGeom prst="rect">
              <a:avLst/>
            </a:prstGeom>
            <a:noFill/>
          </p:spPr>
          <p:txBody>
            <a:bodyPr wrap="square" rtlCol="0">
              <a:spAutoFit/>
            </a:bodyPr>
            <a:lstStyle/>
            <a:p>
              <a:r>
                <a:rPr lang="nb-NO" sz="1400">
                  <a:latin typeface="Haffer" pitchFamily="50" charset="0"/>
                  <a:cs typeface="Haffer" pitchFamily="50" charset="0"/>
                </a:rPr>
                <a:t>A</a:t>
              </a:r>
              <a:endParaRPr lang="de-DE" sz="1400">
                <a:latin typeface="Haffer" pitchFamily="50" charset="0"/>
                <a:cs typeface="Haffer" pitchFamily="50" charset="0"/>
              </a:endParaRPr>
            </a:p>
            <a:p>
              <a:endParaRPr lang="nb-NO" sz="1400">
                <a:latin typeface="Haffer" pitchFamily="50" charset="0"/>
                <a:cs typeface="Haffer" pitchFamily="50" charset="0"/>
              </a:endParaRPr>
            </a:p>
          </p:txBody>
        </p:sp>
        <p:sp>
          <p:nvSpPr>
            <p:cNvPr id="17" name="Rektangel 16">
              <a:extLst>
                <a:ext uri="{FF2B5EF4-FFF2-40B4-BE49-F238E27FC236}">
                  <a16:creationId xmlns:a16="http://schemas.microsoft.com/office/drawing/2014/main" id="{A394E564-E358-E9DF-1EE4-EC2B7D2E6A5C}"/>
                </a:ext>
              </a:extLst>
            </p:cNvPr>
            <p:cNvSpPr/>
            <p:nvPr/>
          </p:nvSpPr>
          <p:spPr>
            <a:xfrm>
              <a:off x="1297958" y="3854199"/>
              <a:ext cx="112932" cy="410400"/>
            </a:xfrm>
            <a:prstGeom prst="rect">
              <a:avLst/>
            </a:prstGeom>
            <a:solidFill>
              <a:srgbClr val="F2F1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21" name="Rektangel: avrundede hjørner 20">
            <a:extLst>
              <a:ext uri="{FF2B5EF4-FFF2-40B4-BE49-F238E27FC236}">
                <a16:creationId xmlns:a16="http://schemas.microsoft.com/office/drawing/2014/main" id="{AF5953B9-4360-85C2-4E31-4C9736A587F4}"/>
              </a:ext>
            </a:extLst>
          </p:cNvPr>
          <p:cNvSpPr/>
          <p:nvPr/>
        </p:nvSpPr>
        <p:spPr>
          <a:xfrm>
            <a:off x="959977" y="2683489"/>
            <a:ext cx="4752423" cy="30777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TekstSylinder 21">
            <a:extLst>
              <a:ext uri="{FF2B5EF4-FFF2-40B4-BE49-F238E27FC236}">
                <a16:creationId xmlns:a16="http://schemas.microsoft.com/office/drawing/2014/main" id="{F64EC6F4-494F-C3A2-6581-A8644B4D12EF}"/>
              </a:ext>
            </a:extLst>
          </p:cNvPr>
          <p:cNvSpPr txBox="1"/>
          <p:nvPr/>
        </p:nvSpPr>
        <p:spPr>
          <a:xfrm>
            <a:off x="1353056" y="2664104"/>
            <a:ext cx="4481910" cy="307777"/>
          </a:xfrm>
          <a:prstGeom prst="rect">
            <a:avLst/>
          </a:prstGeom>
          <a:noFill/>
        </p:spPr>
        <p:txBody>
          <a:bodyPr wrap="square" rtlCol="0">
            <a:spAutoFit/>
          </a:bodyPr>
          <a:lstStyle/>
          <a:p>
            <a:r>
              <a:rPr lang="nb-NO" sz="1400" err="1">
                <a:latin typeface="Haffer" pitchFamily="50" charset="0"/>
                <a:cs typeface="Haffer" pitchFamily="50" charset="0"/>
              </a:rPr>
              <a:t>Corporate</a:t>
            </a:r>
            <a:r>
              <a:rPr lang="nb-NO" sz="1400">
                <a:latin typeface="Haffer" pitchFamily="50" charset="0"/>
                <a:cs typeface="Haffer" pitchFamily="50" charset="0"/>
              </a:rPr>
              <a:t> </a:t>
            </a:r>
            <a:r>
              <a:rPr lang="nb-NO" sz="1400" err="1">
                <a:latin typeface="Haffer" pitchFamily="50" charset="0"/>
                <a:cs typeface="Haffer" pitchFamily="50" charset="0"/>
              </a:rPr>
              <a:t>Social</a:t>
            </a:r>
            <a:r>
              <a:rPr lang="nb-NO" sz="1400">
                <a:latin typeface="Haffer" pitchFamily="50" charset="0"/>
                <a:cs typeface="Haffer" pitchFamily="50" charset="0"/>
              </a:rPr>
              <a:t> </a:t>
            </a:r>
            <a:r>
              <a:rPr lang="nb-NO" sz="1400" err="1">
                <a:latin typeface="Haffer" pitchFamily="50" charset="0"/>
                <a:cs typeface="Haffer" pitchFamily="50" charset="0"/>
              </a:rPr>
              <a:t>Responsibility</a:t>
            </a:r>
            <a:r>
              <a:rPr lang="nb-NO" sz="1400">
                <a:latin typeface="Haffer" pitchFamily="50" charset="0"/>
                <a:cs typeface="Haffer" pitchFamily="50" charset="0"/>
              </a:rPr>
              <a:t> </a:t>
            </a:r>
            <a:r>
              <a:rPr lang="nb-NO" sz="1400" err="1">
                <a:latin typeface="Haffer" pitchFamily="50" charset="0"/>
                <a:cs typeface="Haffer" pitchFamily="50" charset="0"/>
              </a:rPr>
              <a:t>regulation</a:t>
            </a:r>
            <a:r>
              <a:rPr lang="nb-NO" sz="1400">
                <a:latin typeface="Haffer" pitchFamily="50" charset="0"/>
                <a:cs typeface="Haffer" pitchFamily="50" charset="0"/>
              </a:rPr>
              <a:t> in Europe</a:t>
            </a:r>
          </a:p>
        </p:txBody>
      </p:sp>
      <p:sp>
        <p:nvSpPr>
          <p:cNvPr id="23" name="TekstSylinder 22">
            <a:extLst>
              <a:ext uri="{FF2B5EF4-FFF2-40B4-BE49-F238E27FC236}">
                <a16:creationId xmlns:a16="http://schemas.microsoft.com/office/drawing/2014/main" id="{5B28F027-5C6B-9D40-26EA-8BE7B7B249F4}"/>
              </a:ext>
            </a:extLst>
          </p:cNvPr>
          <p:cNvSpPr txBox="1"/>
          <p:nvPr/>
        </p:nvSpPr>
        <p:spPr>
          <a:xfrm>
            <a:off x="972532" y="2720784"/>
            <a:ext cx="294293" cy="523220"/>
          </a:xfrm>
          <a:prstGeom prst="rect">
            <a:avLst/>
          </a:prstGeom>
          <a:noFill/>
        </p:spPr>
        <p:txBody>
          <a:bodyPr wrap="square" rtlCol="0">
            <a:spAutoFit/>
          </a:bodyPr>
          <a:lstStyle/>
          <a:p>
            <a:r>
              <a:rPr lang="nb-NO" sz="1400">
                <a:latin typeface="Haffer" pitchFamily="50" charset="0"/>
                <a:cs typeface="Haffer" pitchFamily="50" charset="0"/>
              </a:rPr>
              <a:t>B</a:t>
            </a:r>
            <a:endParaRPr lang="de-DE" sz="1400">
              <a:latin typeface="Haffer" pitchFamily="50" charset="0"/>
              <a:cs typeface="Haffer" pitchFamily="50" charset="0"/>
            </a:endParaRPr>
          </a:p>
          <a:p>
            <a:endParaRPr lang="nb-NO" sz="1400">
              <a:latin typeface="Haffer" pitchFamily="50" charset="0"/>
              <a:cs typeface="Haffer" pitchFamily="50" charset="0"/>
            </a:endParaRPr>
          </a:p>
        </p:txBody>
      </p:sp>
      <p:sp>
        <p:nvSpPr>
          <p:cNvPr id="24" name="Rektangel 23">
            <a:extLst>
              <a:ext uri="{FF2B5EF4-FFF2-40B4-BE49-F238E27FC236}">
                <a16:creationId xmlns:a16="http://schemas.microsoft.com/office/drawing/2014/main" id="{29687E9D-3D56-3186-1376-237F19DA2C66}"/>
              </a:ext>
            </a:extLst>
          </p:cNvPr>
          <p:cNvSpPr/>
          <p:nvPr/>
        </p:nvSpPr>
        <p:spPr>
          <a:xfrm>
            <a:off x="1297958" y="2682755"/>
            <a:ext cx="112932" cy="410400"/>
          </a:xfrm>
          <a:prstGeom prst="rect">
            <a:avLst/>
          </a:prstGeom>
          <a:solidFill>
            <a:srgbClr val="F2F1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Rektangel: avrundede hjørner 27">
            <a:extLst>
              <a:ext uri="{FF2B5EF4-FFF2-40B4-BE49-F238E27FC236}">
                <a16:creationId xmlns:a16="http://schemas.microsoft.com/office/drawing/2014/main" id="{74A4E480-E76B-F83F-2719-59480E6CF718}"/>
              </a:ext>
            </a:extLst>
          </p:cNvPr>
          <p:cNvSpPr/>
          <p:nvPr/>
        </p:nvSpPr>
        <p:spPr>
          <a:xfrm>
            <a:off x="958609" y="3299036"/>
            <a:ext cx="8069277" cy="408623"/>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TekstSylinder 28">
            <a:extLst>
              <a:ext uri="{FF2B5EF4-FFF2-40B4-BE49-F238E27FC236}">
                <a16:creationId xmlns:a16="http://schemas.microsoft.com/office/drawing/2014/main" id="{58307752-5D2D-8CCF-2B66-E732E1213F2F}"/>
              </a:ext>
            </a:extLst>
          </p:cNvPr>
          <p:cNvSpPr txBox="1"/>
          <p:nvPr/>
        </p:nvSpPr>
        <p:spPr>
          <a:xfrm>
            <a:off x="1396967" y="3318421"/>
            <a:ext cx="9823869" cy="307777"/>
          </a:xfrm>
          <a:prstGeom prst="rect">
            <a:avLst/>
          </a:prstGeom>
          <a:noFill/>
        </p:spPr>
        <p:txBody>
          <a:bodyPr wrap="square" lIns="91440" tIns="45720" rIns="91440" bIns="45720" rtlCol="0" anchor="t">
            <a:spAutoFit/>
          </a:bodyPr>
          <a:lstStyle/>
          <a:p>
            <a:r>
              <a:rPr lang="en-US" sz="1400">
                <a:latin typeface="Haffer"/>
                <a:cs typeface="Haffer"/>
              </a:rPr>
              <a:t>Importance of the CSR regulation for the purchase of electricity by companies through PPAs</a:t>
            </a:r>
            <a:endParaRPr lang="nb-NO" sz="1400">
              <a:latin typeface="Haffer" pitchFamily="50" charset="0"/>
              <a:cs typeface="Haffer" pitchFamily="50" charset="0"/>
            </a:endParaRPr>
          </a:p>
        </p:txBody>
      </p:sp>
      <p:sp>
        <p:nvSpPr>
          <p:cNvPr id="30" name="TekstSylinder 29">
            <a:extLst>
              <a:ext uri="{FF2B5EF4-FFF2-40B4-BE49-F238E27FC236}">
                <a16:creationId xmlns:a16="http://schemas.microsoft.com/office/drawing/2014/main" id="{2BA16280-5C63-D08F-899B-9F1235F4E71B}"/>
              </a:ext>
            </a:extLst>
          </p:cNvPr>
          <p:cNvSpPr txBox="1"/>
          <p:nvPr/>
        </p:nvSpPr>
        <p:spPr>
          <a:xfrm>
            <a:off x="971164" y="3336331"/>
            <a:ext cx="294293" cy="523220"/>
          </a:xfrm>
          <a:prstGeom prst="rect">
            <a:avLst/>
          </a:prstGeom>
          <a:noFill/>
        </p:spPr>
        <p:txBody>
          <a:bodyPr wrap="square" rtlCol="0">
            <a:spAutoFit/>
          </a:bodyPr>
          <a:lstStyle/>
          <a:p>
            <a:r>
              <a:rPr lang="nb-NO" sz="1400">
                <a:latin typeface="Haffer" pitchFamily="50" charset="0"/>
                <a:cs typeface="Haffer" pitchFamily="50" charset="0"/>
              </a:rPr>
              <a:t>C</a:t>
            </a:r>
            <a:endParaRPr lang="de-DE" sz="1400">
              <a:latin typeface="Haffer" pitchFamily="50" charset="0"/>
              <a:cs typeface="Haffer" pitchFamily="50" charset="0"/>
            </a:endParaRPr>
          </a:p>
          <a:p>
            <a:endParaRPr lang="nb-NO" sz="1400">
              <a:latin typeface="Haffer" pitchFamily="50" charset="0"/>
              <a:cs typeface="Haffer" pitchFamily="50" charset="0"/>
            </a:endParaRPr>
          </a:p>
        </p:txBody>
      </p:sp>
      <p:sp>
        <p:nvSpPr>
          <p:cNvPr id="31" name="Rektangel 30">
            <a:extLst>
              <a:ext uri="{FF2B5EF4-FFF2-40B4-BE49-F238E27FC236}">
                <a16:creationId xmlns:a16="http://schemas.microsoft.com/office/drawing/2014/main" id="{349EA325-2D1E-E16F-EEAB-6B1FAE5B6612}"/>
              </a:ext>
            </a:extLst>
          </p:cNvPr>
          <p:cNvSpPr/>
          <p:nvPr/>
        </p:nvSpPr>
        <p:spPr>
          <a:xfrm>
            <a:off x="1296590" y="3298302"/>
            <a:ext cx="112932" cy="410400"/>
          </a:xfrm>
          <a:prstGeom prst="rect">
            <a:avLst/>
          </a:prstGeom>
          <a:solidFill>
            <a:srgbClr val="F2F1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Rektangel: avrundede hjørner 27">
            <a:extLst>
              <a:ext uri="{FF2B5EF4-FFF2-40B4-BE49-F238E27FC236}">
                <a16:creationId xmlns:a16="http://schemas.microsoft.com/office/drawing/2014/main" id="{6E9930EB-AEF1-F439-359A-F168105ADFAF}"/>
              </a:ext>
            </a:extLst>
          </p:cNvPr>
          <p:cNvSpPr/>
          <p:nvPr/>
        </p:nvSpPr>
        <p:spPr>
          <a:xfrm>
            <a:off x="971165" y="3929727"/>
            <a:ext cx="5359461" cy="379058"/>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ekstSylinder 29">
            <a:extLst>
              <a:ext uri="{FF2B5EF4-FFF2-40B4-BE49-F238E27FC236}">
                <a16:creationId xmlns:a16="http://schemas.microsoft.com/office/drawing/2014/main" id="{6174C9C1-4212-296C-9713-6863A88A3FCC}"/>
              </a:ext>
            </a:extLst>
          </p:cNvPr>
          <p:cNvSpPr txBox="1"/>
          <p:nvPr/>
        </p:nvSpPr>
        <p:spPr>
          <a:xfrm>
            <a:off x="983719" y="3938268"/>
            <a:ext cx="294293" cy="523220"/>
          </a:xfrm>
          <a:prstGeom prst="rect">
            <a:avLst/>
          </a:prstGeom>
          <a:noFill/>
        </p:spPr>
        <p:txBody>
          <a:bodyPr wrap="square" rtlCol="0">
            <a:spAutoFit/>
          </a:bodyPr>
          <a:lstStyle/>
          <a:p>
            <a:r>
              <a:rPr lang="nb-NO" sz="1400">
                <a:latin typeface="Haffer" pitchFamily="50" charset="0"/>
                <a:cs typeface="Haffer" pitchFamily="50" charset="0"/>
              </a:rPr>
              <a:t>D</a:t>
            </a:r>
            <a:endParaRPr lang="de-DE" sz="1400">
              <a:latin typeface="Haffer" pitchFamily="50" charset="0"/>
              <a:cs typeface="Haffer" pitchFamily="50" charset="0"/>
            </a:endParaRPr>
          </a:p>
          <a:p>
            <a:endParaRPr lang="nb-NO" sz="1400">
              <a:latin typeface="Haffer" pitchFamily="50" charset="0"/>
              <a:cs typeface="Haffer" pitchFamily="50" charset="0"/>
            </a:endParaRPr>
          </a:p>
        </p:txBody>
      </p:sp>
      <p:sp>
        <p:nvSpPr>
          <p:cNvPr id="8" name="Rektangel 30">
            <a:extLst>
              <a:ext uri="{FF2B5EF4-FFF2-40B4-BE49-F238E27FC236}">
                <a16:creationId xmlns:a16="http://schemas.microsoft.com/office/drawing/2014/main" id="{3E414792-39F6-42C9-D536-8DAB23C6DAAE}"/>
              </a:ext>
            </a:extLst>
          </p:cNvPr>
          <p:cNvSpPr/>
          <p:nvPr/>
        </p:nvSpPr>
        <p:spPr>
          <a:xfrm>
            <a:off x="1309145" y="3900239"/>
            <a:ext cx="112932" cy="410400"/>
          </a:xfrm>
          <a:prstGeom prst="rect">
            <a:avLst/>
          </a:prstGeom>
          <a:solidFill>
            <a:srgbClr val="F2F1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avrundede hjørner 27">
            <a:extLst>
              <a:ext uri="{FF2B5EF4-FFF2-40B4-BE49-F238E27FC236}">
                <a16:creationId xmlns:a16="http://schemas.microsoft.com/office/drawing/2014/main" id="{8C780FA2-A4F2-2367-3EBD-0C0F54D10202}"/>
              </a:ext>
            </a:extLst>
          </p:cNvPr>
          <p:cNvSpPr/>
          <p:nvPr/>
        </p:nvSpPr>
        <p:spPr>
          <a:xfrm>
            <a:off x="983719" y="4510745"/>
            <a:ext cx="8069277" cy="408623"/>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TekstSylinder 28">
            <a:extLst>
              <a:ext uri="{FF2B5EF4-FFF2-40B4-BE49-F238E27FC236}">
                <a16:creationId xmlns:a16="http://schemas.microsoft.com/office/drawing/2014/main" id="{B4D08BF2-7902-2DD5-B3CF-ABE4BBBF0FDE}"/>
              </a:ext>
            </a:extLst>
          </p:cNvPr>
          <p:cNvSpPr txBox="1"/>
          <p:nvPr/>
        </p:nvSpPr>
        <p:spPr>
          <a:xfrm>
            <a:off x="1422077" y="4530130"/>
            <a:ext cx="9823869" cy="307777"/>
          </a:xfrm>
          <a:prstGeom prst="rect">
            <a:avLst/>
          </a:prstGeom>
          <a:noFill/>
        </p:spPr>
        <p:txBody>
          <a:bodyPr wrap="square" rtlCol="0">
            <a:spAutoFit/>
          </a:bodyPr>
          <a:lstStyle/>
          <a:p>
            <a:r>
              <a:rPr lang="en-US" sz="1400">
                <a:latin typeface="Haffer" pitchFamily="50" charset="0"/>
                <a:cs typeface="Haffer" pitchFamily="50" charset="0"/>
              </a:rPr>
              <a:t>Case studies of successful corporate use of GOs in the electricity-intensive industry </a:t>
            </a:r>
            <a:endParaRPr lang="nb-NO" sz="1400">
              <a:latin typeface="Haffer" pitchFamily="50" charset="0"/>
              <a:cs typeface="Haffer" pitchFamily="50" charset="0"/>
            </a:endParaRPr>
          </a:p>
        </p:txBody>
      </p:sp>
      <p:sp>
        <p:nvSpPr>
          <p:cNvPr id="11" name="TekstSylinder 29">
            <a:extLst>
              <a:ext uri="{FF2B5EF4-FFF2-40B4-BE49-F238E27FC236}">
                <a16:creationId xmlns:a16="http://schemas.microsoft.com/office/drawing/2014/main" id="{DC700467-1D08-F9EF-D8D6-DA2929D9AF23}"/>
              </a:ext>
            </a:extLst>
          </p:cNvPr>
          <p:cNvSpPr txBox="1"/>
          <p:nvPr/>
        </p:nvSpPr>
        <p:spPr>
          <a:xfrm>
            <a:off x="996274" y="4548040"/>
            <a:ext cx="294293" cy="523220"/>
          </a:xfrm>
          <a:prstGeom prst="rect">
            <a:avLst/>
          </a:prstGeom>
          <a:noFill/>
        </p:spPr>
        <p:txBody>
          <a:bodyPr wrap="square" rtlCol="0">
            <a:spAutoFit/>
          </a:bodyPr>
          <a:lstStyle/>
          <a:p>
            <a:r>
              <a:rPr lang="nb-NO" sz="1400">
                <a:latin typeface="Haffer" pitchFamily="50" charset="0"/>
                <a:cs typeface="Haffer" pitchFamily="50" charset="0"/>
              </a:rPr>
              <a:t>E</a:t>
            </a:r>
            <a:endParaRPr lang="de-DE" sz="1400">
              <a:latin typeface="Haffer" pitchFamily="50" charset="0"/>
              <a:cs typeface="Haffer" pitchFamily="50" charset="0"/>
            </a:endParaRPr>
          </a:p>
          <a:p>
            <a:endParaRPr lang="nb-NO" sz="1400">
              <a:latin typeface="Haffer" pitchFamily="50" charset="0"/>
              <a:cs typeface="Haffer" pitchFamily="50" charset="0"/>
            </a:endParaRPr>
          </a:p>
        </p:txBody>
      </p:sp>
      <p:sp>
        <p:nvSpPr>
          <p:cNvPr id="12" name="Rektangel 30">
            <a:extLst>
              <a:ext uri="{FF2B5EF4-FFF2-40B4-BE49-F238E27FC236}">
                <a16:creationId xmlns:a16="http://schemas.microsoft.com/office/drawing/2014/main" id="{778EEB1F-75C8-DB68-DA04-535D86EC53B7}"/>
              </a:ext>
            </a:extLst>
          </p:cNvPr>
          <p:cNvSpPr/>
          <p:nvPr/>
        </p:nvSpPr>
        <p:spPr>
          <a:xfrm>
            <a:off x="1321700" y="4510011"/>
            <a:ext cx="112932" cy="410400"/>
          </a:xfrm>
          <a:prstGeom prst="rect">
            <a:avLst/>
          </a:prstGeom>
          <a:solidFill>
            <a:srgbClr val="F2F1F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TekstSylinder 21">
            <a:extLst>
              <a:ext uri="{FF2B5EF4-FFF2-40B4-BE49-F238E27FC236}">
                <a16:creationId xmlns:a16="http://schemas.microsoft.com/office/drawing/2014/main" id="{E63E0E2B-68A9-AF43-306B-93BBC407A577}"/>
              </a:ext>
            </a:extLst>
          </p:cNvPr>
          <p:cNvSpPr txBox="1"/>
          <p:nvPr/>
        </p:nvSpPr>
        <p:spPr>
          <a:xfrm>
            <a:off x="1424943" y="3943689"/>
            <a:ext cx="4913230" cy="523220"/>
          </a:xfrm>
          <a:prstGeom prst="rect">
            <a:avLst/>
          </a:prstGeom>
          <a:noFill/>
        </p:spPr>
        <p:txBody>
          <a:bodyPr wrap="square" lIns="91440" tIns="45720" rIns="91440" bIns="45720" rtlCol="0" anchor="t">
            <a:spAutoFit/>
          </a:bodyPr>
          <a:lstStyle/>
          <a:p>
            <a:r>
              <a:rPr lang="nb-NO" sz="1400">
                <a:solidFill>
                  <a:srgbClr val="022E33"/>
                </a:solidFill>
                <a:latin typeface="Haffer"/>
                <a:cs typeface="Haffer"/>
              </a:rPr>
              <a:t>The </a:t>
            </a:r>
            <a:r>
              <a:rPr lang="nb-NO" sz="1400" err="1">
                <a:solidFill>
                  <a:srgbClr val="022E33"/>
                </a:solidFill>
                <a:latin typeface="Haffer"/>
                <a:cs typeface="Haffer"/>
              </a:rPr>
              <a:t>role</a:t>
            </a:r>
            <a:r>
              <a:rPr lang="nb-NO" sz="1400">
                <a:solidFill>
                  <a:srgbClr val="022E33"/>
                </a:solidFill>
                <a:latin typeface="Haffer"/>
                <a:cs typeface="Haffer"/>
              </a:rPr>
              <a:t> </a:t>
            </a:r>
            <a:r>
              <a:rPr lang="nb-NO" sz="1400" err="1">
                <a:solidFill>
                  <a:srgbClr val="022E33"/>
                </a:solidFill>
                <a:latin typeface="Haffer"/>
                <a:cs typeface="Haffer"/>
              </a:rPr>
              <a:t>of</a:t>
            </a:r>
            <a:r>
              <a:rPr lang="nb-NO" sz="1400">
                <a:solidFill>
                  <a:srgbClr val="022E33"/>
                </a:solidFill>
                <a:latin typeface="Haffer"/>
                <a:cs typeface="Haffer"/>
              </a:rPr>
              <a:t> Guarantees of Origin (GOs) in CSR regulation</a:t>
            </a:r>
          </a:p>
          <a:p>
            <a:endParaRPr lang="nb-NO" sz="1400">
              <a:latin typeface="Haffer"/>
              <a:cs typeface="Haffer"/>
            </a:endParaRPr>
          </a:p>
        </p:txBody>
      </p:sp>
    </p:spTree>
    <p:extLst>
      <p:ext uri="{BB962C8B-B14F-4D97-AF65-F5344CB8AC3E}">
        <p14:creationId xmlns:p14="http://schemas.microsoft.com/office/powerpoint/2010/main" val="7133744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873F26-CFF9-AAA1-FC51-CD2605F395AE}"/>
              </a:ext>
            </a:extLst>
          </p:cNvPr>
          <p:cNvSpPr txBox="1"/>
          <p:nvPr/>
        </p:nvSpPr>
        <p:spPr>
          <a:xfrm>
            <a:off x="9186530" y="6390526"/>
            <a:ext cx="1865767" cy="276999"/>
          </a:xfrm>
          <a:prstGeom prst="rect">
            <a:avLst/>
          </a:prstGeom>
          <a:noFill/>
        </p:spPr>
        <p:txBody>
          <a:bodyPr wrap="none" rtlCol="0">
            <a:spAutoFit/>
          </a:bodyPr>
          <a:lstStyle/>
          <a:p>
            <a:r>
              <a:rPr lang="fi-FI" sz="1200" err="1"/>
              <a:t>Source</a:t>
            </a:r>
            <a:r>
              <a:rPr lang="fi-FI" sz="1200"/>
              <a:t>: Montel Analytics</a:t>
            </a:r>
            <a:endParaRPr lang="en-FI" sz="1200"/>
          </a:p>
        </p:txBody>
      </p:sp>
      <p:sp>
        <p:nvSpPr>
          <p:cNvPr id="8" name="Text Placeholder 7">
            <a:extLst>
              <a:ext uri="{FF2B5EF4-FFF2-40B4-BE49-F238E27FC236}">
                <a16:creationId xmlns:a16="http://schemas.microsoft.com/office/drawing/2014/main" id="{0E04C160-20ED-48FA-09F4-AF5A559EC685}"/>
              </a:ext>
            </a:extLst>
          </p:cNvPr>
          <p:cNvSpPr>
            <a:spLocks noGrp="1"/>
          </p:cNvSpPr>
          <p:nvPr>
            <p:ph type="body" sz="quarter" idx="11"/>
          </p:nvPr>
        </p:nvSpPr>
        <p:spPr/>
        <p:txBody>
          <a:bodyPr/>
          <a:lstStyle/>
          <a:p>
            <a:endParaRPr lang="en-FI"/>
          </a:p>
        </p:txBody>
      </p:sp>
      <p:graphicFrame>
        <p:nvGraphicFramePr>
          <p:cNvPr id="10" name="Chart 9">
            <a:extLst>
              <a:ext uri="{FF2B5EF4-FFF2-40B4-BE49-F238E27FC236}">
                <a16:creationId xmlns:a16="http://schemas.microsoft.com/office/drawing/2014/main" id="{3BDDB314-6F7E-37E8-575D-7B38F880C7A8}"/>
              </a:ext>
            </a:extLst>
          </p:cNvPr>
          <p:cNvGraphicFramePr>
            <a:graphicFrameLocks/>
          </p:cNvGraphicFramePr>
          <p:nvPr/>
        </p:nvGraphicFramePr>
        <p:xfrm>
          <a:off x="0" y="715440"/>
          <a:ext cx="10956251" cy="56750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62811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AF3460C4-928C-4429-83BB-E97203A0453B}"/>
              </a:ext>
            </a:extLst>
          </p:cNvPr>
          <p:cNvGraphicFramePr>
            <a:graphicFrameLocks/>
          </p:cNvGraphicFramePr>
          <p:nvPr/>
        </p:nvGraphicFramePr>
        <p:xfrm>
          <a:off x="769937" y="534390"/>
          <a:ext cx="10894626" cy="554577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1E299687-6C6E-E166-0A9F-9D8970C313AA}"/>
              </a:ext>
            </a:extLst>
          </p:cNvPr>
          <p:cNvSpPr txBox="1"/>
          <p:nvPr/>
        </p:nvSpPr>
        <p:spPr>
          <a:xfrm>
            <a:off x="8478982" y="6400800"/>
            <a:ext cx="4001984" cy="261610"/>
          </a:xfrm>
          <a:prstGeom prst="rect">
            <a:avLst/>
          </a:prstGeom>
          <a:noFill/>
        </p:spPr>
        <p:txBody>
          <a:bodyPr wrap="square" rtlCol="0">
            <a:spAutoFit/>
          </a:bodyPr>
          <a:lstStyle/>
          <a:p>
            <a:r>
              <a:rPr lang="fi-FI" sz="1100"/>
              <a:t>AIB </a:t>
            </a:r>
            <a:r>
              <a:rPr lang="fi-FI" sz="1100" err="1"/>
              <a:t>statistics</a:t>
            </a:r>
            <a:r>
              <a:rPr lang="fi-FI" sz="1100"/>
              <a:t>, </a:t>
            </a:r>
            <a:r>
              <a:rPr lang="fi-FI" sz="1100" err="1"/>
              <a:t>cutting</a:t>
            </a:r>
            <a:r>
              <a:rPr lang="fi-FI" sz="1100"/>
              <a:t> </a:t>
            </a:r>
            <a:r>
              <a:rPr lang="fi-FI" sz="1100" err="1"/>
              <a:t>point</a:t>
            </a:r>
            <a:r>
              <a:rPr lang="fi-FI" sz="1100"/>
              <a:t> 07/24</a:t>
            </a:r>
            <a:endParaRPr lang="en-FI" sz="1100"/>
          </a:p>
        </p:txBody>
      </p:sp>
      <p:sp>
        <p:nvSpPr>
          <p:cNvPr id="6" name="Text Placeholder 5">
            <a:extLst>
              <a:ext uri="{FF2B5EF4-FFF2-40B4-BE49-F238E27FC236}">
                <a16:creationId xmlns:a16="http://schemas.microsoft.com/office/drawing/2014/main" id="{44D1EF3B-2A5E-9C5A-9CD3-A81CBAC72B2F}"/>
              </a:ext>
            </a:extLst>
          </p:cNvPr>
          <p:cNvSpPr>
            <a:spLocks noGrp="1"/>
          </p:cNvSpPr>
          <p:nvPr>
            <p:ph type="body" sz="quarter" idx="10"/>
          </p:nvPr>
        </p:nvSpPr>
        <p:spPr/>
        <p:txBody>
          <a:bodyPr/>
          <a:lstStyle/>
          <a:p>
            <a:endParaRPr lang="en-FI"/>
          </a:p>
        </p:txBody>
      </p:sp>
      <p:sp>
        <p:nvSpPr>
          <p:cNvPr id="8" name="Text Placeholder 7">
            <a:extLst>
              <a:ext uri="{FF2B5EF4-FFF2-40B4-BE49-F238E27FC236}">
                <a16:creationId xmlns:a16="http://schemas.microsoft.com/office/drawing/2014/main" id="{99254553-AD54-EC5D-E242-5F570DD1B6FC}"/>
              </a:ext>
            </a:extLst>
          </p:cNvPr>
          <p:cNvSpPr>
            <a:spLocks noGrp="1"/>
          </p:cNvSpPr>
          <p:nvPr>
            <p:ph type="body" sz="quarter" idx="11"/>
          </p:nvPr>
        </p:nvSpPr>
        <p:spPr/>
        <p:txBody>
          <a:bodyPr/>
          <a:lstStyle/>
          <a:p>
            <a:endParaRPr lang="en-FI"/>
          </a:p>
        </p:txBody>
      </p:sp>
      <p:sp>
        <p:nvSpPr>
          <p:cNvPr id="9" name="Text Placeholder 8">
            <a:extLst>
              <a:ext uri="{FF2B5EF4-FFF2-40B4-BE49-F238E27FC236}">
                <a16:creationId xmlns:a16="http://schemas.microsoft.com/office/drawing/2014/main" id="{CD264232-3DFD-9547-266E-859350108FEF}"/>
              </a:ext>
            </a:extLst>
          </p:cNvPr>
          <p:cNvSpPr>
            <a:spLocks noGrp="1"/>
          </p:cNvSpPr>
          <p:nvPr>
            <p:ph type="body" sz="quarter" idx="16"/>
          </p:nvPr>
        </p:nvSpPr>
        <p:spPr/>
        <p:txBody>
          <a:bodyPr/>
          <a:lstStyle/>
          <a:p>
            <a:endParaRPr lang="en-FI"/>
          </a:p>
        </p:txBody>
      </p:sp>
    </p:spTree>
    <p:extLst>
      <p:ext uri="{BB962C8B-B14F-4D97-AF65-F5344CB8AC3E}">
        <p14:creationId xmlns:p14="http://schemas.microsoft.com/office/powerpoint/2010/main" val="2876041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A25B2B7-ED0D-D10E-2771-375C60962F99}"/>
              </a:ext>
            </a:extLst>
          </p:cNvPr>
          <p:cNvSpPr txBox="1"/>
          <p:nvPr/>
        </p:nvSpPr>
        <p:spPr>
          <a:xfrm>
            <a:off x="2343954" y="540688"/>
            <a:ext cx="5805181" cy="307777"/>
          </a:xfrm>
          <a:prstGeom prst="rect">
            <a:avLst/>
          </a:prstGeom>
          <a:noFill/>
        </p:spPr>
        <p:txBody>
          <a:bodyPr wrap="square" rtlCol="0">
            <a:spAutoFit/>
          </a:bodyPr>
          <a:lstStyle/>
          <a:p>
            <a:r>
              <a:rPr lang="en-US" sz="1400" b="1">
                <a:solidFill>
                  <a:srgbClr val="022E33">
                    <a:lumMod val="65000"/>
                    <a:lumOff val="35000"/>
                  </a:srgbClr>
                </a:solidFill>
              </a:rPr>
              <a:t>MONTHLY PRICE DEVELOPMENTS FORECAST</a:t>
            </a:r>
          </a:p>
        </p:txBody>
      </p:sp>
      <p:pic>
        <p:nvPicPr>
          <p:cNvPr id="3" name="Picture 2">
            <a:extLst>
              <a:ext uri="{FF2B5EF4-FFF2-40B4-BE49-F238E27FC236}">
                <a16:creationId xmlns:a16="http://schemas.microsoft.com/office/drawing/2014/main" id="{ABF9CC43-D259-1DE7-AC84-55F97B913B9C}"/>
              </a:ext>
            </a:extLst>
          </p:cNvPr>
          <p:cNvPicPr>
            <a:picLocks noChangeAspect="1"/>
          </p:cNvPicPr>
          <p:nvPr/>
        </p:nvPicPr>
        <p:blipFill>
          <a:blip r:embed="rId3"/>
          <a:stretch>
            <a:fillRect/>
          </a:stretch>
        </p:blipFill>
        <p:spPr>
          <a:xfrm>
            <a:off x="1234350" y="995408"/>
            <a:ext cx="7026103" cy="5862592"/>
          </a:xfrm>
          <a:prstGeom prst="rect">
            <a:avLst/>
          </a:prstGeom>
        </p:spPr>
      </p:pic>
    </p:spTree>
    <p:extLst>
      <p:ext uri="{BB962C8B-B14F-4D97-AF65-F5344CB8AC3E}">
        <p14:creationId xmlns:p14="http://schemas.microsoft.com/office/powerpoint/2010/main" val="33321736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23EA92-D6EF-80BE-5CD8-FCE31595121E}"/>
              </a:ext>
            </a:extLst>
          </p:cNvPr>
          <p:cNvSpPr>
            <a:spLocks noGrp="1"/>
          </p:cNvSpPr>
          <p:nvPr>
            <p:ph type="body" sz="quarter" idx="10"/>
          </p:nvPr>
        </p:nvSpPr>
        <p:spPr/>
        <p:txBody>
          <a:bodyPr/>
          <a:lstStyle/>
          <a:p>
            <a:r>
              <a:rPr lang="fi-FI"/>
              <a:t>Market </a:t>
            </a:r>
            <a:r>
              <a:rPr lang="fi-FI" err="1"/>
              <a:t>development</a:t>
            </a:r>
            <a:endParaRPr lang="en-FI"/>
          </a:p>
        </p:txBody>
      </p:sp>
      <p:graphicFrame>
        <p:nvGraphicFramePr>
          <p:cNvPr id="9" name="Chart 8">
            <a:extLst>
              <a:ext uri="{FF2B5EF4-FFF2-40B4-BE49-F238E27FC236}">
                <a16:creationId xmlns:a16="http://schemas.microsoft.com/office/drawing/2014/main" id="{2BD5AE84-EBEF-6F26-EA7E-A6AD95E05AF1}"/>
              </a:ext>
            </a:extLst>
          </p:cNvPr>
          <p:cNvGraphicFramePr>
            <a:graphicFrameLocks/>
          </p:cNvGraphicFramePr>
          <p:nvPr/>
        </p:nvGraphicFramePr>
        <p:xfrm>
          <a:off x="959977" y="2057400"/>
          <a:ext cx="8955299" cy="446267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06699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209E81-91E1-72F3-3F6E-9FA8F9D6093E}"/>
              </a:ext>
            </a:extLst>
          </p:cNvPr>
          <p:cNvSpPr>
            <a:spLocks noGrp="1"/>
          </p:cNvSpPr>
          <p:nvPr>
            <p:ph type="title"/>
          </p:nvPr>
        </p:nvSpPr>
        <p:spPr>
          <a:xfrm>
            <a:off x="760163" y="1105231"/>
            <a:ext cx="5477007" cy="2128507"/>
          </a:xfrm>
        </p:spPr>
        <p:txBody>
          <a:bodyPr vert="horz"/>
          <a:lstStyle/>
          <a:p>
            <a:r>
              <a:rPr lang="en-US" sz="3600"/>
              <a:t>Case studies of successful corporate use of GOs in the electricity-intensive industry</a:t>
            </a:r>
            <a:endParaRPr lang="en-US">
              <a:latin typeface="Lexend Exa HM" pitchFamily="50" charset="0"/>
            </a:endParaRPr>
          </a:p>
        </p:txBody>
      </p:sp>
      <p:sp>
        <p:nvSpPr>
          <p:cNvPr id="21" name="Bildplatzhalter 20">
            <a:extLst>
              <a:ext uri="{FF2B5EF4-FFF2-40B4-BE49-F238E27FC236}">
                <a16:creationId xmlns:a16="http://schemas.microsoft.com/office/drawing/2014/main" id="{EE3157D0-6A8E-3BA8-A8DD-A70596A5F5AF}"/>
              </a:ext>
            </a:extLst>
          </p:cNvPr>
          <p:cNvSpPr>
            <a:spLocks noGrp="1"/>
          </p:cNvSpPr>
          <p:nvPr>
            <p:ph type="pic" sz="quarter" idx="17"/>
          </p:nvPr>
        </p:nvSpPr>
        <p:spPr/>
        <p:txBody>
          <a:bodyPr/>
          <a:lstStyle/>
          <a:p>
            <a:endParaRPr lang="en-US"/>
          </a:p>
        </p:txBody>
      </p:sp>
      <p:sp>
        <p:nvSpPr>
          <p:cNvPr id="19" name="Textplatzhalter 18">
            <a:extLst>
              <a:ext uri="{FF2B5EF4-FFF2-40B4-BE49-F238E27FC236}">
                <a16:creationId xmlns:a16="http://schemas.microsoft.com/office/drawing/2014/main" id="{A9F10FE4-E79B-50EB-5F97-DB15C7E2735A}"/>
              </a:ext>
            </a:extLst>
          </p:cNvPr>
          <p:cNvSpPr>
            <a:spLocks noGrp="1"/>
          </p:cNvSpPr>
          <p:nvPr>
            <p:ph type="body" sz="quarter" idx="19"/>
          </p:nvPr>
        </p:nvSpPr>
        <p:spPr/>
        <p:txBody>
          <a:bodyPr/>
          <a:lstStyle/>
          <a:p>
            <a:endParaRPr lang="de-DE"/>
          </a:p>
        </p:txBody>
      </p:sp>
      <p:graphicFrame>
        <p:nvGraphicFramePr>
          <p:cNvPr id="9" name="Object 8" hidden="1">
            <a:extLst>
              <a:ext uri="{FF2B5EF4-FFF2-40B4-BE49-F238E27FC236}">
                <a16:creationId xmlns:a16="http://schemas.microsoft.com/office/drawing/2014/main" id="{E160CDA8-7373-5CEE-42AA-DA2CE65EBA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9" name="Object 8" hidden="1">
                        <a:extLst>
                          <a:ext uri="{FF2B5EF4-FFF2-40B4-BE49-F238E27FC236}">
                            <a16:creationId xmlns:a16="http://schemas.microsoft.com/office/drawing/2014/main" id="{E160CDA8-7373-5CEE-42AA-DA2CE65EBA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umsplatzhalter 1">
            <a:extLst>
              <a:ext uri="{FF2B5EF4-FFF2-40B4-BE49-F238E27FC236}">
                <a16:creationId xmlns:a16="http://schemas.microsoft.com/office/drawing/2014/main" id="{35F3A2D4-DEF9-4677-9524-26E6187F4D99}"/>
              </a:ext>
            </a:extLst>
          </p:cNvPr>
          <p:cNvSpPr>
            <a:spLocks noGrp="1"/>
          </p:cNvSpPr>
          <p:nvPr>
            <p:ph type="dt" sz="half" idx="18"/>
          </p:nvPr>
        </p:nvSpPr>
        <p:spPr/>
        <p:txBody>
          <a:bodyPr/>
          <a:lstStyle/>
          <a:p>
            <a:fld id="{8CB0FF0D-99E9-42E7-89D9-6F2C91295C48}" type="datetime1">
              <a:rPr lang="en-US" noProof="0" smtClean="0"/>
              <a:t>10/31/2024</a:t>
            </a:fld>
            <a:endParaRPr lang="en-US" noProof="0"/>
          </a:p>
        </p:txBody>
      </p:sp>
      <p:sp>
        <p:nvSpPr>
          <p:cNvPr id="4" name="Fußzeilenplatzhalter 3">
            <a:extLst>
              <a:ext uri="{FF2B5EF4-FFF2-40B4-BE49-F238E27FC236}">
                <a16:creationId xmlns:a16="http://schemas.microsoft.com/office/drawing/2014/main" id="{02A31172-2CDA-4D7B-8D88-61792E2AFE2A}"/>
              </a:ext>
            </a:extLst>
          </p:cNvPr>
          <p:cNvSpPr>
            <a:spLocks noGrp="1"/>
          </p:cNvSpPr>
          <p:nvPr>
            <p:ph type="ftr" sz="quarter" idx="11"/>
          </p:nvPr>
        </p:nvSpPr>
        <p:spPr/>
        <p:txBody>
          <a:bodyPr/>
          <a:lstStyle/>
          <a:p>
            <a:r>
              <a:rPr lang="en-US" noProof="0"/>
              <a:t>Max Schuler – Heidelberg Materials AG</a:t>
            </a:r>
          </a:p>
        </p:txBody>
      </p:sp>
      <p:pic>
        <p:nvPicPr>
          <p:cNvPr id="8" name="Bildplatzhalter 7" descr="Ein Bild, das Himmel, Wolke, draußen, Horizont enthält.&#10;&#10;Automatisch generierte Beschreibung">
            <a:extLst>
              <a:ext uri="{FF2B5EF4-FFF2-40B4-BE49-F238E27FC236}">
                <a16:creationId xmlns:a16="http://schemas.microsoft.com/office/drawing/2014/main" id="{51225F67-6F30-DDD1-F782-B284E199F964}"/>
              </a:ext>
            </a:extLst>
          </p:cNvPr>
          <p:cNvPicPr>
            <a:picLocks noGrp="1" noChangeAspect="1"/>
          </p:cNvPicPr>
          <p:nvPr>
            <p:ph type="pic" sz="quarter" idx="10"/>
          </p:nvPr>
        </p:nvPicPr>
        <p:blipFill>
          <a:blip r:embed="rId6">
            <a:extLst>
              <a:ext uri="{28A0092B-C50C-407E-A947-70E740481C1C}">
                <a14:useLocalDpi xmlns:a14="http://schemas.microsoft.com/office/drawing/2010/main" val="0"/>
              </a:ext>
            </a:extLst>
          </a:blip>
          <a:srcRect l="1291" r="1291"/>
          <a:stretch>
            <a:fillRect/>
          </a:stretch>
        </p:blipFill>
        <p:spPr/>
      </p:pic>
    </p:spTree>
    <p:extLst>
      <p:ext uri="{BB962C8B-B14F-4D97-AF65-F5344CB8AC3E}">
        <p14:creationId xmlns:p14="http://schemas.microsoft.com/office/powerpoint/2010/main" val="31992279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D2AD0699-CF4C-4908-B45F-25C33FA63B92}"/>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28917" b="28917"/>
          <a:stretch/>
        </p:blipFill>
        <p:spPr/>
      </p:pic>
      <p:sp>
        <p:nvSpPr>
          <p:cNvPr id="4" name="Titel 3">
            <a:extLst>
              <a:ext uri="{FF2B5EF4-FFF2-40B4-BE49-F238E27FC236}">
                <a16:creationId xmlns:a16="http://schemas.microsoft.com/office/drawing/2014/main" id="{0DD183C0-5A66-4721-B5AD-0FA730F8E75B}"/>
              </a:ext>
            </a:extLst>
          </p:cNvPr>
          <p:cNvSpPr>
            <a:spLocks noGrp="1"/>
          </p:cNvSpPr>
          <p:nvPr>
            <p:ph type="title"/>
          </p:nvPr>
        </p:nvSpPr>
        <p:spPr/>
        <p:txBody>
          <a:bodyPr/>
          <a:lstStyle/>
          <a:p>
            <a:r>
              <a:rPr lang="en-US" b="1" i="0">
                <a:solidFill>
                  <a:srgbClr val="004E2B"/>
                </a:solidFill>
                <a:effectLst/>
              </a:rPr>
              <a:t>Heidelberg Materials is one of the world’s largest building materials companies</a:t>
            </a:r>
            <a:endParaRPr lang="de-DE"/>
          </a:p>
        </p:txBody>
      </p:sp>
      <p:sp>
        <p:nvSpPr>
          <p:cNvPr id="30" name="Textplatzhalter 29">
            <a:extLst>
              <a:ext uri="{FF2B5EF4-FFF2-40B4-BE49-F238E27FC236}">
                <a16:creationId xmlns:a16="http://schemas.microsoft.com/office/drawing/2014/main" id="{4E2A175E-4717-4095-9C59-E2E20BEA5BC5}"/>
              </a:ext>
            </a:extLst>
          </p:cNvPr>
          <p:cNvSpPr>
            <a:spLocks noGrp="1"/>
          </p:cNvSpPr>
          <p:nvPr>
            <p:ph type="body" sz="quarter" idx="14"/>
          </p:nvPr>
        </p:nvSpPr>
        <p:spPr/>
        <p:txBody>
          <a:bodyPr/>
          <a:lstStyle/>
          <a:p>
            <a:r>
              <a:rPr lang="en-US" sz="1000"/>
              <a:t>Case studies of successful corporate use of GOs in the electricity-intensive industry</a:t>
            </a:r>
            <a:endParaRPr lang="de-DE"/>
          </a:p>
        </p:txBody>
      </p:sp>
      <p:sp>
        <p:nvSpPr>
          <p:cNvPr id="32" name="Bildplatzhalter 31">
            <a:extLst>
              <a:ext uri="{FF2B5EF4-FFF2-40B4-BE49-F238E27FC236}">
                <a16:creationId xmlns:a16="http://schemas.microsoft.com/office/drawing/2014/main" id="{8437F9F7-7E68-4045-B46E-05D331F64002}"/>
              </a:ext>
            </a:extLst>
          </p:cNvPr>
          <p:cNvSpPr>
            <a:spLocks noGrp="1"/>
          </p:cNvSpPr>
          <p:nvPr>
            <p:ph type="pic" sz="quarter" idx="36"/>
          </p:nvPr>
        </p:nvSpPr>
        <p:spPr/>
        <p:txBody>
          <a:bodyPr/>
          <a:lstStyle/>
          <a:p>
            <a:endParaRPr lang="en-US"/>
          </a:p>
        </p:txBody>
      </p:sp>
      <p:sp>
        <p:nvSpPr>
          <p:cNvPr id="31" name="Textplatzhalter 30">
            <a:extLst>
              <a:ext uri="{FF2B5EF4-FFF2-40B4-BE49-F238E27FC236}">
                <a16:creationId xmlns:a16="http://schemas.microsoft.com/office/drawing/2014/main" id="{F7579A40-7608-439F-A405-5E42FCB275FF}"/>
              </a:ext>
            </a:extLst>
          </p:cNvPr>
          <p:cNvSpPr>
            <a:spLocks noGrp="1"/>
          </p:cNvSpPr>
          <p:nvPr>
            <p:ph type="body" sz="quarter" idx="35"/>
          </p:nvPr>
        </p:nvSpPr>
        <p:spPr/>
        <p:txBody>
          <a:bodyPr/>
          <a:lstStyle/>
          <a:p>
            <a:endParaRPr lang="de-DE"/>
          </a:p>
        </p:txBody>
      </p:sp>
      <p:sp>
        <p:nvSpPr>
          <p:cNvPr id="12" name="Textfeld 7">
            <a:extLst>
              <a:ext uri="{FF2B5EF4-FFF2-40B4-BE49-F238E27FC236}">
                <a16:creationId xmlns:a16="http://schemas.microsoft.com/office/drawing/2014/main" id="{93F77E20-9F24-4884-A779-F864E3E16771}"/>
              </a:ext>
            </a:extLst>
          </p:cNvPr>
          <p:cNvSpPr txBox="1"/>
          <p:nvPr/>
        </p:nvSpPr>
        <p:spPr>
          <a:xfrm>
            <a:off x="0" y="1999171"/>
            <a:ext cx="3197395" cy="1253402"/>
          </a:xfrm>
          <a:prstGeom prst="rect">
            <a:avLst/>
          </a:prstGeom>
          <a:noFill/>
          <a:extLst>
            <a:ext uri="{909E8E84-426E-40DD-AFC4-6F175D3DCCD1}">
              <a14:hiddenFill xmlns:a14="http://schemas.microsoft.com/office/drawing/2010/main">
                <a:solidFill>
                  <a:srgbClr val="FFFFFF"/>
                </a:solidFill>
              </a14:hiddenFill>
            </a:ext>
          </a:extLst>
        </p:spPr>
        <p:txBody>
          <a:bodyPr wrap="square" lIns="144000" tIns="72000" rIns="144000" bIns="72000">
            <a:spAutoFit/>
          </a:bodyPr>
          <a:lstStyle/>
          <a:p>
            <a:pPr algn="ctr"/>
            <a:r>
              <a:rPr lang="de-DE" sz="4000">
                <a:solidFill>
                  <a:schemeClr val="accent3"/>
                </a:solidFill>
                <a:cs typeface="Calibri" panose="020F0502020204030204" pitchFamily="34" charset="0"/>
              </a:rPr>
              <a:t>51,000</a:t>
            </a:r>
          </a:p>
          <a:p>
            <a:pPr algn="ctr"/>
            <a:r>
              <a:rPr lang="de-DE" sz="1600" b="0" i="0" u="none" strike="noStrike" err="1">
                <a:solidFill>
                  <a:srgbClr val="3B3B3B"/>
                </a:solidFill>
                <a:effectLst/>
              </a:rPr>
              <a:t>employees</a:t>
            </a:r>
            <a:r>
              <a:rPr lang="de-DE" sz="1600" b="0" i="0" u="none" strike="noStrike">
                <a:solidFill>
                  <a:srgbClr val="3B3B3B"/>
                </a:solidFill>
                <a:effectLst/>
              </a:rPr>
              <a:t> </a:t>
            </a:r>
            <a:r>
              <a:rPr lang="de-DE" sz="1600" b="0" i="0">
                <a:solidFill>
                  <a:srgbClr val="000000"/>
                </a:solidFill>
                <a:effectLst/>
              </a:rPr>
              <a:t>​</a:t>
            </a:r>
            <a:br>
              <a:rPr lang="de-DE" sz="1600" b="0" i="0">
                <a:solidFill>
                  <a:srgbClr val="000000"/>
                </a:solidFill>
                <a:effectLst/>
              </a:rPr>
            </a:br>
            <a:r>
              <a:rPr lang="de-DE" sz="1600" b="0" i="0" u="none" strike="noStrike">
                <a:solidFill>
                  <a:srgbClr val="3B3B3B"/>
                </a:solidFill>
                <a:effectLst/>
              </a:rPr>
              <a:t>on 5 </a:t>
            </a:r>
            <a:r>
              <a:rPr lang="de-DE" sz="1600" b="0" i="0" u="none" strike="noStrike" err="1">
                <a:solidFill>
                  <a:srgbClr val="3B3B3B"/>
                </a:solidFill>
                <a:effectLst/>
              </a:rPr>
              <a:t>continents</a:t>
            </a:r>
            <a:r>
              <a:rPr lang="de-DE" sz="1600" b="0" i="0">
                <a:solidFill>
                  <a:srgbClr val="000000"/>
                </a:solidFill>
                <a:effectLst/>
              </a:rPr>
              <a:t>​</a:t>
            </a:r>
            <a:endParaRPr lang="de-DE" sz="1600">
              <a:cs typeface="Calibri" panose="020F0502020204030204" pitchFamily="34" charset="0"/>
            </a:endParaRPr>
          </a:p>
        </p:txBody>
      </p:sp>
      <p:sp>
        <p:nvSpPr>
          <p:cNvPr id="13" name="Textfeld 15">
            <a:extLst>
              <a:ext uri="{FF2B5EF4-FFF2-40B4-BE49-F238E27FC236}">
                <a16:creationId xmlns:a16="http://schemas.microsoft.com/office/drawing/2014/main" id="{04295D3F-ABF6-4FF6-A09B-4D6BDAFC9A1A}"/>
              </a:ext>
            </a:extLst>
          </p:cNvPr>
          <p:cNvSpPr txBox="1"/>
          <p:nvPr/>
        </p:nvSpPr>
        <p:spPr>
          <a:xfrm>
            <a:off x="4027337" y="1999171"/>
            <a:ext cx="3305821" cy="1253402"/>
          </a:xfrm>
          <a:prstGeom prst="rect">
            <a:avLst/>
          </a:prstGeom>
          <a:noFill/>
          <a:extLst>
            <a:ext uri="{909E8E84-426E-40DD-AFC4-6F175D3DCCD1}">
              <a14:hiddenFill xmlns:a14="http://schemas.microsoft.com/office/drawing/2010/main">
                <a:solidFill>
                  <a:srgbClr val="FFFFFF"/>
                </a:solidFill>
              </a14:hiddenFill>
            </a:ext>
          </a:extLst>
        </p:spPr>
        <p:txBody>
          <a:bodyPr wrap="square" lIns="144000" tIns="72000" rIns="144000" bIns="72000">
            <a:spAutoFit/>
          </a:bodyPr>
          <a:lstStyle/>
          <a:p>
            <a:pPr algn="ctr"/>
            <a:r>
              <a:rPr lang="de-DE" sz="4000">
                <a:solidFill>
                  <a:schemeClr val="accent3"/>
                </a:solidFill>
                <a:cs typeface="Calibri" panose="020F0502020204030204" pitchFamily="34" charset="0"/>
              </a:rPr>
              <a:t>3,000</a:t>
            </a:r>
            <a:endParaRPr lang="de-DE" sz="4000" baseline="-25000">
              <a:solidFill>
                <a:schemeClr val="accent3"/>
              </a:solidFill>
              <a:cs typeface="Calibri" panose="020F0502020204030204" pitchFamily="34" charset="0"/>
            </a:endParaRPr>
          </a:p>
          <a:p>
            <a:pPr algn="ctr"/>
            <a:r>
              <a:rPr lang="de-DE" sz="1600" b="0" i="0" u="none" strike="noStrike" err="1">
                <a:solidFill>
                  <a:srgbClr val="3B3B3B"/>
                </a:solidFill>
                <a:effectLst/>
              </a:rPr>
              <a:t>locations</a:t>
            </a:r>
            <a:r>
              <a:rPr lang="de-DE" sz="1600" b="0" i="0" u="none" strike="noStrike">
                <a:solidFill>
                  <a:srgbClr val="3B3B3B"/>
                </a:solidFill>
                <a:effectLst/>
              </a:rPr>
              <a:t> </a:t>
            </a:r>
            <a:r>
              <a:rPr lang="de-DE" sz="1600" b="0" i="0">
                <a:solidFill>
                  <a:srgbClr val="000000"/>
                </a:solidFill>
                <a:effectLst/>
              </a:rPr>
              <a:t>​</a:t>
            </a:r>
            <a:br>
              <a:rPr lang="de-DE" sz="1600" b="0" i="0">
                <a:solidFill>
                  <a:srgbClr val="000000"/>
                </a:solidFill>
                <a:effectLst/>
              </a:rPr>
            </a:br>
            <a:r>
              <a:rPr lang="de-DE" sz="1600" b="0" i="0" u="none" strike="noStrike" err="1">
                <a:solidFill>
                  <a:srgbClr val="3B3B3B"/>
                </a:solidFill>
                <a:effectLst/>
              </a:rPr>
              <a:t>worldwide</a:t>
            </a:r>
            <a:endParaRPr lang="de-DE" sz="1600"/>
          </a:p>
        </p:txBody>
      </p:sp>
      <p:grpSp>
        <p:nvGrpSpPr>
          <p:cNvPr id="15" name="Group 40">
            <a:extLst>
              <a:ext uri="{FF2B5EF4-FFF2-40B4-BE49-F238E27FC236}">
                <a16:creationId xmlns:a16="http://schemas.microsoft.com/office/drawing/2014/main" id="{EB65E30B-3615-49BE-B13E-D475355921AE}"/>
              </a:ext>
            </a:extLst>
          </p:cNvPr>
          <p:cNvGrpSpPr/>
          <p:nvPr/>
        </p:nvGrpSpPr>
        <p:grpSpPr>
          <a:xfrm>
            <a:off x="5266324" y="1091568"/>
            <a:ext cx="829676" cy="819389"/>
            <a:chOff x="6185695" y="1908570"/>
            <a:chExt cx="777428" cy="785772"/>
          </a:xfrm>
        </p:grpSpPr>
        <p:pic>
          <p:nvPicPr>
            <p:cNvPr id="16" name="Graphic 27">
              <a:extLst>
                <a:ext uri="{FF2B5EF4-FFF2-40B4-BE49-F238E27FC236}">
                  <a16:creationId xmlns:a16="http://schemas.microsoft.com/office/drawing/2014/main" id="{69D1CAAE-25A0-4510-842E-81DA5532C2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79755" y="1918444"/>
              <a:ext cx="602190" cy="775898"/>
            </a:xfrm>
            <a:prstGeom prst="rect">
              <a:avLst/>
            </a:prstGeom>
          </p:spPr>
        </p:pic>
        <p:sp>
          <p:nvSpPr>
            <p:cNvPr id="17" name="Freihandform: Form 86">
              <a:extLst>
                <a:ext uri="{FF2B5EF4-FFF2-40B4-BE49-F238E27FC236}">
                  <a16:creationId xmlns:a16="http://schemas.microsoft.com/office/drawing/2014/main" id="{BB3A98A0-7241-4AD0-B148-AACD15E5F90D}"/>
                </a:ext>
              </a:extLst>
            </p:cNvPr>
            <p:cNvSpPr/>
            <p:nvPr/>
          </p:nvSpPr>
          <p:spPr>
            <a:xfrm rot="16200000">
              <a:off x="6185695" y="1908570"/>
              <a:ext cx="777428" cy="777428"/>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algn="ctr"/>
              <a:endParaRPr lang="de-DE"/>
            </a:p>
          </p:txBody>
        </p:sp>
      </p:grpSp>
      <p:grpSp>
        <p:nvGrpSpPr>
          <p:cNvPr id="18" name="Group 20">
            <a:extLst>
              <a:ext uri="{FF2B5EF4-FFF2-40B4-BE49-F238E27FC236}">
                <a16:creationId xmlns:a16="http://schemas.microsoft.com/office/drawing/2014/main" id="{38D0347E-0C10-47BA-AE2B-D3A5BA8E983B}"/>
              </a:ext>
            </a:extLst>
          </p:cNvPr>
          <p:cNvGrpSpPr/>
          <p:nvPr/>
        </p:nvGrpSpPr>
        <p:grpSpPr>
          <a:xfrm>
            <a:off x="1178581" y="1129863"/>
            <a:ext cx="840234" cy="750765"/>
            <a:chOff x="2307085" y="1895922"/>
            <a:chExt cx="785772" cy="777428"/>
          </a:xfrm>
        </p:grpSpPr>
        <p:pic>
          <p:nvPicPr>
            <p:cNvPr id="19" name="Graphic 19">
              <a:extLst>
                <a:ext uri="{FF2B5EF4-FFF2-40B4-BE49-F238E27FC236}">
                  <a16:creationId xmlns:a16="http://schemas.microsoft.com/office/drawing/2014/main" id="{7F48F865-E5CC-4065-B270-52BD21322FC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16959" y="1989982"/>
              <a:ext cx="775898" cy="602190"/>
            </a:xfrm>
            <a:prstGeom prst="rect">
              <a:avLst/>
            </a:prstGeom>
          </p:spPr>
        </p:pic>
        <p:sp>
          <p:nvSpPr>
            <p:cNvPr id="20" name="Freihandform: Form 86">
              <a:extLst>
                <a:ext uri="{FF2B5EF4-FFF2-40B4-BE49-F238E27FC236}">
                  <a16:creationId xmlns:a16="http://schemas.microsoft.com/office/drawing/2014/main" id="{F47751BF-1053-4941-82E7-674A4F5D6A61}"/>
                </a:ext>
              </a:extLst>
            </p:cNvPr>
            <p:cNvSpPr/>
            <p:nvPr/>
          </p:nvSpPr>
          <p:spPr>
            <a:xfrm rot="16200000">
              <a:off x="2307085" y="1895922"/>
              <a:ext cx="777428" cy="777428"/>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pPr algn="ctr"/>
              <a:endParaRPr lang="de-DE"/>
            </a:p>
          </p:txBody>
        </p:sp>
      </p:grpSp>
      <p:sp>
        <p:nvSpPr>
          <p:cNvPr id="24" name="Textfeld 15">
            <a:extLst>
              <a:ext uri="{FF2B5EF4-FFF2-40B4-BE49-F238E27FC236}">
                <a16:creationId xmlns:a16="http://schemas.microsoft.com/office/drawing/2014/main" id="{317491B3-CA73-4021-A49B-7C13729ADFBE}"/>
              </a:ext>
            </a:extLst>
          </p:cNvPr>
          <p:cNvSpPr txBox="1"/>
          <p:nvPr/>
        </p:nvSpPr>
        <p:spPr>
          <a:xfrm>
            <a:off x="8162989" y="2368503"/>
            <a:ext cx="3305821" cy="884070"/>
          </a:xfrm>
          <a:prstGeom prst="rect">
            <a:avLst/>
          </a:prstGeom>
          <a:noFill/>
          <a:extLst>
            <a:ext uri="{909E8E84-426E-40DD-AFC4-6F175D3DCCD1}">
              <a14:hiddenFill xmlns:a14="http://schemas.microsoft.com/office/drawing/2010/main">
                <a:solidFill>
                  <a:srgbClr val="FFFFFF"/>
                </a:solidFill>
              </a14:hiddenFill>
            </a:ext>
          </a:extLst>
        </p:spPr>
        <p:txBody>
          <a:bodyPr wrap="square" lIns="144000" tIns="72000" rIns="144000" bIns="72000">
            <a:spAutoFit/>
          </a:bodyPr>
          <a:lstStyle/>
          <a:p>
            <a:pPr algn="ctr"/>
            <a:r>
              <a:rPr lang="en-US" sz="1600"/>
              <a:t>Leading positions in cement, aggregates, and ready-mixed concrete</a:t>
            </a:r>
            <a:endParaRPr lang="de-DE" sz="4000" b="1">
              <a:solidFill>
                <a:schemeClr val="bg1"/>
              </a:solidFill>
              <a:cs typeface="Calibri" panose="020F0502020204030204" pitchFamily="34" charset="0"/>
            </a:endParaRPr>
          </a:p>
        </p:txBody>
      </p:sp>
      <p:grpSp>
        <p:nvGrpSpPr>
          <p:cNvPr id="25" name="Group 62">
            <a:extLst>
              <a:ext uri="{FF2B5EF4-FFF2-40B4-BE49-F238E27FC236}">
                <a16:creationId xmlns:a16="http://schemas.microsoft.com/office/drawing/2014/main" id="{B108D4E6-223F-4A88-BF23-031CDC2464D5}"/>
              </a:ext>
            </a:extLst>
          </p:cNvPr>
          <p:cNvGrpSpPr/>
          <p:nvPr/>
        </p:nvGrpSpPr>
        <p:grpSpPr>
          <a:xfrm>
            <a:off x="9427185" y="1250529"/>
            <a:ext cx="777428" cy="777428"/>
            <a:chOff x="11036299" y="1908570"/>
            <a:chExt cx="777428" cy="777428"/>
          </a:xfrm>
        </p:grpSpPr>
        <p:pic>
          <p:nvPicPr>
            <p:cNvPr id="26" name="Graphic 37">
              <a:extLst>
                <a:ext uri="{FF2B5EF4-FFF2-40B4-BE49-F238E27FC236}">
                  <a16:creationId xmlns:a16="http://schemas.microsoft.com/office/drawing/2014/main" id="{47BCF209-C417-48C9-A611-F9F055BB45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063010" y="1935281"/>
              <a:ext cx="724007" cy="724007"/>
            </a:xfrm>
            <a:prstGeom prst="rect">
              <a:avLst/>
            </a:prstGeom>
          </p:spPr>
        </p:pic>
        <p:sp>
          <p:nvSpPr>
            <p:cNvPr id="27" name="Freihandform: Form 86">
              <a:extLst>
                <a:ext uri="{FF2B5EF4-FFF2-40B4-BE49-F238E27FC236}">
                  <a16:creationId xmlns:a16="http://schemas.microsoft.com/office/drawing/2014/main" id="{49C4F9A9-0F6A-4682-BDF1-7A73141EAC6E}"/>
                </a:ext>
              </a:extLst>
            </p:cNvPr>
            <p:cNvSpPr/>
            <p:nvPr/>
          </p:nvSpPr>
          <p:spPr>
            <a:xfrm rot="16200000">
              <a:off x="11036299" y="1908570"/>
              <a:ext cx="777428" cy="777428"/>
            </a:xfrm>
            <a:custGeom>
              <a:avLst/>
              <a:gdLst>
                <a:gd name="connsiteX0" fmla="*/ 0 w 304800"/>
                <a:gd name="connsiteY0" fmla="*/ 0 h 304800"/>
                <a:gd name="connsiteX1" fmla="*/ 304800 w 304800"/>
                <a:gd name="connsiteY1" fmla="*/ 0 h 304800"/>
                <a:gd name="connsiteX2" fmla="*/ 304800 w 304800"/>
                <a:gd name="connsiteY2" fmla="*/ 304800 h 304800"/>
                <a:gd name="connsiteX3" fmla="*/ 0 w 30480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304800" h="304800">
                  <a:moveTo>
                    <a:pt x="0" y="0"/>
                  </a:moveTo>
                  <a:lnTo>
                    <a:pt x="304800" y="0"/>
                  </a:lnTo>
                  <a:lnTo>
                    <a:pt x="304800" y="304800"/>
                  </a:lnTo>
                  <a:lnTo>
                    <a:pt x="0" y="304800"/>
                  </a:lnTo>
                  <a:close/>
                </a:path>
              </a:pathLst>
            </a:custGeom>
            <a:noFill/>
            <a:ln w="9525" cap="flat">
              <a:noFill/>
              <a:prstDash val="solid"/>
              <a:miter/>
            </a:ln>
          </p:spPr>
          <p:txBody>
            <a:bodyPr rtlCol="0" anchor="ctr"/>
            <a:lstStyle/>
            <a:p>
              <a:endParaRPr lang="de-DE"/>
            </a:p>
          </p:txBody>
        </p:sp>
      </p:grpSp>
      <p:sp>
        <p:nvSpPr>
          <p:cNvPr id="3" name="Fußzeilenplatzhalter 2">
            <a:extLst>
              <a:ext uri="{FF2B5EF4-FFF2-40B4-BE49-F238E27FC236}">
                <a16:creationId xmlns:a16="http://schemas.microsoft.com/office/drawing/2014/main" id="{0E6091FF-1EC6-48FA-AF87-5BD0A1F8AAF3}"/>
              </a:ext>
            </a:extLst>
          </p:cNvPr>
          <p:cNvSpPr>
            <a:spLocks noGrp="1"/>
          </p:cNvSpPr>
          <p:nvPr>
            <p:ph type="ftr" sz="quarter" idx="18"/>
          </p:nvPr>
        </p:nvSpPr>
        <p:spPr/>
        <p:txBody>
          <a:bodyPr/>
          <a:lstStyle/>
          <a:p>
            <a:r>
              <a:rPr lang="en-US" noProof="0"/>
              <a:t>Webinar "CSR Reporting: Energy Procurement and Regulatory Insights"</a:t>
            </a:r>
          </a:p>
        </p:txBody>
      </p:sp>
      <p:sp>
        <p:nvSpPr>
          <p:cNvPr id="5" name="Foliennummernplatzhalter 4">
            <a:extLst>
              <a:ext uri="{FF2B5EF4-FFF2-40B4-BE49-F238E27FC236}">
                <a16:creationId xmlns:a16="http://schemas.microsoft.com/office/drawing/2014/main" id="{43AD8C69-0D0F-4FB1-BFA4-C6C3B8FFFF8B}"/>
              </a:ext>
            </a:extLst>
          </p:cNvPr>
          <p:cNvSpPr>
            <a:spLocks noGrp="1"/>
          </p:cNvSpPr>
          <p:nvPr>
            <p:ph type="sldNum" sz="quarter" idx="19"/>
          </p:nvPr>
        </p:nvSpPr>
        <p:spPr/>
        <p:txBody>
          <a:bodyPr/>
          <a:lstStyle/>
          <a:p>
            <a:fld id="{A115CDC9-74CB-4F6C-8CD3-A6C89F254EE7}" type="slidenum">
              <a:rPr lang="en-US" smtClean="0"/>
              <a:pPr/>
              <a:t>25</a:t>
            </a:fld>
            <a:endParaRPr lang="en-US"/>
          </a:p>
        </p:txBody>
      </p:sp>
      <p:sp>
        <p:nvSpPr>
          <p:cNvPr id="6" name="Datumsplatzhalter 4">
            <a:extLst>
              <a:ext uri="{FF2B5EF4-FFF2-40B4-BE49-F238E27FC236}">
                <a16:creationId xmlns:a16="http://schemas.microsoft.com/office/drawing/2014/main" id="{62037E52-7409-FF81-A964-6D4431EB63C9}"/>
              </a:ext>
            </a:extLst>
          </p:cNvPr>
          <p:cNvSpPr txBox="1">
            <a:spLocks/>
          </p:cNvSpPr>
          <p:nvPr/>
        </p:nvSpPr>
        <p:spPr>
          <a:xfrm>
            <a:off x="2511512" y="6387525"/>
            <a:ext cx="592173" cy="123111"/>
          </a:xfrm>
          <a:prstGeom prst="rect">
            <a:avLst/>
          </a:prstGeom>
        </p:spPr>
        <p:txBody>
          <a:bodyPr vert="horz" lIns="0" tIns="0" rIns="0" bIns="0" rtlCol="0" anchor="b" anchorCtr="0">
            <a:noAutofit/>
          </a:bodyPr>
          <a:lstStyle>
            <a:lvl1pPr marL="0" indent="0" algn="l" defTabSz="914400" rtl="0" eaLnBrk="1" latinLnBrk="0" hangingPunct="1">
              <a:lnSpc>
                <a:spcPct val="120000"/>
              </a:lnSpc>
              <a:spcBef>
                <a:spcPts val="1000"/>
              </a:spcBef>
              <a:buFontTx/>
              <a:buNone/>
              <a:defRPr sz="1000" kern="1200">
                <a:solidFill>
                  <a:schemeClr val="tx2"/>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a:lstStyle>
          <a:p>
            <a:fld id="{629D701E-F34E-448B-9153-26BC34132A28}" type="datetime1">
              <a:rPr lang="en-US" sz="800" smtClean="0">
                <a:solidFill>
                  <a:schemeClr val="bg1"/>
                </a:solidFill>
              </a:rPr>
              <a:pPr/>
              <a:t>10/31/2024</a:t>
            </a:fld>
            <a:endParaRPr lang="en-US" sz="800">
              <a:solidFill>
                <a:schemeClr val="bg1"/>
              </a:solidFill>
            </a:endParaRPr>
          </a:p>
        </p:txBody>
      </p:sp>
    </p:spTree>
    <p:extLst>
      <p:ext uri="{BB962C8B-B14F-4D97-AF65-F5344CB8AC3E}">
        <p14:creationId xmlns:p14="http://schemas.microsoft.com/office/powerpoint/2010/main" val="1253391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DA6D23-8E19-2A13-3E8F-8A09E57AE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95" imgH="396" progId="TCLayout.ActiveDocument.1">
                  <p:embed/>
                </p:oleObj>
              </mc:Choice>
              <mc:Fallback>
                <p:oleObj name="think-cell Folie" r:id="rId13" imgW="395" imgH="396" progId="TCLayout.ActiveDocument.1">
                  <p:embed/>
                  <p:pic>
                    <p:nvPicPr>
                      <p:cNvPr id="7" name="think-cell data - do not delete" hidden="1">
                        <a:extLst>
                          <a:ext uri="{FF2B5EF4-FFF2-40B4-BE49-F238E27FC236}">
                            <a16:creationId xmlns:a16="http://schemas.microsoft.com/office/drawing/2014/main" id="{4EDA6D23-8E19-2A13-3E8F-8A09E57AEE99}"/>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86D7BE7-8022-A13C-69D3-E94C450143B8}"/>
              </a:ext>
            </a:extLst>
          </p:cNvPr>
          <p:cNvSpPr>
            <a:spLocks noGrp="1"/>
          </p:cNvSpPr>
          <p:nvPr>
            <p:ph type="title"/>
          </p:nvPr>
        </p:nvSpPr>
        <p:spPr>
          <a:xfrm>
            <a:off x="386459" y="545005"/>
            <a:ext cx="11419082" cy="276999"/>
          </a:xfrm>
        </p:spPr>
        <p:txBody>
          <a:bodyPr vert="horz"/>
          <a:lstStyle/>
          <a:p>
            <a:r>
              <a:rPr lang="en-US">
                <a:solidFill>
                  <a:srgbClr val="004E2B"/>
                </a:solidFill>
              </a:rPr>
              <a:t> Bringing Down CO2 Emissions: The Key Challenge for the Cement Industry </a:t>
            </a:r>
            <a:endParaRPr lang="de-DE"/>
          </a:p>
        </p:txBody>
      </p:sp>
      <p:sp>
        <p:nvSpPr>
          <p:cNvPr id="3" name="Textplatzhalter 2">
            <a:extLst>
              <a:ext uri="{FF2B5EF4-FFF2-40B4-BE49-F238E27FC236}">
                <a16:creationId xmlns:a16="http://schemas.microsoft.com/office/drawing/2014/main" id="{7B864E71-DD70-5011-0D6E-75D2CE0DBD2A}"/>
              </a:ext>
            </a:extLst>
          </p:cNvPr>
          <p:cNvSpPr>
            <a:spLocks noGrp="1"/>
          </p:cNvSpPr>
          <p:nvPr>
            <p:ph type="body" sz="quarter" idx="14"/>
          </p:nvPr>
        </p:nvSpPr>
        <p:spPr/>
        <p:txBody>
          <a:bodyPr/>
          <a:lstStyle/>
          <a:p>
            <a:r>
              <a:rPr lang="en-US" sz="1000"/>
              <a:t>Case studies of successful corporate use of GOs in the electricity-intensive industry</a:t>
            </a:r>
            <a:endParaRPr lang="en-DE"/>
          </a:p>
        </p:txBody>
      </p:sp>
      <p:sp>
        <p:nvSpPr>
          <p:cNvPr id="15" name="Fußzeilenplatzhalter 14">
            <a:extLst>
              <a:ext uri="{FF2B5EF4-FFF2-40B4-BE49-F238E27FC236}">
                <a16:creationId xmlns:a16="http://schemas.microsoft.com/office/drawing/2014/main" id="{1162A148-2191-469D-B736-FD4CC8B9C2DA}"/>
              </a:ext>
            </a:extLst>
          </p:cNvPr>
          <p:cNvSpPr>
            <a:spLocks noGrp="1"/>
          </p:cNvSpPr>
          <p:nvPr>
            <p:ph type="ftr" sz="quarter" idx="16"/>
          </p:nvPr>
        </p:nvSpPr>
        <p:spPr/>
        <p:txBody>
          <a:bodyPr/>
          <a:lstStyle/>
          <a:p>
            <a:r>
              <a:rPr lang="en-US" noProof="0"/>
              <a:t>Webinar "CSR Reporting: Energy Procurement and Regulatory Insights"</a:t>
            </a:r>
          </a:p>
        </p:txBody>
      </p:sp>
      <p:sp>
        <p:nvSpPr>
          <p:cNvPr id="16" name="Foliennummernplatzhalter 15">
            <a:extLst>
              <a:ext uri="{FF2B5EF4-FFF2-40B4-BE49-F238E27FC236}">
                <a16:creationId xmlns:a16="http://schemas.microsoft.com/office/drawing/2014/main" id="{2C18088B-EBF6-4D43-ABEC-6732C10404E8}"/>
              </a:ext>
            </a:extLst>
          </p:cNvPr>
          <p:cNvSpPr>
            <a:spLocks noGrp="1"/>
          </p:cNvSpPr>
          <p:nvPr>
            <p:ph type="sldNum" sz="quarter" idx="17"/>
          </p:nvPr>
        </p:nvSpPr>
        <p:spPr/>
        <p:txBody>
          <a:bodyPr/>
          <a:lstStyle/>
          <a:p>
            <a:fld id="{A115CDC9-74CB-4F6C-8CD3-A6C89F254EE7}" type="slidenum">
              <a:rPr lang="en-US" smtClean="0"/>
              <a:pPr/>
              <a:t>26</a:t>
            </a:fld>
            <a:endParaRPr lang="en-US"/>
          </a:p>
        </p:txBody>
      </p:sp>
      <p:sp>
        <p:nvSpPr>
          <p:cNvPr id="4" name="Datumsplatzhalter 4">
            <a:extLst>
              <a:ext uri="{FF2B5EF4-FFF2-40B4-BE49-F238E27FC236}">
                <a16:creationId xmlns:a16="http://schemas.microsoft.com/office/drawing/2014/main" id="{D6ED325C-126B-B12A-8207-FE20EEE6E60D}"/>
              </a:ext>
            </a:extLst>
          </p:cNvPr>
          <p:cNvSpPr txBox="1">
            <a:spLocks/>
          </p:cNvSpPr>
          <p:nvPr/>
        </p:nvSpPr>
        <p:spPr>
          <a:xfrm>
            <a:off x="2511512" y="6387525"/>
            <a:ext cx="592173" cy="123111"/>
          </a:xfrm>
          <a:prstGeom prst="rect">
            <a:avLst/>
          </a:prstGeom>
        </p:spPr>
        <p:txBody>
          <a:bodyPr vert="horz" lIns="0" tIns="0" rIns="0" bIns="0" rtlCol="0" anchor="b" anchorCtr="0">
            <a:noAutofit/>
          </a:bodyPr>
          <a:lstStyle>
            <a:lvl1pPr marL="0" indent="0" algn="l" defTabSz="914400" rtl="0" eaLnBrk="1" latinLnBrk="0" hangingPunct="1">
              <a:lnSpc>
                <a:spcPct val="120000"/>
              </a:lnSpc>
              <a:spcBef>
                <a:spcPts val="1000"/>
              </a:spcBef>
              <a:buFontTx/>
              <a:buNone/>
              <a:defRPr sz="1000" kern="1200">
                <a:solidFill>
                  <a:schemeClr val="tx2"/>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a:lstStyle>
          <a:p>
            <a:fld id="{629D701E-F34E-448B-9153-26BC34132A28}" type="datetime1">
              <a:rPr lang="en-US" sz="800" smtClean="0">
                <a:solidFill>
                  <a:schemeClr val="tx1"/>
                </a:solidFill>
              </a:rPr>
              <a:pPr/>
              <a:t>10/31/2024</a:t>
            </a:fld>
            <a:endParaRPr lang="en-US" sz="800">
              <a:solidFill>
                <a:schemeClr val="tx1"/>
              </a:solidFill>
            </a:endParaRPr>
          </a:p>
        </p:txBody>
      </p:sp>
      <p:graphicFrame>
        <p:nvGraphicFramePr>
          <p:cNvPr id="182" name="Chart 3">
            <a:extLst>
              <a:ext uri="{FF2B5EF4-FFF2-40B4-BE49-F238E27FC236}">
                <a16:creationId xmlns:a16="http://schemas.microsoft.com/office/drawing/2014/main" id="{A2223899-2D02-83FB-18CC-ECE578A823F6}"/>
              </a:ext>
            </a:extLst>
          </p:cNvPr>
          <p:cNvGraphicFramePr/>
          <p:nvPr>
            <p:custDataLst>
              <p:tags r:id="rId2"/>
            </p:custDataLst>
          </p:nvPr>
        </p:nvGraphicFramePr>
        <p:xfrm>
          <a:off x="1422400" y="2279650"/>
          <a:ext cx="2760663" cy="3298825"/>
        </p:xfrm>
        <a:graphic>
          <a:graphicData uri="http://schemas.openxmlformats.org/drawingml/2006/chart">
            <c:chart xmlns:c="http://schemas.openxmlformats.org/drawingml/2006/chart" xmlns:r="http://schemas.openxmlformats.org/officeDocument/2006/relationships" r:id="rId15"/>
          </a:graphicData>
        </a:graphic>
      </p:graphicFrame>
      <p:cxnSp>
        <p:nvCxnSpPr>
          <p:cNvPr id="139" name="Gerader Verbinder 138">
            <a:extLst>
              <a:ext uri="{FF2B5EF4-FFF2-40B4-BE49-F238E27FC236}">
                <a16:creationId xmlns:a16="http://schemas.microsoft.com/office/drawing/2014/main" id="{46C4E334-9A8B-5090-FBA7-EFD100E2C905}"/>
              </a:ext>
            </a:extLst>
          </p:cNvPr>
          <p:cNvCxnSpPr/>
          <p:nvPr>
            <p:custDataLst>
              <p:tags r:id="rId3"/>
            </p:custDataLst>
          </p:nvPr>
        </p:nvCxnSpPr>
        <p:spPr bwMode="auto">
          <a:xfrm flipH="1">
            <a:off x="2411413" y="4527549"/>
            <a:ext cx="196850" cy="598488"/>
          </a:xfrm>
          <a:prstGeom prst="line">
            <a:avLst/>
          </a:prstGeom>
          <a:ln w="285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Gerader Verbinder 139">
            <a:extLst>
              <a:ext uri="{FF2B5EF4-FFF2-40B4-BE49-F238E27FC236}">
                <a16:creationId xmlns:a16="http://schemas.microsoft.com/office/drawing/2014/main" id="{F46F077B-7AF4-D66D-31DA-BE16705D9894}"/>
              </a:ext>
            </a:extLst>
          </p:cNvPr>
          <p:cNvCxnSpPr/>
          <p:nvPr>
            <p:custDataLst>
              <p:tags r:id="rId4"/>
            </p:custDataLst>
          </p:nvPr>
        </p:nvCxnSpPr>
        <p:spPr bwMode="auto">
          <a:xfrm flipH="1">
            <a:off x="1882775" y="4359275"/>
            <a:ext cx="461963" cy="430213"/>
          </a:xfrm>
          <a:prstGeom prst="line">
            <a:avLst/>
          </a:prstGeom>
          <a:ln w="285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8" name="Textplatzhalter 2">
            <a:extLst>
              <a:ext uri="{FF2B5EF4-FFF2-40B4-BE49-F238E27FC236}">
                <a16:creationId xmlns:a16="http://schemas.microsoft.com/office/drawing/2014/main" id="{5E543CC5-8CA8-AB9E-3736-0EC6C5535D42}"/>
              </a:ext>
            </a:extLst>
          </p:cNvPr>
          <p:cNvSpPr>
            <a:spLocks noGrp="1"/>
          </p:cNvSpPr>
          <p:nvPr>
            <p:custDataLst>
              <p:tags r:id="rId5"/>
            </p:custDataLst>
          </p:nvPr>
        </p:nvSpPr>
        <p:spPr bwMode="auto">
          <a:xfrm>
            <a:off x="663575" y="3624263"/>
            <a:ext cx="831850" cy="2555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429A3A95-820D-49C7-857B-5017B26ACC0F}" type="datetime'E''l''''e''c''''''''''''t''''r''''''''''''i''''city'''">
              <a:rPr lang="de-DE" altLang="en-US" smtClean="0"/>
              <a:pPr lvl="0" algn="r">
                <a:spcBef>
                  <a:spcPct val="0"/>
                </a:spcBef>
                <a:spcAft>
                  <a:spcPct val="0"/>
                </a:spcAft>
              </a:pPr>
              <a:t>Electricity</a:t>
            </a:fld>
            <a:endParaRPr lang="de-DE" noProof="0"/>
          </a:p>
        </p:txBody>
      </p:sp>
      <p:sp>
        <p:nvSpPr>
          <p:cNvPr id="89" name="Textplatzhalter 2">
            <a:extLst>
              <a:ext uri="{FF2B5EF4-FFF2-40B4-BE49-F238E27FC236}">
                <a16:creationId xmlns:a16="http://schemas.microsoft.com/office/drawing/2014/main" id="{5E543CC5-8CA8-AB9E-3736-0EC6C5535D42}"/>
              </a:ext>
            </a:extLst>
          </p:cNvPr>
          <p:cNvSpPr>
            <a:spLocks noGrp="1"/>
          </p:cNvSpPr>
          <p:nvPr>
            <p:custDataLst>
              <p:tags r:id="rId6"/>
            </p:custDataLst>
          </p:nvPr>
        </p:nvSpPr>
        <p:spPr bwMode="auto">
          <a:xfrm>
            <a:off x="1606550" y="2417763"/>
            <a:ext cx="925513" cy="2555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fld id="{A4A2795A-E107-49B5-BE54-201015BF4157}" type="datetime'''''''''''Agr''''''''ic''''''u''l''''t''''''u''''''re'''''''">
              <a:rPr lang="de-DE" altLang="en-US" smtClean="0"/>
              <a:pPr lvl="0" algn="r">
                <a:spcBef>
                  <a:spcPct val="0"/>
                </a:spcBef>
                <a:spcAft>
                  <a:spcPct val="0"/>
                </a:spcAft>
              </a:pPr>
              <a:t>Agriculture</a:t>
            </a:fld>
            <a:endParaRPr lang="de-DE" noProof="0"/>
          </a:p>
        </p:txBody>
      </p:sp>
      <p:sp>
        <p:nvSpPr>
          <p:cNvPr id="90" name="Textplatzhalter 2">
            <a:extLst>
              <a:ext uri="{FF2B5EF4-FFF2-40B4-BE49-F238E27FC236}">
                <a16:creationId xmlns:a16="http://schemas.microsoft.com/office/drawing/2014/main" id="{5E543CC5-8CA8-AB9E-3736-0EC6C5535D42}"/>
              </a:ext>
            </a:extLst>
          </p:cNvPr>
          <p:cNvSpPr>
            <a:spLocks noGrp="1"/>
          </p:cNvSpPr>
          <p:nvPr>
            <p:custDataLst>
              <p:tags r:id="rId7"/>
            </p:custDataLst>
          </p:nvPr>
        </p:nvSpPr>
        <p:spPr bwMode="auto">
          <a:xfrm>
            <a:off x="3848100" y="2903538"/>
            <a:ext cx="1282700" cy="2555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0B664465-46B4-4086-A2D8-37A53D77FE30}" type="datetime'''''T''r''an''''s''''po''rt''''''''''ati''''''''o''n'">
              <a:rPr lang="de-DE" altLang="en-US" smtClean="0"/>
              <a:pPr lvl="0">
                <a:spcBef>
                  <a:spcPct val="0"/>
                </a:spcBef>
                <a:spcAft>
                  <a:spcPct val="0"/>
                </a:spcAft>
              </a:pPr>
              <a:t>Transportation</a:t>
            </a:fld>
            <a:endParaRPr lang="de-DE" noProof="0"/>
          </a:p>
        </p:txBody>
      </p:sp>
      <p:sp>
        <p:nvSpPr>
          <p:cNvPr id="109" name="Textplatzhalter 2">
            <a:extLst>
              <a:ext uri="{FF2B5EF4-FFF2-40B4-BE49-F238E27FC236}">
                <a16:creationId xmlns:a16="http://schemas.microsoft.com/office/drawing/2014/main" id="{94206FC3-7521-549C-E779-0F387E06000D}"/>
              </a:ext>
            </a:extLst>
          </p:cNvPr>
          <p:cNvSpPr>
            <a:spLocks noGrp="1"/>
          </p:cNvSpPr>
          <p:nvPr>
            <p:custDataLst>
              <p:tags r:id="rId8"/>
            </p:custDataLst>
          </p:nvPr>
        </p:nvSpPr>
        <p:spPr bwMode="auto">
          <a:xfrm>
            <a:off x="3879850" y="4662488"/>
            <a:ext cx="2185988" cy="2555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98EC7FC1-6325-4A00-BE3B-71F79BA8F5F6}" type="datetime'''Comme''''''rc''''i''''a''''''l &amp; R''esi''''''de''nt''ia''l'">
              <a:rPr lang="de-DE" altLang="en-US" smtClean="0"/>
              <a:pPr lvl="0">
                <a:spcBef>
                  <a:spcPct val="0"/>
                </a:spcBef>
                <a:spcAft>
                  <a:spcPct val="0"/>
                </a:spcAft>
              </a:pPr>
              <a:t>Commercial &amp; Residential</a:t>
            </a:fld>
            <a:endParaRPr lang="de-DE" noProof="0"/>
          </a:p>
        </p:txBody>
      </p:sp>
      <p:sp>
        <p:nvSpPr>
          <p:cNvPr id="112" name="Textplatzhalter 2">
            <a:extLst>
              <a:ext uri="{FF2B5EF4-FFF2-40B4-BE49-F238E27FC236}">
                <a16:creationId xmlns:a16="http://schemas.microsoft.com/office/drawing/2014/main" id="{7E66922C-9B37-0C7A-49F2-A58B91E9A6EF}"/>
              </a:ext>
            </a:extLst>
          </p:cNvPr>
          <p:cNvSpPr>
            <a:spLocks noGrp="1"/>
          </p:cNvSpPr>
          <p:nvPr>
            <p:custDataLst>
              <p:tags r:id="rId9"/>
            </p:custDataLst>
          </p:nvPr>
        </p:nvSpPr>
        <p:spPr bwMode="auto">
          <a:xfrm>
            <a:off x="2855913" y="5214938"/>
            <a:ext cx="1265238" cy="2555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a:lstStyle>
          <a:p>
            <a:pPr lvl="0">
              <a:spcBef>
                <a:spcPct val="0"/>
              </a:spcBef>
              <a:spcAft>
                <a:spcPct val="0"/>
              </a:spcAft>
            </a:pPr>
            <a:fld id="{66DE1441-44AA-4347-AE88-6F94694F1796}" type="datetime'''Ot''''h''''''''e''''''''''''''r ''In''d''u''''''s''try'''">
              <a:rPr lang="de-DE" altLang="en-US" smtClean="0"/>
              <a:pPr lvl="0">
                <a:spcBef>
                  <a:spcPct val="0"/>
                </a:spcBef>
                <a:spcAft>
                  <a:spcPct val="0"/>
                </a:spcAft>
              </a:pPr>
              <a:t>Other Industry</a:t>
            </a:fld>
            <a:endParaRPr lang="de-DE" noProof="0"/>
          </a:p>
        </p:txBody>
      </p:sp>
      <p:sp>
        <p:nvSpPr>
          <p:cNvPr id="115" name="Textplatzhalter 2">
            <a:extLst>
              <a:ext uri="{FF2B5EF4-FFF2-40B4-BE49-F238E27FC236}">
                <a16:creationId xmlns:a16="http://schemas.microsoft.com/office/drawing/2014/main" id="{02063D0B-B1D3-2043-3E22-A787A81A3F4C}"/>
              </a:ext>
            </a:extLst>
          </p:cNvPr>
          <p:cNvSpPr>
            <a:spLocks noGrp="1"/>
          </p:cNvSpPr>
          <p:nvPr>
            <p:custDataLst>
              <p:tags r:id="rId10"/>
            </p:custDataLst>
          </p:nvPr>
        </p:nvSpPr>
        <p:spPr bwMode="auto">
          <a:xfrm>
            <a:off x="652463" y="5049838"/>
            <a:ext cx="1489075" cy="2555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a:lstStyle>
          <a:p>
            <a:pPr lvl="0" algn="r">
              <a:spcBef>
                <a:spcPct val="0"/>
              </a:spcBef>
              <a:spcAft>
                <a:spcPct val="0"/>
              </a:spcAft>
            </a:pPr>
            <a:r>
              <a:rPr lang="de-DE" altLang="en-US" b="1"/>
              <a:t>Cement industry</a:t>
            </a:r>
            <a:endParaRPr lang="de-DE" b="1" noProof="0"/>
          </a:p>
        </p:txBody>
      </p:sp>
      <p:sp>
        <p:nvSpPr>
          <p:cNvPr id="168" name="Inhaltsplatzhalter 2092">
            <a:extLst>
              <a:ext uri="{FF2B5EF4-FFF2-40B4-BE49-F238E27FC236}">
                <a16:creationId xmlns:a16="http://schemas.microsoft.com/office/drawing/2014/main" id="{025E68CF-EA7B-2B3D-97F7-084E719D82F2}"/>
              </a:ext>
            </a:extLst>
          </p:cNvPr>
          <p:cNvSpPr txBox="1">
            <a:spLocks/>
          </p:cNvSpPr>
          <p:nvPr/>
        </p:nvSpPr>
        <p:spPr>
          <a:xfrm>
            <a:off x="386459" y="1303337"/>
            <a:ext cx="5609529" cy="657699"/>
          </a:xfrm>
          <a:prstGeom prst="rect">
            <a:avLst/>
          </a:prstGeom>
          <a:solidFill>
            <a:srgbClr val="004E2B"/>
          </a:solidFill>
        </p:spPr>
        <p:txBody>
          <a:bodyPr vert="horz" lIns="0" tIns="0" rIns="0" bIns="0" rtlCol="0">
            <a:noAutofit/>
          </a:bodyPr>
          <a:lstStyle>
            <a:lvl1pPr indent="0">
              <a:lnSpc>
                <a:spcPct val="120000"/>
              </a:lnSpc>
              <a:spcBef>
                <a:spcPts val="1000"/>
              </a:spcBef>
              <a:buFontTx/>
              <a:buNone/>
              <a:defRPr b="1">
                <a:solidFill>
                  <a:schemeClr val="bg1"/>
                </a:solidFill>
              </a:defRPr>
            </a:lvl1pPr>
            <a:lvl2pPr marL="630238" indent="-180975">
              <a:lnSpc>
                <a:spcPct val="120000"/>
              </a:lnSpc>
              <a:spcBef>
                <a:spcPts val="500"/>
              </a:spcBef>
              <a:buFont typeface="Lexend HM" panose="020B0604020202020204" pitchFamily="34" charset="0"/>
              <a:buChar char="•"/>
              <a:defRPr sz="1400"/>
            </a:lvl2pPr>
            <a:lvl3pPr marL="1008000" indent="-182563">
              <a:lnSpc>
                <a:spcPct val="120000"/>
              </a:lnSpc>
              <a:spcBef>
                <a:spcPts val="500"/>
              </a:spcBef>
              <a:buFont typeface="Lexend HM" panose="020B0604020202020204" pitchFamily="34" charset="0"/>
              <a:buChar char="•"/>
              <a:defRPr sz="1400"/>
            </a:lvl3pPr>
            <a:lvl4pPr marL="1368000" indent="-180975">
              <a:lnSpc>
                <a:spcPct val="120000"/>
              </a:lnSpc>
              <a:spcBef>
                <a:spcPts val="500"/>
              </a:spcBef>
              <a:buFont typeface="Lexend HM" panose="020B0604020202020204" pitchFamily="34" charset="0"/>
              <a:buChar char="•"/>
              <a:tabLst>
                <a:tab pos="1166813" algn="l"/>
              </a:tabLst>
              <a:defRPr sz="1400"/>
            </a:lvl4pPr>
            <a:lvl5pPr marL="1764000" indent="-180975">
              <a:lnSpc>
                <a:spcPct val="120000"/>
              </a:lnSpc>
              <a:spcBef>
                <a:spcPts val="500"/>
              </a:spcBef>
              <a:buFont typeface="Lexend HM" panose="020B0604020202020204" pitchFamily="34" charset="0"/>
              <a:buChar char="•"/>
              <a:tabLst>
                <a:tab pos="1616075" algn="l"/>
              </a:tabLst>
              <a:defRPr sz="1400"/>
            </a:lvl5pPr>
            <a:lvl6pPr marL="0" indent="0">
              <a:lnSpc>
                <a:spcPct val="90000"/>
              </a:lnSpc>
              <a:spcBef>
                <a:spcPts val="500"/>
              </a:spcBef>
              <a:buFontTx/>
              <a:buNone/>
              <a:defRPr sz="1400"/>
            </a:lvl6pPr>
            <a:lvl7pPr marL="2971800" indent="-228600">
              <a:lnSpc>
                <a:spcPct val="90000"/>
              </a:lnSpc>
              <a:spcBef>
                <a:spcPts val="500"/>
              </a:spcBef>
              <a:buFont typeface="Lexend HM" panose="020B0604020202020204" pitchFamily="34" charset="0"/>
              <a:buChar char="•"/>
            </a:lvl7pPr>
            <a:lvl8pPr marL="3429000" indent="-228600">
              <a:lnSpc>
                <a:spcPct val="90000"/>
              </a:lnSpc>
              <a:spcBef>
                <a:spcPts val="500"/>
              </a:spcBef>
              <a:buFont typeface="Lexend HM" panose="020B0604020202020204" pitchFamily="34" charset="0"/>
              <a:buChar char="•"/>
            </a:lvl8pPr>
            <a:lvl9pPr marL="3886200" indent="-228600">
              <a:lnSpc>
                <a:spcPct val="90000"/>
              </a:lnSpc>
              <a:spcBef>
                <a:spcPts val="500"/>
              </a:spcBef>
              <a:buFont typeface="Lexend HM" panose="020B0604020202020204" pitchFamily="34" charset="0"/>
              <a:buChar char="•"/>
            </a:lvl9pPr>
          </a:lstStyle>
          <a:p>
            <a:r>
              <a:rPr lang="en-US" sz="1800" b="0">
                <a:solidFill>
                  <a:schemeClr val="bg1"/>
                </a:solidFill>
              </a:rPr>
              <a:t>The </a:t>
            </a:r>
            <a:r>
              <a:rPr lang="en-US" sz="1800" b="1">
                <a:solidFill>
                  <a:schemeClr val="bg1"/>
                </a:solidFill>
              </a:rPr>
              <a:t>cement </a:t>
            </a:r>
            <a:r>
              <a:rPr lang="en-US" sz="1800" b="0">
                <a:solidFill>
                  <a:schemeClr val="bg1"/>
                </a:solidFill>
              </a:rPr>
              <a:t>industry is responsible for approximately</a:t>
            </a:r>
            <a:r>
              <a:rPr lang="en-US" sz="1800">
                <a:solidFill>
                  <a:schemeClr val="bg1"/>
                </a:solidFill>
              </a:rPr>
              <a:t> </a:t>
            </a:r>
            <a:r>
              <a:rPr lang="en-US"/>
              <a:t>8</a:t>
            </a:r>
            <a:r>
              <a:rPr lang="en-US" sz="1800" b="1">
                <a:solidFill>
                  <a:schemeClr val="bg1"/>
                </a:solidFill>
              </a:rPr>
              <a:t>% of global CO</a:t>
            </a:r>
            <a:r>
              <a:rPr lang="en-US" sz="1800" b="1" baseline="-25000">
                <a:solidFill>
                  <a:schemeClr val="bg1"/>
                </a:solidFill>
              </a:rPr>
              <a:t>2</a:t>
            </a:r>
            <a:r>
              <a:rPr lang="en-US" sz="1800" b="1">
                <a:solidFill>
                  <a:schemeClr val="bg1"/>
                </a:solidFill>
              </a:rPr>
              <a:t> emissions</a:t>
            </a:r>
            <a:r>
              <a:rPr lang="en-US" sz="1800" b="1" baseline="30000">
                <a:solidFill>
                  <a:schemeClr val="bg1"/>
                </a:solidFill>
              </a:rPr>
              <a:t>1</a:t>
            </a:r>
            <a:endParaRPr lang="de-DE" sz="1800" b="1" baseline="30000">
              <a:solidFill>
                <a:schemeClr val="bg1"/>
              </a:solidFill>
            </a:endParaRPr>
          </a:p>
        </p:txBody>
      </p:sp>
      <p:sp>
        <p:nvSpPr>
          <p:cNvPr id="170" name="Inhaltsplatzhalter 2092">
            <a:extLst>
              <a:ext uri="{FF2B5EF4-FFF2-40B4-BE49-F238E27FC236}">
                <a16:creationId xmlns:a16="http://schemas.microsoft.com/office/drawing/2014/main" id="{4F97B698-55F8-C030-614A-A764E2A56621}"/>
              </a:ext>
            </a:extLst>
          </p:cNvPr>
          <p:cNvSpPr txBox="1">
            <a:spLocks/>
          </p:cNvSpPr>
          <p:nvPr/>
        </p:nvSpPr>
        <p:spPr>
          <a:xfrm>
            <a:off x="6277671" y="1303338"/>
            <a:ext cx="5609529" cy="657698"/>
          </a:xfrm>
          <a:prstGeom prst="rect">
            <a:avLst/>
          </a:prstGeom>
          <a:solidFill>
            <a:srgbClr val="004E2B"/>
          </a:solidFill>
        </p:spPr>
        <p:txBody>
          <a:bodyPr vert="horz" lIns="0" tIns="0" rIns="0" bIns="0" rtlCol="0">
            <a:noAutofit/>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a:lstStyle>
          <a:p>
            <a:r>
              <a:rPr lang="de-DE" sz="1800" b="1">
                <a:solidFill>
                  <a:schemeClr val="bg1"/>
                </a:solidFill>
              </a:rPr>
              <a:t>Electricity emissions </a:t>
            </a:r>
            <a:r>
              <a:rPr lang="de-DE" sz="1800">
                <a:solidFill>
                  <a:schemeClr val="bg1"/>
                </a:solidFill>
              </a:rPr>
              <a:t>in cement industry make up </a:t>
            </a:r>
            <a:r>
              <a:rPr lang="de-DE" sz="1800" b="1">
                <a:solidFill>
                  <a:schemeClr val="bg1"/>
                </a:solidFill>
              </a:rPr>
              <a:t>~0.4% of global CO</a:t>
            </a:r>
            <a:r>
              <a:rPr lang="de-DE" sz="1800" b="1" baseline="-25000">
                <a:solidFill>
                  <a:schemeClr val="bg1"/>
                </a:solidFill>
              </a:rPr>
              <a:t>2</a:t>
            </a:r>
            <a:r>
              <a:rPr lang="de-DE" sz="1800" b="1">
                <a:solidFill>
                  <a:schemeClr val="bg1"/>
                </a:solidFill>
              </a:rPr>
              <a:t> emissions</a:t>
            </a:r>
          </a:p>
        </p:txBody>
      </p:sp>
      <p:graphicFrame>
        <p:nvGraphicFramePr>
          <p:cNvPr id="179" name="Tabelle 178">
            <a:extLst>
              <a:ext uri="{FF2B5EF4-FFF2-40B4-BE49-F238E27FC236}">
                <a16:creationId xmlns:a16="http://schemas.microsoft.com/office/drawing/2014/main" id="{416A6648-E641-6A90-1032-D9BEEE943AFC}"/>
              </a:ext>
            </a:extLst>
          </p:cNvPr>
          <p:cNvGraphicFramePr>
            <a:graphicFrameLocks noGrp="1"/>
          </p:cNvGraphicFramePr>
          <p:nvPr/>
        </p:nvGraphicFramePr>
        <p:xfrm>
          <a:off x="6277671" y="2187853"/>
          <a:ext cx="5609528" cy="3200015"/>
        </p:xfrm>
        <a:graphic>
          <a:graphicData uri="http://schemas.openxmlformats.org/drawingml/2006/table">
            <a:tbl>
              <a:tblPr firstRow="1" bandRow="1">
                <a:tableStyleId>{93296810-A885-4BE3-A3E7-6D5BEEA58F35}</a:tableStyleId>
              </a:tblPr>
              <a:tblGrid>
                <a:gridCol w="1250593">
                  <a:extLst>
                    <a:ext uri="{9D8B030D-6E8A-4147-A177-3AD203B41FA5}">
                      <a16:colId xmlns:a16="http://schemas.microsoft.com/office/drawing/2014/main" val="1867526968"/>
                    </a:ext>
                  </a:extLst>
                </a:gridCol>
                <a:gridCol w="914400">
                  <a:extLst>
                    <a:ext uri="{9D8B030D-6E8A-4147-A177-3AD203B41FA5}">
                      <a16:colId xmlns:a16="http://schemas.microsoft.com/office/drawing/2014/main" val="1656747086"/>
                    </a:ext>
                  </a:extLst>
                </a:gridCol>
                <a:gridCol w="1358284">
                  <a:extLst>
                    <a:ext uri="{9D8B030D-6E8A-4147-A177-3AD203B41FA5}">
                      <a16:colId xmlns:a16="http://schemas.microsoft.com/office/drawing/2014/main" val="928921738"/>
                    </a:ext>
                  </a:extLst>
                </a:gridCol>
                <a:gridCol w="2086251">
                  <a:extLst>
                    <a:ext uri="{9D8B030D-6E8A-4147-A177-3AD203B41FA5}">
                      <a16:colId xmlns:a16="http://schemas.microsoft.com/office/drawing/2014/main" val="1742617196"/>
                    </a:ext>
                  </a:extLst>
                </a:gridCol>
              </a:tblGrid>
              <a:tr h="363668">
                <a:tc>
                  <a:txBody>
                    <a:bodyPr/>
                    <a:lstStyle/>
                    <a:p>
                      <a:pPr algn="l"/>
                      <a:r>
                        <a:rPr lang="de-DE" sz="1400" b="1">
                          <a:solidFill>
                            <a:schemeClr val="tx1"/>
                          </a:solidFill>
                        </a:rPr>
                        <a:t>Emission type</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de-DE" sz="1400" b="1">
                          <a:solidFill>
                            <a:schemeClr val="tx1"/>
                          </a:solidFill>
                        </a:rPr>
                        <a:t>Share Cement</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de-DE" sz="1400" b="1">
                          <a:solidFill>
                            <a:schemeClr val="tx1"/>
                          </a:solidFill>
                        </a:rPr>
                        <a:t>Share Global emissions</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de-DE" sz="1400" b="1">
                          <a:solidFill>
                            <a:schemeClr val="tx1"/>
                          </a:solidFill>
                        </a:rPr>
                        <a:t>Mitigation measurse</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8613395"/>
                  </a:ext>
                </a:extLst>
              </a:tr>
              <a:tr h="536371">
                <a:tc>
                  <a:txBody>
                    <a:bodyPr/>
                    <a:lstStyle/>
                    <a:p>
                      <a:r>
                        <a:rPr lang="de-DE" sz="1400" b="0">
                          <a:solidFill>
                            <a:schemeClr val="tx1"/>
                          </a:solidFill>
                        </a:rPr>
                        <a:t>Scope 1 (process)</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400" b="0"/>
                        <a:t>44%</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a:t>3.5%</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a:t>Carbon Capture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a:t>(no alternative)</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37369414"/>
                  </a:ext>
                </a:extLst>
              </a:tr>
              <a:tr h="536371">
                <a:tc>
                  <a:txBody>
                    <a:bodyPr/>
                    <a:lstStyle/>
                    <a:p>
                      <a:r>
                        <a:rPr lang="de-DE" sz="1400" b="0"/>
                        <a:t>Scope 1 (fuel)</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de-DE" sz="1400" b="0"/>
                        <a:t>23%</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de-DE" sz="1400" b="0"/>
                        <a:t>1.8%</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de-DE" sz="1400" b="0"/>
                        <a:t>Carbon Capture, low/no carbon fuel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80677789"/>
                  </a:ext>
                </a:extLst>
              </a:tr>
              <a:tr h="536371">
                <a:tc>
                  <a:txBody>
                    <a:bodyPr/>
                    <a:lstStyle/>
                    <a:p>
                      <a:r>
                        <a:rPr lang="de-DE" sz="1400" b="1"/>
                        <a:t>Scope 2 (electricity)</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F7CD"/>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de-DE" sz="1400" b="1"/>
                        <a:t>5%</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F7CD"/>
                    </a:solidFill>
                  </a:tcPr>
                </a:tc>
                <a:tc>
                  <a:txBody>
                    <a:bodyPr/>
                    <a:lstStyle/>
                    <a:p>
                      <a:pPr marL="0" indent="0">
                        <a:buFont typeface="Symbol" panose="05050102010706020507" pitchFamily="18" charset="2"/>
                        <a:buNone/>
                      </a:pPr>
                      <a:r>
                        <a:rPr lang="de-DE" sz="1400" b="1"/>
                        <a:t>0.4%</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F7CD"/>
                    </a:solidFill>
                  </a:tcPr>
                </a:tc>
                <a:tc>
                  <a:txBody>
                    <a:bodyPr/>
                    <a:lstStyle/>
                    <a:p>
                      <a:pPr marL="0" indent="0">
                        <a:buFont typeface="Symbol" panose="05050102010706020507" pitchFamily="18" charset="2"/>
                        <a:buNone/>
                      </a:pPr>
                      <a:r>
                        <a:rPr lang="de-DE" sz="1400" b="1"/>
                        <a:t>Green electricity </a:t>
                      </a:r>
                    </a:p>
                    <a:p>
                      <a:pPr marL="0" indent="0">
                        <a:buFont typeface="Symbol" panose="05050102010706020507" pitchFamily="18" charset="2"/>
                        <a:buNone/>
                      </a:pPr>
                      <a:r>
                        <a:rPr lang="de-DE" sz="1400" b="1"/>
                        <a:t>(focus today)</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F7CD"/>
                    </a:solidFill>
                  </a:tcPr>
                </a:tc>
                <a:extLst>
                  <a:ext uri="{0D108BD9-81ED-4DB2-BD59-A6C34878D82A}">
                    <a16:rowId xmlns:a16="http://schemas.microsoft.com/office/drawing/2014/main" val="3509845922"/>
                  </a:ext>
                </a:extLst>
              </a:tr>
              <a:tr h="536371">
                <a:tc>
                  <a:txBody>
                    <a:bodyPr/>
                    <a:lstStyle/>
                    <a:p>
                      <a:r>
                        <a:rPr lang="de-DE" sz="1400" b="0"/>
                        <a:t>Scope 3 (other)</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de-DE" sz="1400" b="0"/>
                        <a:t>28%</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r>
                        <a:rPr lang="de-DE" sz="1400" b="0"/>
                        <a:t>2.3%</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r>
                        <a:rPr lang="de-DE" sz="1400" b="0"/>
                        <a:t>Various measure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96053756"/>
                  </a:ext>
                </a:extLst>
              </a:tr>
              <a:tr h="536371">
                <a:tc>
                  <a:txBody>
                    <a:bodyPr/>
                    <a:lstStyle/>
                    <a:p>
                      <a:r>
                        <a:rPr lang="de-DE" sz="1400" b="1"/>
                        <a:t>Total</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de-DE" sz="1400" b="1"/>
                        <a:t>100%</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Symbol" panose="05050102010706020507" pitchFamily="18" charset="2"/>
                        <a:buNone/>
                      </a:pPr>
                      <a:r>
                        <a:rPr lang="de-DE" sz="1400" b="1"/>
                        <a:t>8%</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Symbol" panose="05050102010706020507" pitchFamily="18" charset="2"/>
                        <a:buNone/>
                      </a:pPr>
                      <a:endParaRPr lang="de-DE" sz="1400" b="1"/>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9140478"/>
                  </a:ext>
                </a:extLst>
              </a:tr>
            </a:tbl>
          </a:graphicData>
        </a:graphic>
      </p:graphicFrame>
      <p:sp>
        <p:nvSpPr>
          <p:cNvPr id="5" name="Textfeld 4">
            <a:extLst>
              <a:ext uri="{FF2B5EF4-FFF2-40B4-BE49-F238E27FC236}">
                <a16:creationId xmlns:a16="http://schemas.microsoft.com/office/drawing/2014/main" id="{D81AE253-1472-B1AF-0A5E-98E6A707B095}"/>
              </a:ext>
            </a:extLst>
          </p:cNvPr>
          <p:cNvSpPr txBox="1"/>
          <p:nvPr/>
        </p:nvSpPr>
        <p:spPr>
          <a:xfrm>
            <a:off x="7129815" y="6358355"/>
            <a:ext cx="4654859" cy="238225"/>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p>
            <a:pPr algn="l"/>
            <a:r>
              <a:rPr lang="de-DE" sz="1000"/>
              <a:t>1) Source: PSCI Princeton University</a:t>
            </a:r>
          </a:p>
        </p:txBody>
      </p:sp>
    </p:spTree>
    <p:extLst>
      <p:ext uri="{BB962C8B-B14F-4D97-AF65-F5344CB8AC3E}">
        <p14:creationId xmlns:p14="http://schemas.microsoft.com/office/powerpoint/2010/main" val="3799834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3501542-ABC6-4BBD-7AA8-778EAA09D8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7" name="think-cell data - do not delete" hidden="1">
                        <a:extLst>
                          <a:ext uri="{FF2B5EF4-FFF2-40B4-BE49-F238E27FC236}">
                            <a16:creationId xmlns:a16="http://schemas.microsoft.com/office/drawing/2014/main" id="{D3501542-ABC6-4BBD-7AA8-778EAA09D8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055" name="Tabelle 2056">
            <a:extLst>
              <a:ext uri="{FF2B5EF4-FFF2-40B4-BE49-F238E27FC236}">
                <a16:creationId xmlns:a16="http://schemas.microsoft.com/office/drawing/2014/main" id="{EC6E0F86-041D-ABB7-0F81-CEBB8E2D4C70}"/>
              </a:ext>
            </a:extLst>
          </p:cNvPr>
          <p:cNvGraphicFramePr>
            <a:graphicFrameLocks noGrp="1"/>
          </p:cNvGraphicFramePr>
          <p:nvPr/>
        </p:nvGraphicFramePr>
        <p:xfrm>
          <a:off x="382588" y="2076416"/>
          <a:ext cx="5607941" cy="4216692"/>
        </p:xfrm>
        <a:graphic>
          <a:graphicData uri="http://schemas.openxmlformats.org/drawingml/2006/table">
            <a:tbl>
              <a:tblPr firstRow="1" bandRow="1">
                <a:tableStyleId>{93296810-A885-4BE3-A3E7-6D5BEEA58F35}</a:tableStyleId>
              </a:tblPr>
              <a:tblGrid>
                <a:gridCol w="2351087">
                  <a:extLst>
                    <a:ext uri="{9D8B030D-6E8A-4147-A177-3AD203B41FA5}">
                      <a16:colId xmlns:a16="http://schemas.microsoft.com/office/drawing/2014/main" val="1534917"/>
                    </a:ext>
                  </a:extLst>
                </a:gridCol>
                <a:gridCol w="657225">
                  <a:extLst>
                    <a:ext uri="{9D8B030D-6E8A-4147-A177-3AD203B41FA5}">
                      <a16:colId xmlns:a16="http://schemas.microsoft.com/office/drawing/2014/main" val="3033890245"/>
                    </a:ext>
                  </a:extLst>
                </a:gridCol>
                <a:gridCol w="781050">
                  <a:extLst>
                    <a:ext uri="{9D8B030D-6E8A-4147-A177-3AD203B41FA5}">
                      <a16:colId xmlns:a16="http://schemas.microsoft.com/office/drawing/2014/main" val="703887110"/>
                    </a:ext>
                  </a:extLst>
                </a:gridCol>
                <a:gridCol w="923925">
                  <a:extLst>
                    <a:ext uri="{9D8B030D-6E8A-4147-A177-3AD203B41FA5}">
                      <a16:colId xmlns:a16="http://schemas.microsoft.com/office/drawing/2014/main" val="3829799967"/>
                    </a:ext>
                  </a:extLst>
                </a:gridCol>
                <a:gridCol w="894654">
                  <a:extLst>
                    <a:ext uri="{9D8B030D-6E8A-4147-A177-3AD203B41FA5}">
                      <a16:colId xmlns:a16="http://schemas.microsoft.com/office/drawing/2014/main" val="1065073696"/>
                    </a:ext>
                  </a:extLst>
                </a:gridCol>
              </a:tblGrid>
              <a:tr h="286290">
                <a:tc>
                  <a:txBody>
                    <a:bodyPr/>
                    <a:lstStyle/>
                    <a:p>
                      <a:pPr algn="l"/>
                      <a:r>
                        <a:rPr lang="de-DE" sz="1600" b="1">
                          <a:solidFill>
                            <a:schemeClr val="tx1"/>
                          </a:solidFill>
                        </a:rPr>
                        <a:t>Examplary measures</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de-DE" sz="1600" b="1">
                          <a:solidFill>
                            <a:schemeClr val="tx1"/>
                          </a:solidFill>
                        </a:rPr>
                        <a:t>(1)</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de-DE" sz="1600" b="1">
                          <a:solidFill>
                            <a:schemeClr val="tx1"/>
                          </a:solidFill>
                        </a:rPr>
                        <a:t>(2)</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de-DE" sz="1600" b="1">
                          <a:solidFill>
                            <a:schemeClr val="tx1"/>
                          </a:solidFill>
                        </a:rPr>
                        <a:t>(3)</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de-DE" sz="1600" b="1">
                          <a:solidFill>
                            <a:schemeClr val="tx1"/>
                          </a:solidFill>
                        </a:rPr>
                        <a:t>(4)</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85154485"/>
                  </a:ext>
                </a:extLst>
              </a:tr>
              <a:tr h="494502">
                <a:tc>
                  <a:txBody>
                    <a:bodyPr/>
                    <a:lstStyle/>
                    <a:p>
                      <a:r>
                        <a:rPr lang="de-DE" sz="1600" b="0">
                          <a:solidFill>
                            <a:schemeClr val="tx1"/>
                          </a:solidFill>
                        </a:rPr>
                        <a:t>On-site PPA</a:t>
                      </a:r>
                      <a:r>
                        <a:rPr lang="de-DE" sz="1600" baseline="30000">
                          <a:solidFill>
                            <a:schemeClr val="tx1"/>
                          </a:solidFill>
                        </a:rPr>
                        <a:t>1</a:t>
                      </a:r>
                      <a:endParaRPr lang="de-DE" sz="1600" b="0">
                        <a:solidFill>
                          <a:schemeClr val="tx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sz="1600" b="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600" b="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sz="1600" b="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sz="1600" b="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31183924"/>
                  </a:ext>
                </a:extLst>
              </a:tr>
              <a:tr h="494502">
                <a:tc>
                  <a:txBody>
                    <a:bodyPr/>
                    <a:lstStyle/>
                    <a:p>
                      <a:r>
                        <a:rPr lang="de-DE" sz="1600" b="0"/>
                        <a:t>Off-site PPA</a:t>
                      </a:r>
                      <a:r>
                        <a:rPr lang="de-DE" sz="1600" baseline="30000">
                          <a:solidFill>
                            <a:schemeClr val="tx1"/>
                          </a:solidFill>
                        </a:rPr>
                        <a:t>1</a:t>
                      </a: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buFont typeface="Symbol" panose="05050102010706020507" pitchFamily="18" charset="2"/>
                        <a:buChar char="-"/>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3811850"/>
                  </a:ext>
                </a:extLst>
              </a:tr>
              <a:tr h="494502">
                <a:tc>
                  <a:txBody>
                    <a:bodyPr/>
                    <a:lstStyle/>
                    <a:p>
                      <a:r>
                        <a:rPr lang="de-DE" sz="1600" b="0"/>
                        <a:t>Own investment </a:t>
                      </a:r>
                    </a:p>
                    <a:p>
                      <a:r>
                        <a:rPr lang="de-DE" sz="1600" b="0"/>
                        <a:t>(on-site)</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9894300"/>
                  </a:ext>
                </a:extLst>
              </a:tr>
              <a:tr h="494502">
                <a:tc>
                  <a:txBody>
                    <a:bodyPr/>
                    <a:lstStyle/>
                    <a:p>
                      <a:r>
                        <a:rPr lang="de-DE" sz="1600" b="0"/>
                        <a:t>Virtual PPA</a:t>
                      </a:r>
                      <a:r>
                        <a:rPr lang="de-DE" sz="1600" baseline="30000">
                          <a:solidFill>
                            <a:schemeClr val="tx1"/>
                          </a:solidFill>
                        </a:rPr>
                        <a:t>1</a:t>
                      </a: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0683606"/>
                  </a:ext>
                </a:extLst>
              </a:tr>
              <a:tr h="494502">
                <a:tc>
                  <a:txBody>
                    <a:bodyPr/>
                    <a:lstStyle/>
                    <a:p>
                      <a:r>
                        <a:rPr lang="de-DE" sz="1600" b="0"/>
                        <a:t>GOs</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18516138"/>
                  </a:ext>
                </a:extLst>
              </a:tr>
              <a:tr h="494502">
                <a:tc>
                  <a:txBody>
                    <a:bodyPr/>
                    <a:lstStyle/>
                    <a:p>
                      <a:r>
                        <a:rPr lang="de-DE" sz="1600" b="0"/>
                        <a:t>Grid Greening</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Symbol" panose="05050102010706020507" pitchFamily="18" charset="2"/>
                        <a:buNone/>
                      </a:pPr>
                      <a:endParaRPr lang="de-DE" sz="1600" b="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66883569"/>
                  </a:ext>
                </a:extLst>
              </a:tr>
              <a:tr h="494502">
                <a:tc>
                  <a:txBody>
                    <a:bodyPr/>
                    <a:lstStyle/>
                    <a:p>
                      <a:r>
                        <a:rPr lang="de-DE" sz="1600" b="0"/>
                        <a:t>Efficiency measures</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de-DE" sz="1600" b="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de-DE" sz="1600" b="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Symbol" panose="05050102010706020507" pitchFamily="18" charset="2"/>
                        <a:buNone/>
                      </a:pPr>
                      <a:endParaRPr lang="de-DE" sz="1600" b="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buFont typeface="Symbol" panose="05050102010706020507" pitchFamily="18" charset="2"/>
                        <a:buChar char="-"/>
                      </a:pPr>
                      <a:endParaRPr lang="de-DE" sz="1600" b="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6559230"/>
                  </a:ext>
                </a:extLst>
              </a:tr>
              <a:tr h="0">
                <a:tc>
                  <a:txBody>
                    <a:bodyPr/>
                    <a:lstStyle/>
                    <a:p>
                      <a:endParaRPr lang="de-DE" sz="1600" b="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sz="1600" b="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sz="1600" b="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sz="1600" b="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de-DE" sz="1600" b="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774297"/>
                  </a:ext>
                </a:extLst>
              </a:tr>
            </a:tbl>
          </a:graphicData>
        </a:graphic>
      </p:graphicFrame>
      <p:sp>
        <p:nvSpPr>
          <p:cNvPr id="2093" name="Inhaltsplatzhalter 2092">
            <a:extLst>
              <a:ext uri="{FF2B5EF4-FFF2-40B4-BE49-F238E27FC236}">
                <a16:creationId xmlns:a16="http://schemas.microsoft.com/office/drawing/2014/main" id="{0E6BC4EE-67F3-5B8A-3E90-CBC0DBEB1709}"/>
              </a:ext>
            </a:extLst>
          </p:cNvPr>
          <p:cNvSpPr>
            <a:spLocks noGrp="1"/>
          </p:cNvSpPr>
          <p:nvPr>
            <p:ph idx="1"/>
          </p:nvPr>
        </p:nvSpPr>
        <p:spPr>
          <a:xfrm>
            <a:off x="386459" y="1303337"/>
            <a:ext cx="5609529" cy="657699"/>
          </a:xfrm>
          <a:solidFill>
            <a:srgbClr val="004E2B"/>
          </a:solidFill>
        </p:spPr>
        <p:txBody>
          <a:bodyPr/>
          <a:lstStyle/>
          <a:p>
            <a:r>
              <a:rPr lang="de-DE" sz="1800" b="1">
                <a:solidFill>
                  <a:schemeClr val="bg1"/>
                </a:solidFill>
              </a:rPr>
              <a:t>Various measures are available </a:t>
            </a:r>
            <a:r>
              <a:rPr lang="de-DE" sz="1800">
                <a:solidFill>
                  <a:schemeClr val="bg1"/>
                </a:solidFill>
              </a:rPr>
              <a:t>to reduce CO</a:t>
            </a:r>
            <a:r>
              <a:rPr lang="de-DE" sz="1800" baseline="-25000">
                <a:solidFill>
                  <a:schemeClr val="bg1"/>
                </a:solidFill>
              </a:rPr>
              <a:t>2</a:t>
            </a:r>
            <a:r>
              <a:rPr lang="de-DE" sz="1800">
                <a:solidFill>
                  <a:schemeClr val="bg1"/>
                </a:solidFill>
              </a:rPr>
              <a:t> which come with different characteristics and risks</a:t>
            </a:r>
          </a:p>
        </p:txBody>
      </p:sp>
      <p:sp>
        <p:nvSpPr>
          <p:cNvPr id="2" name="Titel 1">
            <a:extLst>
              <a:ext uri="{FF2B5EF4-FFF2-40B4-BE49-F238E27FC236}">
                <a16:creationId xmlns:a16="http://schemas.microsoft.com/office/drawing/2014/main" id="{23EF11A5-3DB5-F8CC-9D4C-5AB48C3496C5}"/>
              </a:ext>
            </a:extLst>
          </p:cNvPr>
          <p:cNvSpPr>
            <a:spLocks noGrp="1"/>
          </p:cNvSpPr>
          <p:nvPr>
            <p:ph type="title"/>
          </p:nvPr>
        </p:nvSpPr>
        <p:spPr>
          <a:xfrm>
            <a:off x="386459" y="545005"/>
            <a:ext cx="11419082" cy="553998"/>
          </a:xfrm>
        </p:spPr>
        <p:txBody>
          <a:bodyPr vert="horz"/>
          <a:lstStyle/>
          <a:p>
            <a:r>
              <a:rPr lang="de-DE"/>
              <a:t>Electricity: Portfolio of CO</a:t>
            </a:r>
            <a:r>
              <a:rPr lang="de-DE" baseline="-25000"/>
              <a:t>2</a:t>
            </a:r>
            <a:r>
              <a:rPr lang="de-DE"/>
              <a:t> emission reduction levers is available increasing complexity in sustainability reporting. In case electricity is not generated on-site, Gos are needed to claim green electricity.</a:t>
            </a:r>
          </a:p>
        </p:txBody>
      </p:sp>
      <p:sp>
        <p:nvSpPr>
          <p:cNvPr id="2095" name="Textplatzhalter 2094">
            <a:extLst>
              <a:ext uri="{FF2B5EF4-FFF2-40B4-BE49-F238E27FC236}">
                <a16:creationId xmlns:a16="http://schemas.microsoft.com/office/drawing/2014/main" id="{B6FA7E28-CF13-F965-87C7-E3FACC03DA60}"/>
              </a:ext>
            </a:extLst>
          </p:cNvPr>
          <p:cNvSpPr>
            <a:spLocks noGrp="1"/>
          </p:cNvSpPr>
          <p:nvPr>
            <p:ph type="body" sz="quarter" idx="14"/>
          </p:nvPr>
        </p:nvSpPr>
        <p:spPr/>
        <p:txBody>
          <a:bodyPr/>
          <a:lstStyle/>
          <a:p>
            <a:r>
              <a:rPr lang="en-US" sz="1000"/>
              <a:t>Case studies of successful corporate use of GOs in the electricity-intensive industry</a:t>
            </a:r>
            <a:endParaRPr lang="de-DE"/>
          </a:p>
        </p:txBody>
      </p:sp>
      <p:sp>
        <p:nvSpPr>
          <p:cNvPr id="5" name="Fußzeilenplatzhalter 4">
            <a:extLst>
              <a:ext uri="{FF2B5EF4-FFF2-40B4-BE49-F238E27FC236}">
                <a16:creationId xmlns:a16="http://schemas.microsoft.com/office/drawing/2014/main" id="{B90E2C0A-DC00-5B9C-71AD-720E6B267408}"/>
              </a:ext>
            </a:extLst>
          </p:cNvPr>
          <p:cNvSpPr>
            <a:spLocks noGrp="1"/>
          </p:cNvSpPr>
          <p:nvPr>
            <p:ph type="ftr" sz="quarter" idx="16"/>
          </p:nvPr>
        </p:nvSpPr>
        <p:spPr/>
        <p:txBody>
          <a:bodyPr/>
          <a:lstStyle/>
          <a:p>
            <a:r>
              <a:rPr lang="en-US" noProof="0"/>
              <a:t>Webinar "CSR Reporting: Energy Procurement and Regulatory Insights"</a:t>
            </a:r>
          </a:p>
        </p:txBody>
      </p:sp>
      <p:sp>
        <p:nvSpPr>
          <p:cNvPr id="6" name="Foliennummernplatzhalter 5">
            <a:extLst>
              <a:ext uri="{FF2B5EF4-FFF2-40B4-BE49-F238E27FC236}">
                <a16:creationId xmlns:a16="http://schemas.microsoft.com/office/drawing/2014/main" id="{95406560-B562-46AE-2B44-E707C40512BE}"/>
              </a:ext>
            </a:extLst>
          </p:cNvPr>
          <p:cNvSpPr>
            <a:spLocks noGrp="1"/>
          </p:cNvSpPr>
          <p:nvPr>
            <p:ph type="sldNum" sz="quarter" idx="17"/>
          </p:nvPr>
        </p:nvSpPr>
        <p:spPr/>
        <p:txBody>
          <a:bodyPr/>
          <a:lstStyle/>
          <a:p>
            <a:fld id="{A115CDC9-74CB-4F6C-8CD3-A6C89F254EE7}" type="slidenum">
              <a:rPr lang="en-US" smtClean="0"/>
              <a:pPr/>
              <a:t>27</a:t>
            </a:fld>
            <a:endParaRPr lang="en-US"/>
          </a:p>
        </p:txBody>
      </p:sp>
      <p:sp>
        <p:nvSpPr>
          <p:cNvPr id="2097" name="Inhaltsplatzhalter 2092">
            <a:extLst>
              <a:ext uri="{FF2B5EF4-FFF2-40B4-BE49-F238E27FC236}">
                <a16:creationId xmlns:a16="http://schemas.microsoft.com/office/drawing/2014/main" id="{CC2C49F5-4997-7A8F-9B34-9561845432C6}"/>
              </a:ext>
            </a:extLst>
          </p:cNvPr>
          <p:cNvSpPr txBox="1">
            <a:spLocks/>
          </p:cNvSpPr>
          <p:nvPr/>
        </p:nvSpPr>
        <p:spPr>
          <a:xfrm>
            <a:off x="6277671" y="1303338"/>
            <a:ext cx="5609529" cy="657698"/>
          </a:xfrm>
          <a:prstGeom prst="rect">
            <a:avLst/>
          </a:prstGeom>
          <a:solidFill>
            <a:srgbClr val="004E2B"/>
          </a:solidFill>
        </p:spPr>
        <p:txBody>
          <a:bodyPr vert="horz" lIns="0" tIns="0" rIns="0" bIns="0" rtlCol="0">
            <a:noAutofit/>
          </a:bodyPr>
          <a:lstStyle>
            <a:lvl1pPr marL="0" indent="0" algn="l" defTabSz="914400" rtl="0" eaLnBrk="1" latinLnBrk="0" hangingPunct="1">
              <a:lnSpc>
                <a:spcPct val="120000"/>
              </a:lnSpc>
              <a:spcBef>
                <a:spcPts val="1000"/>
              </a:spcBef>
              <a:buFontTx/>
              <a:buNone/>
              <a:defRPr sz="1400" kern="1200">
                <a:solidFill>
                  <a:schemeClr val="tx1"/>
                </a:solidFill>
                <a:latin typeface="+mn-lt"/>
                <a:ea typeface="+mn-ea"/>
                <a:cs typeface="+mn-cs"/>
              </a:defRPr>
            </a:lvl1pPr>
            <a:lvl2pPr marL="630238" indent="-180975"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2pPr>
            <a:lvl3pPr marL="1008000" indent="-182563" algn="l" defTabSz="914400" rtl="0" eaLnBrk="1" latinLnBrk="0" hangingPunct="1">
              <a:lnSpc>
                <a:spcPct val="120000"/>
              </a:lnSpc>
              <a:spcBef>
                <a:spcPts val="500"/>
              </a:spcBef>
              <a:buFont typeface="Lexend HM" panose="020B0604020202020204" pitchFamily="34" charset="0"/>
              <a:buChar char="•"/>
              <a:defRPr sz="1400" kern="1200">
                <a:solidFill>
                  <a:schemeClr val="tx1"/>
                </a:solidFill>
                <a:latin typeface="+mn-lt"/>
                <a:ea typeface="+mn-ea"/>
                <a:cs typeface="+mn-cs"/>
              </a:defRPr>
            </a:lvl3pPr>
            <a:lvl4pPr marL="1368000" indent="-180975" algn="l" defTabSz="914400" rtl="0" eaLnBrk="1" latinLnBrk="0" hangingPunct="1">
              <a:lnSpc>
                <a:spcPct val="120000"/>
              </a:lnSpc>
              <a:spcBef>
                <a:spcPts val="500"/>
              </a:spcBef>
              <a:buFont typeface="Lexend HM" panose="020B0604020202020204" pitchFamily="34" charset="0"/>
              <a:buChar char="•"/>
              <a:tabLst>
                <a:tab pos="1166813" algn="l"/>
              </a:tabLst>
              <a:defRPr sz="1400" kern="1200">
                <a:solidFill>
                  <a:schemeClr val="tx1"/>
                </a:solidFill>
                <a:latin typeface="+mn-lt"/>
                <a:ea typeface="+mn-ea"/>
                <a:cs typeface="+mn-cs"/>
              </a:defRPr>
            </a:lvl4pPr>
            <a:lvl5pPr marL="1764000" indent="-180975" algn="l" defTabSz="914400" rtl="0" eaLnBrk="1" latinLnBrk="0" hangingPunct="1">
              <a:lnSpc>
                <a:spcPct val="120000"/>
              </a:lnSpc>
              <a:spcBef>
                <a:spcPts val="500"/>
              </a:spcBef>
              <a:buFont typeface="Lexend HM" panose="020B0604020202020204" pitchFamily="34" charset="0"/>
              <a:buChar char="•"/>
              <a:tabLst>
                <a:tab pos="1616075" algn="l"/>
              </a:tabLst>
              <a:defRPr sz="1400" kern="1200">
                <a:solidFill>
                  <a:schemeClr val="tx1"/>
                </a:solidFill>
                <a:latin typeface="+mn-lt"/>
                <a:ea typeface="+mn-ea"/>
                <a:cs typeface="+mn-cs"/>
              </a:defRPr>
            </a:lvl5pPr>
            <a:lvl6pPr marL="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Lexend HM" panose="020B0604020202020204" pitchFamily="34" charset="0"/>
              <a:buChar char="•"/>
              <a:defRPr sz="1800" kern="1200">
                <a:solidFill>
                  <a:schemeClr val="tx1"/>
                </a:solidFill>
                <a:latin typeface="+mn-lt"/>
                <a:ea typeface="+mn-ea"/>
                <a:cs typeface="+mn-cs"/>
              </a:defRPr>
            </a:lvl9pPr>
          </a:lstStyle>
          <a:p>
            <a:r>
              <a:rPr lang="en-US" sz="1800" b="1">
                <a:solidFill>
                  <a:schemeClr val="bg1"/>
                </a:solidFill>
              </a:rPr>
              <a:t>Challenge: </a:t>
            </a:r>
            <a:r>
              <a:rPr lang="en-US" sz="1800">
                <a:solidFill>
                  <a:schemeClr val="bg1"/>
                </a:solidFill>
              </a:rPr>
              <a:t>Elaborate </a:t>
            </a:r>
            <a:r>
              <a:rPr lang="en-US" sz="1800" b="1">
                <a:solidFill>
                  <a:schemeClr val="bg1"/>
                </a:solidFill>
              </a:rPr>
              <a:t>company specific strategy </a:t>
            </a:r>
            <a:r>
              <a:rPr lang="en-US" sz="1800">
                <a:solidFill>
                  <a:schemeClr val="bg1"/>
                </a:solidFill>
              </a:rPr>
              <a:t>for identified measures mostly based on:</a:t>
            </a:r>
            <a:endParaRPr lang="de-DE" sz="1800">
              <a:solidFill>
                <a:schemeClr val="bg1"/>
              </a:solidFill>
            </a:endParaRPr>
          </a:p>
        </p:txBody>
      </p:sp>
      <p:pic>
        <p:nvPicPr>
          <p:cNvPr id="2098" name="Grafik 2097">
            <a:extLst>
              <a:ext uri="{FF2B5EF4-FFF2-40B4-BE49-F238E27FC236}">
                <a16:creationId xmlns:a16="http://schemas.microsoft.com/office/drawing/2014/main" id="{561CD1D9-7688-3F0E-6C2F-399B4A596D86}"/>
              </a:ext>
            </a:extLst>
          </p:cNvPr>
          <p:cNvPicPr>
            <a:picLocks noChangeAspect="1"/>
          </p:cNvPicPr>
          <p:nvPr/>
        </p:nvPicPr>
        <p:blipFill>
          <a:blip r:embed="rId5"/>
          <a:stretch>
            <a:fillRect/>
          </a:stretch>
        </p:blipFill>
        <p:spPr>
          <a:xfrm>
            <a:off x="3800196" y="1996321"/>
            <a:ext cx="334478" cy="403822"/>
          </a:xfrm>
          <a:prstGeom prst="rect">
            <a:avLst/>
          </a:prstGeom>
        </p:spPr>
      </p:pic>
      <p:pic>
        <p:nvPicPr>
          <p:cNvPr id="2099" name="Grafik 2098">
            <a:extLst>
              <a:ext uri="{FF2B5EF4-FFF2-40B4-BE49-F238E27FC236}">
                <a16:creationId xmlns:a16="http://schemas.microsoft.com/office/drawing/2014/main" id="{D2482779-EE29-A1B1-C1A5-78199AA9AC75}"/>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l="28759" t="3449" r="28496" b="3768"/>
          <a:stretch/>
        </p:blipFill>
        <p:spPr>
          <a:xfrm>
            <a:off x="3116095" y="1974168"/>
            <a:ext cx="255226" cy="397019"/>
          </a:xfrm>
          <a:prstGeom prst="rect">
            <a:avLst/>
          </a:prstGeom>
        </p:spPr>
      </p:pic>
      <p:pic>
        <p:nvPicPr>
          <p:cNvPr id="2100" name="Grafik 2099">
            <a:extLst>
              <a:ext uri="{FF2B5EF4-FFF2-40B4-BE49-F238E27FC236}">
                <a16:creationId xmlns:a16="http://schemas.microsoft.com/office/drawing/2014/main" id="{D12F6DE7-E45A-9997-6CE8-5BB38F100A9F}"/>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597020" y="2054263"/>
            <a:ext cx="345880" cy="345880"/>
          </a:xfrm>
          <a:prstGeom prst="rect">
            <a:avLst/>
          </a:prstGeom>
        </p:spPr>
      </p:pic>
      <p:pic>
        <p:nvPicPr>
          <p:cNvPr id="2103" name="Picture 14" descr="72,926 Commitment Symbol Royalty-Free Photos and Stock Images | Shutterstock">
            <a:extLst>
              <a:ext uri="{FF2B5EF4-FFF2-40B4-BE49-F238E27FC236}">
                <a16:creationId xmlns:a16="http://schemas.microsoft.com/office/drawing/2014/main" id="{037E5F9E-ECAE-A8D7-108C-4395980FB6C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7983" t="22334" r="28834" b="37666"/>
          <a:stretch/>
        </p:blipFill>
        <p:spPr bwMode="auto">
          <a:xfrm>
            <a:off x="5496392" y="1996321"/>
            <a:ext cx="435963" cy="403822"/>
          </a:xfrm>
          <a:prstGeom prst="rect">
            <a:avLst/>
          </a:prstGeom>
          <a:noFill/>
          <a:extLst>
            <a:ext uri="{909E8E84-426E-40DD-AFC4-6F175D3DCCD1}">
              <a14:hiddenFill xmlns:a14="http://schemas.microsoft.com/office/drawing/2010/main">
                <a:solidFill>
                  <a:srgbClr val="FFFFFF"/>
                </a:solidFill>
              </a14:hiddenFill>
            </a:ext>
          </a:extLst>
        </p:spPr>
      </p:pic>
      <p:pic>
        <p:nvPicPr>
          <p:cNvPr id="2108" name="Grafik 2107">
            <a:extLst>
              <a:ext uri="{FF2B5EF4-FFF2-40B4-BE49-F238E27FC236}">
                <a16:creationId xmlns:a16="http://schemas.microsoft.com/office/drawing/2014/main" id="{1C253DF3-5A46-BDB9-F6EE-CF8B41C7020C}"/>
              </a:ext>
            </a:extLst>
          </p:cNvPr>
          <p:cNvPicPr>
            <a:picLocks noChangeAspect="1"/>
          </p:cNvPicPr>
          <p:nvPr/>
        </p:nvPicPr>
        <p:blipFill rotWithShape="1">
          <a:blip r:embed="rId9"/>
          <a:srcRect l="52753" t="5462" r="3080" b="7277"/>
          <a:stretch/>
        </p:blipFill>
        <p:spPr>
          <a:xfrm>
            <a:off x="2800704" y="4045608"/>
            <a:ext cx="285469" cy="282002"/>
          </a:xfrm>
          <a:prstGeom prst="rect">
            <a:avLst/>
          </a:prstGeom>
        </p:spPr>
      </p:pic>
      <p:pic>
        <p:nvPicPr>
          <p:cNvPr id="2109" name="Grafik 2108">
            <a:extLst>
              <a:ext uri="{FF2B5EF4-FFF2-40B4-BE49-F238E27FC236}">
                <a16:creationId xmlns:a16="http://schemas.microsoft.com/office/drawing/2014/main" id="{792F22F5-2F29-DB22-FCD8-6438E96AC7CB}"/>
              </a:ext>
            </a:extLst>
          </p:cNvPr>
          <p:cNvPicPr>
            <a:picLocks noChangeAspect="1"/>
          </p:cNvPicPr>
          <p:nvPr/>
        </p:nvPicPr>
        <p:blipFill rotWithShape="1">
          <a:blip r:embed="rId9"/>
          <a:srcRect l="3298" t="6798" r="52535" b="5942"/>
          <a:stretch/>
        </p:blipFill>
        <p:spPr>
          <a:xfrm>
            <a:off x="2803802" y="2460807"/>
            <a:ext cx="285469" cy="282002"/>
          </a:xfrm>
          <a:prstGeom prst="rect">
            <a:avLst/>
          </a:prstGeom>
        </p:spPr>
      </p:pic>
      <p:pic>
        <p:nvPicPr>
          <p:cNvPr id="2110" name="Grafik 2109">
            <a:extLst>
              <a:ext uri="{FF2B5EF4-FFF2-40B4-BE49-F238E27FC236}">
                <a16:creationId xmlns:a16="http://schemas.microsoft.com/office/drawing/2014/main" id="{6ABC88ED-43EE-F7A2-4963-BBDB4A14E68E}"/>
              </a:ext>
            </a:extLst>
          </p:cNvPr>
          <p:cNvPicPr>
            <a:picLocks noChangeAspect="1"/>
          </p:cNvPicPr>
          <p:nvPr/>
        </p:nvPicPr>
        <p:blipFill rotWithShape="1">
          <a:blip r:embed="rId9"/>
          <a:srcRect l="3298" t="6798" r="52535" b="5942"/>
          <a:stretch/>
        </p:blipFill>
        <p:spPr>
          <a:xfrm>
            <a:off x="2800704" y="3455955"/>
            <a:ext cx="285469" cy="282002"/>
          </a:xfrm>
          <a:prstGeom prst="rect">
            <a:avLst/>
          </a:prstGeom>
        </p:spPr>
      </p:pic>
      <p:pic>
        <p:nvPicPr>
          <p:cNvPr id="2116" name="Grafik 2115">
            <a:extLst>
              <a:ext uri="{FF2B5EF4-FFF2-40B4-BE49-F238E27FC236}">
                <a16:creationId xmlns:a16="http://schemas.microsoft.com/office/drawing/2014/main" id="{84E94267-D9A2-9B9D-8610-2C6A40F5EA73}"/>
              </a:ext>
            </a:extLst>
          </p:cNvPr>
          <p:cNvPicPr>
            <a:picLocks noChangeAspect="1"/>
          </p:cNvPicPr>
          <p:nvPr/>
        </p:nvPicPr>
        <p:blipFill rotWithShape="1">
          <a:blip r:embed="rId9"/>
          <a:srcRect l="3298" t="6798" r="52535" b="5942"/>
          <a:stretch/>
        </p:blipFill>
        <p:spPr>
          <a:xfrm>
            <a:off x="4389047" y="5521965"/>
            <a:ext cx="285469" cy="282002"/>
          </a:xfrm>
          <a:prstGeom prst="rect">
            <a:avLst/>
          </a:prstGeom>
        </p:spPr>
      </p:pic>
      <p:pic>
        <p:nvPicPr>
          <p:cNvPr id="2117" name="Grafik 2116">
            <a:extLst>
              <a:ext uri="{FF2B5EF4-FFF2-40B4-BE49-F238E27FC236}">
                <a16:creationId xmlns:a16="http://schemas.microsoft.com/office/drawing/2014/main" id="{5811B64B-CEF4-F698-3BE9-F7DE3BE01594}"/>
              </a:ext>
            </a:extLst>
          </p:cNvPr>
          <p:cNvPicPr>
            <a:picLocks noChangeAspect="1"/>
          </p:cNvPicPr>
          <p:nvPr/>
        </p:nvPicPr>
        <p:blipFill rotWithShape="1">
          <a:blip r:embed="rId9"/>
          <a:srcRect l="3298" t="6798" r="52535" b="5942"/>
          <a:stretch/>
        </p:blipFill>
        <p:spPr>
          <a:xfrm>
            <a:off x="2803802" y="2945685"/>
            <a:ext cx="285469" cy="282002"/>
          </a:xfrm>
          <a:prstGeom prst="rect">
            <a:avLst/>
          </a:prstGeom>
        </p:spPr>
      </p:pic>
      <p:pic>
        <p:nvPicPr>
          <p:cNvPr id="2118" name="Grafik 2117">
            <a:extLst>
              <a:ext uri="{FF2B5EF4-FFF2-40B4-BE49-F238E27FC236}">
                <a16:creationId xmlns:a16="http://schemas.microsoft.com/office/drawing/2014/main" id="{A1372EE6-359A-18FA-00C6-7EA0911D53E2}"/>
              </a:ext>
            </a:extLst>
          </p:cNvPr>
          <p:cNvPicPr>
            <a:picLocks noChangeAspect="1"/>
          </p:cNvPicPr>
          <p:nvPr/>
        </p:nvPicPr>
        <p:blipFill rotWithShape="1">
          <a:blip r:embed="rId9"/>
          <a:srcRect l="52753" t="5462" r="3080" b="7277"/>
          <a:stretch/>
        </p:blipFill>
        <p:spPr>
          <a:xfrm>
            <a:off x="2800704" y="4540571"/>
            <a:ext cx="285469" cy="282002"/>
          </a:xfrm>
          <a:prstGeom prst="rect">
            <a:avLst/>
          </a:prstGeom>
        </p:spPr>
      </p:pic>
      <p:pic>
        <p:nvPicPr>
          <p:cNvPr id="2119" name="Grafik 2118">
            <a:extLst>
              <a:ext uri="{FF2B5EF4-FFF2-40B4-BE49-F238E27FC236}">
                <a16:creationId xmlns:a16="http://schemas.microsoft.com/office/drawing/2014/main" id="{355F4F89-8D0F-4E0A-C01D-09DA52703ADF}"/>
              </a:ext>
            </a:extLst>
          </p:cNvPr>
          <p:cNvPicPr>
            <a:picLocks noChangeAspect="1"/>
          </p:cNvPicPr>
          <p:nvPr/>
        </p:nvPicPr>
        <p:blipFill rotWithShape="1">
          <a:blip r:embed="rId9"/>
          <a:srcRect l="52753" t="5462" r="3080" b="7277"/>
          <a:stretch/>
        </p:blipFill>
        <p:spPr>
          <a:xfrm>
            <a:off x="2800703" y="5027002"/>
            <a:ext cx="285469" cy="282002"/>
          </a:xfrm>
          <a:prstGeom prst="rect">
            <a:avLst/>
          </a:prstGeom>
        </p:spPr>
      </p:pic>
      <p:pic>
        <p:nvPicPr>
          <p:cNvPr id="2120" name="Grafik 2119">
            <a:extLst>
              <a:ext uri="{FF2B5EF4-FFF2-40B4-BE49-F238E27FC236}">
                <a16:creationId xmlns:a16="http://schemas.microsoft.com/office/drawing/2014/main" id="{C9A2EF6A-9483-63DA-DA9D-A582691720AD}"/>
              </a:ext>
            </a:extLst>
          </p:cNvPr>
          <p:cNvPicPr>
            <a:picLocks noChangeAspect="1"/>
          </p:cNvPicPr>
          <p:nvPr/>
        </p:nvPicPr>
        <p:blipFill rotWithShape="1">
          <a:blip r:embed="rId9"/>
          <a:srcRect l="52753" t="5462" r="3080" b="7277"/>
          <a:stretch/>
        </p:blipFill>
        <p:spPr>
          <a:xfrm>
            <a:off x="2800702" y="5521965"/>
            <a:ext cx="285469" cy="282002"/>
          </a:xfrm>
          <a:prstGeom prst="rect">
            <a:avLst/>
          </a:prstGeom>
        </p:spPr>
      </p:pic>
      <p:pic>
        <p:nvPicPr>
          <p:cNvPr id="2124" name="Grafik 2123">
            <a:extLst>
              <a:ext uri="{FF2B5EF4-FFF2-40B4-BE49-F238E27FC236}">
                <a16:creationId xmlns:a16="http://schemas.microsoft.com/office/drawing/2014/main" id="{8CFEE5C3-6413-4F3D-B32A-1556D9270617}"/>
              </a:ext>
            </a:extLst>
          </p:cNvPr>
          <p:cNvPicPr>
            <a:picLocks noChangeAspect="1"/>
          </p:cNvPicPr>
          <p:nvPr/>
        </p:nvPicPr>
        <p:blipFill rotWithShape="1">
          <a:blip r:embed="rId9"/>
          <a:srcRect l="3298" t="6798" r="52535" b="5942"/>
          <a:stretch/>
        </p:blipFill>
        <p:spPr>
          <a:xfrm>
            <a:off x="3594530" y="2945685"/>
            <a:ext cx="285469" cy="282002"/>
          </a:xfrm>
          <a:prstGeom prst="rect">
            <a:avLst/>
          </a:prstGeom>
        </p:spPr>
      </p:pic>
      <p:pic>
        <p:nvPicPr>
          <p:cNvPr id="2126" name="Grafik 2125">
            <a:extLst>
              <a:ext uri="{FF2B5EF4-FFF2-40B4-BE49-F238E27FC236}">
                <a16:creationId xmlns:a16="http://schemas.microsoft.com/office/drawing/2014/main" id="{E4B99CF0-7B1C-1EEE-8AB7-5A51BC8BB880}"/>
              </a:ext>
            </a:extLst>
          </p:cNvPr>
          <p:cNvPicPr>
            <a:picLocks noChangeAspect="1"/>
          </p:cNvPicPr>
          <p:nvPr/>
        </p:nvPicPr>
        <p:blipFill rotWithShape="1">
          <a:blip r:embed="rId9"/>
          <a:srcRect l="52753" t="5462" r="3080" b="7277"/>
          <a:stretch/>
        </p:blipFill>
        <p:spPr>
          <a:xfrm>
            <a:off x="3591431" y="5027002"/>
            <a:ext cx="285469" cy="282002"/>
          </a:xfrm>
          <a:prstGeom prst="rect">
            <a:avLst/>
          </a:prstGeom>
        </p:spPr>
      </p:pic>
      <p:pic>
        <p:nvPicPr>
          <p:cNvPr id="2127" name="Grafik 2126">
            <a:extLst>
              <a:ext uri="{FF2B5EF4-FFF2-40B4-BE49-F238E27FC236}">
                <a16:creationId xmlns:a16="http://schemas.microsoft.com/office/drawing/2014/main" id="{2FC0578F-1DC7-8F00-4DEB-18328E7AE3D2}"/>
              </a:ext>
            </a:extLst>
          </p:cNvPr>
          <p:cNvPicPr>
            <a:picLocks noChangeAspect="1"/>
          </p:cNvPicPr>
          <p:nvPr/>
        </p:nvPicPr>
        <p:blipFill rotWithShape="1">
          <a:blip r:embed="rId9"/>
          <a:srcRect l="52753" t="5462" r="3080" b="7277"/>
          <a:stretch/>
        </p:blipFill>
        <p:spPr>
          <a:xfrm>
            <a:off x="3591430" y="5521965"/>
            <a:ext cx="285469" cy="282002"/>
          </a:xfrm>
          <a:prstGeom prst="rect">
            <a:avLst/>
          </a:prstGeom>
        </p:spPr>
      </p:pic>
      <p:pic>
        <p:nvPicPr>
          <p:cNvPr id="2128" name="Grafik 2127">
            <a:extLst>
              <a:ext uri="{FF2B5EF4-FFF2-40B4-BE49-F238E27FC236}">
                <a16:creationId xmlns:a16="http://schemas.microsoft.com/office/drawing/2014/main" id="{DFA7E43F-09D6-44F4-3CBE-F26D83532635}"/>
              </a:ext>
            </a:extLst>
          </p:cNvPr>
          <p:cNvPicPr>
            <a:picLocks noChangeAspect="1"/>
          </p:cNvPicPr>
          <p:nvPr/>
        </p:nvPicPr>
        <p:blipFill rotWithShape="1">
          <a:blip r:embed="rId9"/>
          <a:srcRect l="3298" t="6798" r="52535" b="5942"/>
          <a:stretch/>
        </p:blipFill>
        <p:spPr>
          <a:xfrm>
            <a:off x="3591430" y="4039235"/>
            <a:ext cx="285469" cy="282002"/>
          </a:xfrm>
          <a:prstGeom prst="rect">
            <a:avLst/>
          </a:prstGeom>
        </p:spPr>
      </p:pic>
      <p:pic>
        <p:nvPicPr>
          <p:cNvPr id="2129" name="Grafik 2128">
            <a:extLst>
              <a:ext uri="{FF2B5EF4-FFF2-40B4-BE49-F238E27FC236}">
                <a16:creationId xmlns:a16="http://schemas.microsoft.com/office/drawing/2014/main" id="{9977D514-683F-9FE2-AB1E-2A90A7699FC6}"/>
              </a:ext>
            </a:extLst>
          </p:cNvPr>
          <p:cNvPicPr>
            <a:picLocks noChangeAspect="1"/>
          </p:cNvPicPr>
          <p:nvPr/>
        </p:nvPicPr>
        <p:blipFill rotWithShape="1">
          <a:blip r:embed="rId9"/>
          <a:srcRect l="3298" t="6798" r="52535" b="5942"/>
          <a:stretch/>
        </p:blipFill>
        <p:spPr>
          <a:xfrm>
            <a:off x="3591430" y="4533118"/>
            <a:ext cx="285469" cy="282002"/>
          </a:xfrm>
          <a:prstGeom prst="rect">
            <a:avLst/>
          </a:prstGeom>
        </p:spPr>
      </p:pic>
      <p:pic>
        <p:nvPicPr>
          <p:cNvPr id="2130" name="Grafik 2129">
            <a:extLst>
              <a:ext uri="{FF2B5EF4-FFF2-40B4-BE49-F238E27FC236}">
                <a16:creationId xmlns:a16="http://schemas.microsoft.com/office/drawing/2014/main" id="{731BE52B-BD05-22D6-71F8-1015D4E8556A}"/>
              </a:ext>
            </a:extLst>
          </p:cNvPr>
          <p:cNvPicPr>
            <a:picLocks noChangeAspect="1"/>
          </p:cNvPicPr>
          <p:nvPr/>
        </p:nvPicPr>
        <p:blipFill rotWithShape="1">
          <a:blip r:embed="rId9"/>
          <a:srcRect l="52753" t="5462" r="3080" b="7277"/>
          <a:stretch/>
        </p:blipFill>
        <p:spPr>
          <a:xfrm>
            <a:off x="3595028" y="3439568"/>
            <a:ext cx="285469" cy="282002"/>
          </a:xfrm>
          <a:prstGeom prst="rect">
            <a:avLst/>
          </a:prstGeom>
        </p:spPr>
      </p:pic>
      <p:pic>
        <p:nvPicPr>
          <p:cNvPr id="2131" name="Grafik 2130">
            <a:extLst>
              <a:ext uri="{FF2B5EF4-FFF2-40B4-BE49-F238E27FC236}">
                <a16:creationId xmlns:a16="http://schemas.microsoft.com/office/drawing/2014/main" id="{A43D3B03-E62D-569F-1240-EC94958B07AD}"/>
              </a:ext>
            </a:extLst>
          </p:cNvPr>
          <p:cNvPicPr>
            <a:picLocks noChangeAspect="1"/>
          </p:cNvPicPr>
          <p:nvPr/>
        </p:nvPicPr>
        <p:blipFill rotWithShape="1">
          <a:blip r:embed="rId9"/>
          <a:srcRect l="52753" t="5462" r="3080" b="7277"/>
          <a:stretch/>
        </p:blipFill>
        <p:spPr>
          <a:xfrm>
            <a:off x="3591430" y="2456728"/>
            <a:ext cx="285469" cy="282002"/>
          </a:xfrm>
          <a:prstGeom prst="rect">
            <a:avLst/>
          </a:prstGeom>
        </p:spPr>
      </p:pic>
      <p:pic>
        <p:nvPicPr>
          <p:cNvPr id="2133" name="Grafik 2132">
            <a:extLst>
              <a:ext uri="{FF2B5EF4-FFF2-40B4-BE49-F238E27FC236}">
                <a16:creationId xmlns:a16="http://schemas.microsoft.com/office/drawing/2014/main" id="{B637BADD-C43F-A439-02BA-E92C6A798C3E}"/>
              </a:ext>
            </a:extLst>
          </p:cNvPr>
          <p:cNvPicPr>
            <a:picLocks noChangeAspect="1"/>
          </p:cNvPicPr>
          <p:nvPr/>
        </p:nvPicPr>
        <p:blipFill rotWithShape="1">
          <a:blip r:embed="rId9"/>
          <a:srcRect l="52753" t="5462" r="3080" b="7277"/>
          <a:stretch/>
        </p:blipFill>
        <p:spPr>
          <a:xfrm>
            <a:off x="4379647" y="4045608"/>
            <a:ext cx="285469" cy="282002"/>
          </a:xfrm>
          <a:prstGeom prst="rect">
            <a:avLst/>
          </a:prstGeom>
        </p:spPr>
      </p:pic>
      <p:pic>
        <p:nvPicPr>
          <p:cNvPr id="2134" name="Grafik 2133">
            <a:extLst>
              <a:ext uri="{FF2B5EF4-FFF2-40B4-BE49-F238E27FC236}">
                <a16:creationId xmlns:a16="http://schemas.microsoft.com/office/drawing/2014/main" id="{3E45D43A-2987-C788-6FBD-802F196D5A97}"/>
              </a:ext>
            </a:extLst>
          </p:cNvPr>
          <p:cNvPicPr>
            <a:picLocks noChangeAspect="1"/>
          </p:cNvPicPr>
          <p:nvPr/>
        </p:nvPicPr>
        <p:blipFill rotWithShape="1">
          <a:blip r:embed="rId9"/>
          <a:srcRect l="52753" t="5462" r="3080" b="7277"/>
          <a:stretch/>
        </p:blipFill>
        <p:spPr>
          <a:xfrm>
            <a:off x="4379647" y="4540571"/>
            <a:ext cx="285469" cy="282002"/>
          </a:xfrm>
          <a:prstGeom prst="rect">
            <a:avLst/>
          </a:prstGeom>
        </p:spPr>
      </p:pic>
      <p:pic>
        <p:nvPicPr>
          <p:cNvPr id="2135" name="Grafik 2134">
            <a:extLst>
              <a:ext uri="{FF2B5EF4-FFF2-40B4-BE49-F238E27FC236}">
                <a16:creationId xmlns:a16="http://schemas.microsoft.com/office/drawing/2014/main" id="{940A0EFF-4FAF-B075-3377-AB68E6298E2A}"/>
              </a:ext>
            </a:extLst>
          </p:cNvPr>
          <p:cNvPicPr>
            <a:picLocks noChangeAspect="1"/>
          </p:cNvPicPr>
          <p:nvPr/>
        </p:nvPicPr>
        <p:blipFill rotWithShape="1">
          <a:blip r:embed="rId9"/>
          <a:srcRect l="52753" t="5462" r="3080" b="7277"/>
          <a:stretch/>
        </p:blipFill>
        <p:spPr>
          <a:xfrm>
            <a:off x="4379646" y="5027002"/>
            <a:ext cx="285469" cy="282002"/>
          </a:xfrm>
          <a:prstGeom prst="rect">
            <a:avLst/>
          </a:prstGeom>
        </p:spPr>
      </p:pic>
      <p:pic>
        <p:nvPicPr>
          <p:cNvPr id="2137" name="Grafik 2136">
            <a:extLst>
              <a:ext uri="{FF2B5EF4-FFF2-40B4-BE49-F238E27FC236}">
                <a16:creationId xmlns:a16="http://schemas.microsoft.com/office/drawing/2014/main" id="{D3D981B8-9C31-D9D3-F532-1A604FB2361F}"/>
              </a:ext>
            </a:extLst>
          </p:cNvPr>
          <p:cNvPicPr>
            <a:picLocks noChangeAspect="1"/>
          </p:cNvPicPr>
          <p:nvPr/>
        </p:nvPicPr>
        <p:blipFill rotWithShape="1">
          <a:blip r:embed="rId9"/>
          <a:srcRect l="3298" t="6798" r="52535" b="5942"/>
          <a:stretch/>
        </p:blipFill>
        <p:spPr>
          <a:xfrm>
            <a:off x="4389352" y="3428487"/>
            <a:ext cx="285469" cy="282002"/>
          </a:xfrm>
          <a:prstGeom prst="rect">
            <a:avLst/>
          </a:prstGeom>
        </p:spPr>
      </p:pic>
      <p:pic>
        <p:nvPicPr>
          <p:cNvPr id="2138" name="Grafik 2137">
            <a:extLst>
              <a:ext uri="{FF2B5EF4-FFF2-40B4-BE49-F238E27FC236}">
                <a16:creationId xmlns:a16="http://schemas.microsoft.com/office/drawing/2014/main" id="{7387470A-AC3E-77C6-21CF-A147711B80DA}"/>
              </a:ext>
            </a:extLst>
          </p:cNvPr>
          <p:cNvPicPr>
            <a:picLocks noChangeAspect="1"/>
          </p:cNvPicPr>
          <p:nvPr/>
        </p:nvPicPr>
        <p:blipFill rotWithShape="1">
          <a:blip r:embed="rId9"/>
          <a:srcRect l="52753" t="5462" r="3080" b="7277"/>
          <a:stretch/>
        </p:blipFill>
        <p:spPr>
          <a:xfrm>
            <a:off x="4389352" y="2456728"/>
            <a:ext cx="285469" cy="282002"/>
          </a:xfrm>
          <a:prstGeom prst="rect">
            <a:avLst/>
          </a:prstGeom>
        </p:spPr>
      </p:pic>
      <p:pic>
        <p:nvPicPr>
          <p:cNvPr id="2139" name="Grafik 2138">
            <a:extLst>
              <a:ext uri="{FF2B5EF4-FFF2-40B4-BE49-F238E27FC236}">
                <a16:creationId xmlns:a16="http://schemas.microsoft.com/office/drawing/2014/main" id="{14C57FC4-19E5-AF61-122A-16FE073D992B}"/>
              </a:ext>
            </a:extLst>
          </p:cNvPr>
          <p:cNvPicPr>
            <a:picLocks noChangeAspect="1"/>
          </p:cNvPicPr>
          <p:nvPr/>
        </p:nvPicPr>
        <p:blipFill rotWithShape="1">
          <a:blip r:embed="rId9"/>
          <a:srcRect l="52753" t="5462" r="3080" b="7277"/>
          <a:stretch/>
        </p:blipFill>
        <p:spPr>
          <a:xfrm>
            <a:off x="4389352" y="2951691"/>
            <a:ext cx="285469" cy="282002"/>
          </a:xfrm>
          <a:prstGeom prst="rect">
            <a:avLst/>
          </a:prstGeom>
        </p:spPr>
      </p:pic>
      <p:pic>
        <p:nvPicPr>
          <p:cNvPr id="2140" name="Grafik 2139">
            <a:extLst>
              <a:ext uri="{FF2B5EF4-FFF2-40B4-BE49-F238E27FC236}">
                <a16:creationId xmlns:a16="http://schemas.microsoft.com/office/drawing/2014/main" id="{0138A21A-3762-F938-583C-AB1BFACD81A2}"/>
              </a:ext>
            </a:extLst>
          </p:cNvPr>
          <p:cNvPicPr>
            <a:picLocks noChangeAspect="1"/>
          </p:cNvPicPr>
          <p:nvPr/>
        </p:nvPicPr>
        <p:blipFill rotWithShape="1">
          <a:blip r:embed="rId9"/>
          <a:srcRect l="3298" t="6798" r="52535" b="5942"/>
          <a:stretch/>
        </p:blipFill>
        <p:spPr>
          <a:xfrm>
            <a:off x="5187274" y="2460807"/>
            <a:ext cx="285469" cy="282002"/>
          </a:xfrm>
          <a:prstGeom prst="rect">
            <a:avLst/>
          </a:prstGeom>
        </p:spPr>
      </p:pic>
      <p:pic>
        <p:nvPicPr>
          <p:cNvPr id="2141" name="Grafik 2140">
            <a:extLst>
              <a:ext uri="{FF2B5EF4-FFF2-40B4-BE49-F238E27FC236}">
                <a16:creationId xmlns:a16="http://schemas.microsoft.com/office/drawing/2014/main" id="{9AF3D903-0176-CE9B-7648-752C3E87DC07}"/>
              </a:ext>
            </a:extLst>
          </p:cNvPr>
          <p:cNvPicPr>
            <a:picLocks noChangeAspect="1"/>
          </p:cNvPicPr>
          <p:nvPr/>
        </p:nvPicPr>
        <p:blipFill rotWithShape="1">
          <a:blip r:embed="rId9"/>
          <a:srcRect l="3298" t="6798" r="52535" b="5942"/>
          <a:stretch/>
        </p:blipFill>
        <p:spPr>
          <a:xfrm>
            <a:off x="5187274" y="2945685"/>
            <a:ext cx="285469" cy="282002"/>
          </a:xfrm>
          <a:prstGeom prst="rect">
            <a:avLst/>
          </a:prstGeom>
        </p:spPr>
      </p:pic>
      <p:pic>
        <p:nvPicPr>
          <p:cNvPr id="2142" name="Grafik 2141">
            <a:extLst>
              <a:ext uri="{FF2B5EF4-FFF2-40B4-BE49-F238E27FC236}">
                <a16:creationId xmlns:a16="http://schemas.microsoft.com/office/drawing/2014/main" id="{A92E4E05-F81A-24B4-E10A-8A12DA2C6BBF}"/>
              </a:ext>
            </a:extLst>
          </p:cNvPr>
          <p:cNvPicPr>
            <a:picLocks noChangeAspect="1"/>
          </p:cNvPicPr>
          <p:nvPr/>
        </p:nvPicPr>
        <p:blipFill rotWithShape="1">
          <a:blip r:embed="rId9"/>
          <a:srcRect l="3298" t="6798" r="52535" b="5942"/>
          <a:stretch/>
        </p:blipFill>
        <p:spPr>
          <a:xfrm>
            <a:off x="5187274" y="3439568"/>
            <a:ext cx="285469" cy="282002"/>
          </a:xfrm>
          <a:prstGeom prst="rect">
            <a:avLst/>
          </a:prstGeom>
        </p:spPr>
      </p:pic>
      <p:pic>
        <p:nvPicPr>
          <p:cNvPr id="2143" name="Grafik 2142">
            <a:extLst>
              <a:ext uri="{FF2B5EF4-FFF2-40B4-BE49-F238E27FC236}">
                <a16:creationId xmlns:a16="http://schemas.microsoft.com/office/drawing/2014/main" id="{96D6E07B-C269-FAAD-D091-E8899F638841}"/>
              </a:ext>
            </a:extLst>
          </p:cNvPr>
          <p:cNvPicPr>
            <a:picLocks noChangeAspect="1"/>
          </p:cNvPicPr>
          <p:nvPr/>
        </p:nvPicPr>
        <p:blipFill rotWithShape="1">
          <a:blip r:embed="rId9"/>
          <a:srcRect l="3298" t="6798" r="52535" b="5942"/>
          <a:stretch/>
        </p:blipFill>
        <p:spPr>
          <a:xfrm>
            <a:off x="5187274" y="4045608"/>
            <a:ext cx="285469" cy="282002"/>
          </a:xfrm>
          <a:prstGeom prst="rect">
            <a:avLst/>
          </a:prstGeom>
        </p:spPr>
      </p:pic>
      <p:pic>
        <p:nvPicPr>
          <p:cNvPr id="2146" name="Grafik 2145">
            <a:extLst>
              <a:ext uri="{FF2B5EF4-FFF2-40B4-BE49-F238E27FC236}">
                <a16:creationId xmlns:a16="http://schemas.microsoft.com/office/drawing/2014/main" id="{E2E972FC-632E-A0D5-1092-A62426F6A60F}"/>
              </a:ext>
            </a:extLst>
          </p:cNvPr>
          <p:cNvPicPr>
            <a:picLocks noChangeAspect="1"/>
          </p:cNvPicPr>
          <p:nvPr/>
        </p:nvPicPr>
        <p:blipFill rotWithShape="1">
          <a:blip r:embed="rId9"/>
          <a:srcRect l="52753" t="5462" r="3080" b="7277"/>
          <a:stretch/>
        </p:blipFill>
        <p:spPr>
          <a:xfrm>
            <a:off x="5188180" y="4540571"/>
            <a:ext cx="285469" cy="282002"/>
          </a:xfrm>
          <a:prstGeom prst="rect">
            <a:avLst/>
          </a:prstGeom>
        </p:spPr>
      </p:pic>
      <p:pic>
        <p:nvPicPr>
          <p:cNvPr id="2147" name="Grafik 2146">
            <a:extLst>
              <a:ext uri="{FF2B5EF4-FFF2-40B4-BE49-F238E27FC236}">
                <a16:creationId xmlns:a16="http://schemas.microsoft.com/office/drawing/2014/main" id="{3933F525-072B-D9AF-0923-446F04CD3537}"/>
              </a:ext>
            </a:extLst>
          </p:cNvPr>
          <p:cNvPicPr>
            <a:picLocks noChangeAspect="1"/>
          </p:cNvPicPr>
          <p:nvPr/>
        </p:nvPicPr>
        <p:blipFill rotWithShape="1">
          <a:blip r:embed="rId9"/>
          <a:srcRect l="52753" t="5462" r="3080" b="7277"/>
          <a:stretch/>
        </p:blipFill>
        <p:spPr>
          <a:xfrm>
            <a:off x="5187274" y="5027002"/>
            <a:ext cx="285469" cy="282002"/>
          </a:xfrm>
          <a:prstGeom prst="rect">
            <a:avLst/>
          </a:prstGeom>
        </p:spPr>
      </p:pic>
      <p:pic>
        <p:nvPicPr>
          <p:cNvPr id="2148" name="Grafik 2147">
            <a:extLst>
              <a:ext uri="{FF2B5EF4-FFF2-40B4-BE49-F238E27FC236}">
                <a16:creationId xmlns:a16="http://schemas.microsoft.com/office/drawing/2014/main" id="{CF452AE8-7516-B407-56DF-C5A11F966F6A}"/>
              </a:ext>
            </a:extLst>
          </p:cNvPr>
          <p:cNvPicPr>
            <a:picLocks noChangeAspect="1"/>
          </p:cNvPicPr>
          <p:nvPr/>
        </p:nvPicPr>
        <p:blipFill rotWithShape="1">
          <a:blip r:embed="rId9"/>
          <a:srcRect l="3298" t="6798" r="52535" b="5942"/>
          <a:stretch/>
        </p:blipFill>
        <p:spPr>
          <a:xfrm>
            <a:off x="5210923" y="5521965"/>
            <a:ext cx="285469" cy="282002"/>
          </a:xfrm>
          <a:prstGeom prst="rect">
            <a:avLst/>
          </a:prstGeom>
        </p:spPr>
      </p:pic>
      <p:pic>
        <p:nvPicPr>
          <p:cNvPr id="2150" name="Grafik 2149">
            <a:extLst>
              <a:ext uri="{FF2B5EF4-FFF2-40B4-BE49-F238E27FC236}">
                <a16:creationId xmlns:a16="http://schemas.microsoft.com/office/drawing/2014/main" id="{09210208-F7C9-E224-184D-F831BE867F02}"/>
              </a:ext>
            </a:extLst>
          </p:cNvPr>
          <p:cNvPicPr>
            <a:picLocks noChangeAspect="1"/>
          </p:cNvPicPr>
          <p:nvPr/>
        </p:nvPicPr>
        <p:blipFill>
          <a:blip r:embed="rId5"/>
          <a:stretch>
            <a:fillRect/>
          </a:stretch>
        </p:blipFill>
        <p:spPr>
          <a:xfrm>
            <a:off x="1831745" y="6067884"/>
            <a:ext cx="214502" cy="258972"/>
          </a:xfrm>
          <a:prstGeom prst="rect">
            <a:avLst/>
          </a:prstGeom>
        </p:spPr>
      </p:pic>
      <p:pic>
        <p:nvPicPr>
          <p:cNvPr id="2151" name="Grafik 2150">
            <a:extLst>
              <a:ext uri="{FF2B5EF4-FFF2-40B4-BE49-F238E27FC236}">
                <a16:creationId xmlns:a16="http://schemas.microsoft.com/office/drawing/2014/main" id="{F0EFCE9C-4E5B-CB95-27B5-7DE305C5FA67}"/>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l="28759" t="3449" r="28496" b="3768"/>
          <a:stretch/>
        </p:blipFill>
        <p:spPr>
          <a:xfrm>
            <a:off x="320749" y="6093252"/>
            <a:ext cx="150174" cy="233604"/>
          </a:xfrm>
          <a:prstGeom prst="rect">
            <a:avLst/>
          </a:prstGeom>
        </p:spPr>
      </p:pic>
      <p:pic>
        <p:nvPicPr>
          <p:cNvPr id="2152" name="Grafik 2151">
            <a:extLst>
              <a:ext uri="{FF2B5EF4-FFF2-40B4-BE49-F238E27FC236}">
                <a16:creationId xmlns:a16="http://schemas.microsoft.com/office/drawing/2014/main" id="{6A6366FF-AEF9-A78B-6956-EBB254963F3D}"/>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498522" y="6083747"/>
            <a:ext cx="214502" cy="214502"/>
          </a:xfrm>
          <a:prstGeom prst="rect">
            <a:avLst/>
          </a:prstGeom>
        </p:spPr>
      </p:pic>
      <p:pic>
        <p:nvPicPr>
          <p:cNvPr id="2153" name="Picture 14" descr="72,926 Commitment Symbol Royalty-Free Photos and Stock Images | Shutterstock">
            <a:extLst>
              <a:ext uri="{FF2B5EF4-FFF2-40B4-BE49-F238E27FC236}">
                <a16:creationId xmlns:a16="http://schemas.microsoft.com/office/drawing/2014/main" id="{44BD8BB7-DB7E-8E65-D7FE-5F7C59786F5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7983" t="22334" r="28834" b="37666"/>
          <a:stretch/>
        </p:blipFill>
        <p:spPr bwMode="auto">
          <a:xfrm>
            <a:off x="4130791" y="6020966"/>
            <a:ext cx="367130" cy="340064"/>
          </a:xfrm>
          <a:prstGeom prst="rect">
            <a:avLst/>
          </a:prstGeom>
          <a:noFill/>
          <a:extLst>
            <a:ext uri="{909E8E84-426E-40DD-AFC4-6F175D3DCCD1}">
              <a14:hiddenFill xmlns:a14="http://schemas.microsoft.com/office/drawing/2010/main">
                <a:solidFill>
                  <a:srgbClr val="FFFFFF"/>
                </a:solidFill>
              </a14:hiddenFill>
            </a:ext>
          </a:extLst>
        </p:spPr>
      </p:pic>
      <p:sp>
        <p:nvSpPr>
          <p:cNvPr id="2154" name="Textfeld 2153">
            <a:extLst>
              <a:ext uri="{FF2B5EF4-FFF2-40B4-BE49-F238E27FC236}">
                <a16:creationId xmlns:a16="http://schemas.microsoft.com/office/drawing/2014/main" id="{F3D46564-80CA-1CE8-F042-BA0AE65BEFF6}"/>
              </a:ext>
            </a:extLst>
          </p:cNvPr>
          <p:cNvSpPr txBox="1"/>
          <p:nvPr/>
        </p:nvSpPr>
        <p:spPr>
          <a:xfrm>
            <a:off x="503647" y="6109963"/>
            <a:ext cx="5697824" cy="262514"/>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p>
            <a:pPr algn="l"/>
            <a:r>
              <a:rPr lang="de-DE" sz="1100"/>
              <a:t>Electricity delivery          GOs         Investment needed           Long term commitment</a:t>
            </a:r>
          </a:p>
        </p:txBody>
      </p:sp>
      <p:sp>
        <p:nvSpPr>
          <p:cNvPr id="2155" name="Rechteck 2154">
            <a:extLst>
              <a:ext uri="{FF2B5EF4-FFF2-40B4-BE49-F238E27FC236}">
                <a16:creationId xmlns:a16="http://schemas.microsoft.com/office/drawing/2014/main" id="{CA5D8E2C-DF1E-E3ED-D210-4963F9B3960A}"/>
              </a:ext>
            </a:extLst>
          </p:cNvPr>
          <p:cNvSpPr/>
          <p:nvPr/>
        </p:nvSpPr>
        <p:spPr>
          <a:xfrm>
            <a:off x="6277671" y="2052431"/>
            <a:ext cx="5607941" cy="4129760"/>
          </a:xfrm>
          <a:prstGeom prst="rect">
            <a:avLst/>
          </a:prstGeom>
          <a:solidFill>
            <a:srgbClr val="BFF7C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de-DE" sz="1600" b="1">
                <a:solidFill>
                  <a:schemeClr val="tx1"/>
                </a:solidFill>
              </a:rPr>
              <a:t>External factors</a:t>
            </a:r>
          </a:p>
          <a:p>
            <a:pPr marL="285750" indent="-285750">
              <a:buFont typeface="Symbol" panose="05050102010706020507" pitchFamily="18" charset="2"/>
              <a:buChar char="-"/>
            </a:pPr>
            <a:r>
              <a:rPr lang="de-DE" sz="1600">
                <a:solidFill>
                  <a:schemeClr val="tx1"/>
                </a:solidFill>
              </a:rPr>
              <a:t>Competitor Benchmark</a:t>
            </a:r>
          </a:p>
          <a:p>
            <a:pPr marL="285750" indent="-285750">
              <a:buFont typeface="Symbol" panose="05050102010706020507" pitchFamily="18" charset="2"/>
              <a:buChar char="-"/>
            </a:pPr>
            <a:r>
              <a:rPr lang="de-DE" sz="1600">
                <a:solidFill>
                  <a:schemeClr val="tx1"/>
                </a:solidFill>
              </a:rPr>
              <a:t>Expectation from external stakeholders</a:t>
            </a:r>
          </a:p>
          <a:p>
            <a:pPr marL="285750" indent="-285750">
              <a:buFont typeface="Symbol" panose="05050102010706020507" pitchFamily="18" charset="2"/>
              <a:buChar char="-"/>
            </a:pPr>
            <a:r>
              <a:rPr lang="de-DE" sz="1600">
                <a:solidFill>
                  <a:schemeClr val="tx1"/>
                </a:solidFill>
              </a:rPr>
              <a:t>Subsidies</a:t>
            </a:r>
          </a:p>
          <a:p>
            <a:r>
              <a:rPr lang="de-DE" sz="1600" b="1">
                <a:solidFill>
                  <a:schemeClr val="tx1"/>
                </a:solidFill>
              </a:rPr>
              <a:t>Company Strategy</a:t>
            </a:r>
            <a:endParaRPr lang="en-US" sz="1600">
              <a:solidFill>
                <a:schemeClr val="tx1"/>
              </a:solidFill>
            </a:endParaRPr>
          </a:p>
          <a:p>
            <a:pPr marL="285750" indent="-285750">
              <a:buFont typeface="Symbol,Sans-Serif"/>
              <a:buChar char="-"/>
            </a:pPr>
            <a:r>
              <a:rPr lang="de-DE" sz="1600">
                <a:solidFill>
                  <a:schemeClr val="tx1"/>
                </a:solidFill>
              </a:rPr>
              <a:t>Company sustainability targets</a:t>
            </a:r>
            <a:endParaRPr lang="en-US" sz="1600">
              <a:solidFill>
                <a:schemeClr val="tx1"/>
              </a:solidFill>
            </a:endParaRPr>
          </a:p>
          <a:p>
            <a:pPr marL="285750" indent="-285750">
              <a:buFont typeface="Symbol,Sans-Serif"/>
              <a:buChar char="-"/>
            </a:pPr>
            <a:r>
              <a:rPr lang="de-DE" sz="1600">
                <a:solidFill>
                  <a:schemeClr val="tx1"/>
                </a:solidFill>
              </a:rPr>
              <a:t>Possibility to engage into long term commitments</a:t>
            </a:r>
            <a:endParaRPr lang="en-US" sz="1600">
              <a:solidFill>
                <a:schemeClr val="tx1"/>
              </a:solidFill>
            </a:endParaRPr>
          </a:p>
          <a:p>
            <a:pPr marL="285750" indent="-285750">
              <a:buFont typeface="Symbol,Sans-Serif"/>
              <a:buChar char="-"/>
            </a:pPr>
            <a:r>
              <a:rPr lang="de-DE" sz="1600">
                <a:solidFill>
                  <a:schemeClr val="tx1"/>
                </a:solidFill>
              </a:rPr>
              <a:t>Available resources in-house</a:t>
            </a:r>
            <a:endParaRPr lang="en-US" sz="1600">
              <a:solidFill>
                <a:schemeClr val="tx1"/>
              </a:solidFill>
            </a:endParaRPr>
          </a:p>
          <a:p>
            <a:pPr marL="285750" indent="-285750">
              <a:buFont typeface="Symbol,Sans-Serif"/>
              <a:buChar char="-"/>
            </a:pPr>
            <a:r>
              <a:rPr lang="de-DE" sz="1600">
                <a:solidFill>
                  <a:schemeClr val="tx1"/>
                </a:solidFill>
              </a:rPr>
              <a:t>Electricity consumption pattern / seasonality</a:t>
            </a:r>
            <a:endParaRPr lang="en-US" sz="1600">
              <a:solidFill>
                <a:schemeClr val="tx1"/>
              </a:solidFill>
            </a:endParaRPr>
          </a:p>
          <a:p>
            <a:pPr marL="285750" indent="-285750">
              <a:buFont typeface="Symbol,Sans-Serif"/>
              <a:buChar char="-"/>
            </a:pPr>
            <a:r>
              <a:rPr lang="de-DE" sz="1600">
                <a:solidFill>
                  <a:schemeClr val="tx1"/>
                </a:solidFill>
              </a:rPr>
              <a:t>Overall electricity consumption</a:t>
            </a:r>
            <a:endParaRPr lang="en-US" sz="1600">
              <a:solidFill>
                <a:schemeClr val="tx1"/>
              </a:solidFill>
            </a:endParaRPr>
          </a:p>
          <a:p>
            <a:r>
              <a:rPr lang="de-DE" sz="1600" b="1">
                <a:solidFill>
                  <a:schemeClr val="tx1"/>
                </a:solidFill>
              </a:rPr>
              <a:t>Internal economic requirements</a:t>
            </a:r>
          </a:p>
          <a:p>
            <a:pPr marL="285750" indent="-285750">
              <a:buFont typeface="Symbol" panose="05050102010706020507" pitchFamily="18" charset="2"/>
              <a:buChar char="-"/>
            </a:pPr>
            <a:r>
              <a:rPr lang="de-DE" sz="1600">
                <a:solidFill>
                  <a:schemeClr val="tx1"/>
                </a:solidFill>
              </a:rPr>
              <a:t>Willingness to pay premiums for green electricity</a:t>
            </a:r>
          </a:p>
          <a:p>
            <a:pPr marL="285750" indent="-285750">
              <a:buFont typeface="Symbol" panose="05050102010706020507" pitchFamily="18" charset="2"/>
              <a:buChar char="-"/>
            </a:pPr>
            <a:r>
              <a:rPr lang="de-DE" sz="1600">
                <a:solidFill>
                  <a:schemeClr val="tx1"/>
                </a:solidFill>
              </a:rPr>
              <a:t>Cash availability and payback / NPV requirements</a:t>
            </a:r>
          </a:p>
          <a:p>
            <a:pPr marL="285750" indent="-285750">
              <a:buFont typeface="Symbol" panose="05050102010706020507" pitchFamily="18" charset="2"/>
              <a:buChar char="-"/>
            </a:pPr>
            <a:r>
              <a:rPr lang="de-DE" sz="1600">
                <a:solidFill>
                  <a:schemeClr val="tx1"/>
                </a:solidFill>
              </a:rPr>
              <a:t>…… </a:t>
            </a:r>
          </a:p>
          <a:p>
            <a:endParaRPr lang="de-DE" sz="1600">
              <a:solidFill>
                <a:schemeClr val="tx1"/>
              </a:solidFill>
            </a:endParaRPr>
          </a:p>
        </p:txBody>
      </p:sp>
      <p:sp>
        <p:nvSpPr>
          <p:cNvPr id="2161" name="Datumsplatzhalter 3">
            <a:extLst>
              <a:ext uri="{FF2B5EF4-FFF2-40B4-BE49-F238E27FC236}">
                <a16:creationId xmlns:a16="http://schemas.microsoft.com/office/drawing/2014/main" id="{D22AF66B-2F94-192E-35C9-DFC1DE28EC14}"/>
              </a:ext>
            </a:extLst>
          </p:cNvPr>
          <p:cNvSpPr>
            <a:spLocks noGrp="1"/>
          </p:cNvSpPr>
          <p:nvPr>
            <p:ph type="dt" sz="half" idx="15"/>
          </p:nvPr>
        </p:nvSpPr>
        <p:spPr>
          <a:xfrm>
            <a:off x="2511512" y="6387525"/>
            <a:ext cx="592173" cy="123111"/>
          </a:xfrm>
        </p:spPr>
        <p:txBody>
          <a:bodyPr/>
          <a:lstStyle/>
          <a:p>
            <a:fld id="{E5320BD2-4B69-4414-80FF-E20912743A0D}" type="datetime1">
              <a:rPr lang="en-US" noProof="0" smtClean="0"/>
              <a:t>10/31/2024</a:t>
            </a:fld>
            <a:endParaRPr lang="en-US" noProof="0"/>
          </a:p>
        </p:txBody>
      </p:sp>
      <p:sp>
        <p:nvSpPr>
          <p:cNvPr id="3" name="Textfeld 2">
            <a:extLst>
              <a:ext uri="{FF2B5EF4-FFF2-40B4-BE49-F238E27FC236}">
                <a16:creationId xmlns:a16="http://schemas.microsoft.com/office/drawing/2014/main" id="{080E13A9-B2F9-F42F-8212-ED0561266FA0}"/>
              </a:ext>
            </a:extLst>
          </p:cNvPr>
          <p:cNvSpPr txBox="1"/>
          <p:nvPr/>
        </p:nvSpPr>
        <p:spPr>
          <a:xfrm>
            <a:off x="7129817" y="6358355"/>
            <a:ext cx="4654859" cy="238225"/>
          </a:xfrm>
          <a:prstGeom prst="rect">
            <a:avLst/>
          </a:prstGeom>
          <a:noFill/>
          <a:extLst>
            <a:ext uri="{909E8E84-426E-40DD-AFC4-6F175D3DCCD1}">
              <a14:hiddenFill xmlns:a14="http://schemas.microsoft.com/office/drawing/2010/main">
                <a:solidFill>
                  <a:srgbClr val="FFFFFF"/>
                </a:solidFill>
              </a14:hiddenFill>
            </a:ext>
          </a:extLst>
        </p:spPr>
        <p:txBody>
          <a:bodyPr vert="horz" wrap="none" lIns="0" tIns="0" rIns="0" bIns="0" rtlCol="0">
            <a:noAutofit/>
          </a:bodyPr>
          <a:lstStyle/>
          <a:p>
            <a:pPr algn="l"/>
            <a:r>
              <a:rPr lang="de-DE" sz="1000"/>
              <a:t>1) Power Purchase Agreement</a:t>
            </a:r>
          </a:p>
        </p:txBody>
      </p:sp>
    </p:spTree>
    <p:extLst>
      <p:ext uri="{BB962C8B-B14F-4D97-AF65-F5344CB8AC3E}">
        <p14:creationId xmlns:p14="http://schemas.microsoft.com/office/powerpoint/2010/main" val="22844095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12BAF12-11D2-011B-5300-8978FE4F49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10" name="think-cell data - do not delete" hidden="1">
                        <a:extLst>
                          <a:ext uri="{FF2B5EF4-FFF2-40B4-BE49-F238E27FC236}">
                            <a16:creationId xmlns:a16="http://schemas.microsoft.com/office/drawing/2014/main" id="{712BAF12-11D2-011B-5300-8978FE4F49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3131BB14-BC25-D313-A64C-1A0C10B6573F}"/>
              </a:ext>
            </a:extLst>
          </p:cNvPr>
          <p:cNvSpPr/>
          <p:nvPr/>
        </p:nvSpPr>
        <p:spPr>
          <a:xfrm>
            <a:off x="382588" y="3491495"/>
            <a:ext cx="11329950" cy="363292"/>
          </a:xfrm>
          <a:prstGeom prst="rect">
            <a:avLst/>
          </a:prstGeom>
          <a:solidFill>
            <a:srgbClr val="BFF7C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de-DE" sz="1600">
              <a:solidFill>
                <a:schemeClr val="tx1"/>
              </a:solidFill>
            </a:endParaRPr>
          </a:p>
        </p:txBody>
      </p:sp>
      <p:sp>
        <p:nvSpPr>
          <p:cNvPr id="9" name="Rechteck 8">
            <a:extLst>
              <a:ext uri="{FF2B5EF4-FFF2-40B4-BE49-F238E27FC236}">
                <a16:creationId xmlns:a16="http://schemas.microsoft.com/office/drawing/2014/main" id="{9ADAC7B9-EADD-1E87-05FA-B6F7943AF690}"/>
              </a:ext>
            </a:extLst>
          </p:cNvPr>
          <p:cNvSpPr/>
          <p:nvPr/>
        </p:nvSpPr>
        <p:spPr>
          <a:xfrm>
            <a:off x="382589" y="992901"/>
            <a:ext cx="11329950" cy="363292"/>
          </a:xfrm>
          <a:prstGeom prst="rect">
            <a:avLst/>
          </a:prstGeom>
          <a:solidFill>
            <a:srgbClr val="BFF7C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endParaRPr lang="de-DE" sz="1600">
              <a:solidFill>
                <a:schemeClr val="tx1"/>
              </a:solidFill>
            </a:endParaRPr>
          </a:p>
        </p:txBody>
      </p:sp>
      <p:sp>
        <p:nvSpPr>
          <p:cNvPr id="2" name="Inhaltsplatzhalter 1">
            <a:extLst>
              <a:ext uri="{FF2B5EF4-FFF2-40B4-BE49-F238E27FC236}">
                <a16:creationId xmlns:a16="http://schemas.microsoft.com/office/drawing/2014/main" id="{39D2E2B8-8B58-A98C-702C-35B8D7DB4567}"/>
              </a:ext>
            </a:extLst>
          </p:cNvPr>
          <p:cNvSpPr>
            <a:spLocks noGrp="1"/>
          </p:cNvSpPr>
          <p:nvPr>
            <p:ph idx="1"/>
          </p:nvPr>
        </p:nvSpPr>
        <p:spPr>
          <a:xfrm>
            <a:off x="386459" y="1033218"/>
            <a:ext cx="11415211" cy="5279777"/>
          </a:xfrm>
        </p:spPr>
        <p:txBody>
          <a:bodyPr/>
          <a:lstStyle/>
          <a:p>
            <a:r>
              <a:rPr lang="en-US" sz="1600" b="1"/>
              <a:t>Benefits</a:t>
            </a:r>
          </a:p>
          <a:p>
            <a:pPr marL="285750" indent="-285750">
              <a:buFont typeface="Symbol" panose="05050102010706020507" pitchFamily="18" charset="2"/>
              <a:buChar char="-"/>
            </a:pPr>
            <a:r>
              <a:rPr lang="en-US" sz="1600" b="1"/>
              <a:t>Sustainability Targets: </a:t>
            </a:r>
            <a:r>
              <a:rPr lang="en-US" sz="1600"/>
              <a:t>Achieve sustainability goals with sufficient supply available (price-dependent).</a:t>
            </a:r>
          </a:p>
          <a:p>
            <a:pPr marL="285750" indent="-285750">
              <a:buFont typeface="Symbol" panose="05050102010706020507" pitchFamily="18" charset="2"/>
              <a:buChar char="-"/>
            </a:pPr>
            <a:r>
              <a:rPr lang="en-US" sz="1600" b="1"/>
              <a:t>Low Decarbonization Effort: </a:t>
            </a:r>
            <a:r>
              <a:rPr lang="en-US" sz="1600"/>
              <a:t>Easily decarbonize portfolios by purchasing GOs without needing PPA contracts or investments.</a:t>
            </a:r>
          </a:p>
          <a:p>
            <a:pPr marL="285750" indent="-285750">
              <a:buFont typeface="Symbol" panose="05050102010706020507" pitchFamily="18" charset="2"/>
              <a:buChar char="-"/>
            </a:pPr>
            <a:r>
              <a:rPr lang="en-US" sz="1600" b="1"/>
              <a:t>Cost Efficiency: </a:t>
            </a:r>
            <a:r>
              <a:rPr lang="en-US" sz="1600"/>
              <a:t>GOs are still relatively low-cost compared to other electricity bill components.</a:t>
            </a:r>
          </a:p>
          <a:p>
            <a:pPr marL="285750" indent="-285750">
              <a:buFont typeface="Symbol" panose="05050102010706020507" pitchFamily="18" charset="2"/>
              <a:buChar char="-"/>
            </a:pPr>
            <a:r>
              <a:rPr lang="en-US" sz="1600" b="1"/>
              <a:t>Flexibility: </a:t>
            </a:r>
            <a:r>
              <a:rPr lang="en-US" sz="1600"/>
              <a:t>High flexibility for offtakers; purchase GOs after determining actual electricity demand.</a:t>
            </a:r>
          </a:p>
          <a:p>
            <a:pPr marL="285750" indent="-285750">
              <a:buFont typeface="Symbol" panose="05050102010706020507" pitchFamily="18" charset="2"/>
              <a:buChar char="-"/>
            </a:pPr>
            <a:r>
              <a:rPr lang="en-US" sz="1600" b="1"/>
              <a:t>Cross-Border Transferability: </a:t>
            </a:r>
            <a:r>
              <a:rPr lang="en-US" sz="1600"/>
              <a:t>GOs can be transferred across borders or sold if consumption patterns shift.</a:t>
            </a:r>
          </a:p>
          <a:p>
            <a:r>
              <a:rPr lang="en-US" sz="1600" b="1"/>
              <a:t>Challenges</a:t>
            </a:r>
          </a:p>
          <a:p>
            <a:pPr marL="285750" indent="-285750">
              <a:buFont typeface="Symbol" panose="05050102010706020507" pitchFamily="18" charset="2"/>
              <a:buChar char="-"/>
            </a:pPr>
            <a:r>
              <a:rPr lang="en-US" sz="1600" b="1"/>
              <a:t>Price Volatility: </a:t>
            </a:r>
            <a:r>
              <a:rPr lang="en-US" sz="1600"/>
              <a:t>High price volatility due to fluctuating supply and demand.</a:t>
            </a:r>
          </a:p>
          <a:p>
            <a:pPr marL="285750" indent="-285750">
              <a:buFont typeface="Symbol" panose="05050102010706020507" pitchFamily="18" charset="2"/>
              <a:buChar char="-"/>
            </a:pPr>
            <a:r>
              <a:rPr lang="en-US" sz="1600" b="1"/>
              <a:t>Strategic Planning: </a:t>
            </a:r>
            <a:r>
              <a:rPr lang="en-US" sz="1600"/>
              <a:t>Need to define a strategy for GOs (hedging, quality).</a:t>
            </a:r>
          </a:p>
          <a:p>
            <a:pPr marL="285750" indent="-285750">
              <a:buFont typeface="Symbol" panose="05050102010706020507" pitchFamily="18" charset="2"/>
              <a:buChar char="-"/>
            </a:pPr>
            <a:r>
              <a:rPr lang="en-US" sz="1600" b="1"/>
              <a:t>Cost Pass-Through: </a:t>
            </a:r>
            <a:r>
              <a:rPr lang="en-US" sz="1600"/>
              <a:t>Limited ability to pass on GO costs to customers.</a:t>
            </a:r>
          </a:p>
          <a:p>
            <a:pPr marL="285750" indent="-285750">
              <a:buFont typeface="Symbol" panose="05050102010706020507" pitchFamily="18" charset="2"/>
              <a:buChar char="-"/>
            </a:pPr>
            <a:r>
              <a:rPr lang="en-US" sz="1600" b="1"/>
              <a:t>Reputation risk: </a:t>
            </a:r>
            <a:r>
              <a:rPr lang="en-US" sz="1600"/>
              <a:t>E.g. GOs without additionality might be subject to “greenwashing” discussions.</a:t>
            </a:r>
            <a:endParaRPr lang="de-DE" sz="1600"/>
          </a:p>
        </p:txBody>
      </p:sp>
      <p:sp>
        <p:nvSpPr>
          <p:cNvPr id="3" name="Titel 2">
            <a:extLst>
              <a:ext uri="{FF2B5EF4-FFF2-40B4-BE49-F238E27FC236}">
                <a16:creationId xmlns:a16="http://schemas.microsoft.com/office/drawing/2014/main" id="{1EB900AB-F654-EC46-7EDD-683605A4E048}"/>
              </a:ext>
            </a:extLst>
          </p:cNvPr>
          <p:cNvSpPr>
            <a:spLocks noGrp="1"/>
          </p:cNvSpPr>
          <p:nvPr>
            <p:ph type="title"/>
          </p:nvPr>
        </p:nvSpPr>
        <p:spPr/>
        <p:txBody>
          <a:bodyPr vert="horz" lIns="0" tIns="0" rIns="0" bIns="0" rtlCol="0" anchor="t">
            <a:spAutoFit/>
          </a:bodyPr>
          <a:lstStyle/>
          <a:p>
            <a:r>
              <a:rPr lang="en-US"/>
              <a:t>Maximizing Benefits and Navigating Challenges of GOs for Electricity Offtakers</a:t>
            </a:r>
          </a:p>
        </p:txBody>
      </p:sp>
      <p:sp>
        <p:nvSpPr>
          <p:cNvPr id="5" name="Textplatzhalter 4">
            <a:extLst>
              <a:ext uri="{FF2B5EF4-FFF2-40B4-BE49-F238E27FC236}">
                <a16:creationId xmlns:a16="http://schemas.microsoft.com/office/drawing/2014/main" id="{4DBEA81A-2B2A-37CD-813B-7AA3911B028E}"/>
              </a:ext>
            </a:extLst>
          </p:cNvPr>
          <p:cNvSpPr>
            <a:spLocks noGrp="1"/>
          </p:cNvSpPr>
          <p:nvPr>
            <p:ph type="body" sz="quarter" idx="14"/>
          </p:nvPr>
        </p:nvSpPr>
        <p:spPr/>
        <p:txBody>
          <a:bodyPr/>
          <a:lstStyle/>
          <a:p>
            <a:r>
              <a:rPr lang="en-US" sz="1000"/>
              <a:t>Case studies of successful corporate use of GOs in the electricity-intensive industry</a:t>
            </a:r>
            <a:endParaRPr lang="de-DE"/>
          </a:p>
        </p:txBody>
      </p:sp>
      <p:sp>
        <p:nvSpPr>
          <p:cNvPr id="6" name="Datumsplatzhalter 5">
            <a:extLst>
              <a:ext uri="{FF2B5EF4-FFF2-40B4-BE49-F238E27FC236}">
                <a16:creationId xmlns:a16="http://schemas.microsoft.com/office/drawing/2014/main" id="{AB398C56-D5F4-AC0B-7186-F045F0150536}"/>
              </a:ext>
            </a:extLst>
          </p:cNvPr>
          <p:cNvSpPr>
            <a:spLocks noGrp="1"/>
          </p:cNvSpPr>
          <p:nvPr>
            <p:ph type="dt" sz="half" idx="15"/>
          </p:nvPr>
        </p:nvSpPr>
        <p:spPr/>
        <p:txBody>
          <a:bodyPr/>
          <a:lstStyle/>
          <a:p>
            <a:fld id="{161895A0-2148-42B8-A959-9F82B7B407BD}" type="datetime1">
              <a:rPr lang="en-US" noProof="0" smtClean="0"/>
              <a:t>10/31/2024</a:t>
            </a:fld>
            <a:endParaRPr lang="en-US" noProof="0"/>
          </a:p>
        </p:txBody>
      </p:sp>
      <p:sp>
        <p:nvSpPr>
          <p:cNvPr id="7" name="Fußzeilenplatzhalter 6">
            <a:extLst>
              <a:ext uri="{FF2B5EF4-FFF2-40B4-BE49-F238E27FC236}">
                <a16:creationId xmlns:a16="http://schemas.microsoft.com/office/drawing/2014/main" id="{6DCE6644-24AE-0302-67BB-7660BFA85069}"/>
              </a:ext>
            </a:extLst>
          </p:cNvPr>
          <p:cNvSpPr>
            <a:spLocks noGrp="1"/>
          </p:cNvSpPr>
          <p:nvPr>
            <p:ph type="ftr" sz="quarter" idx="16"/>
          </p:nvPr>
        </p:nvSpPr>
        <p:spPr/>
        <p:txBody>
          <a:bodyPr/>
          <a:lstStyle/>
          <a:p>
            <a:r>
              <a:rPr lang="en-US"/>
              <a:t>Webinar "CSR Reporting: Energy Procurement and Regulatory Insights"</a:t>
            </a:r>
          </a:p>
        </p:txBody>
      </p:sp>
      <p:sp>
        <p:nvSpPr>
          <p:cNvPr id="8" name="Foliennummernplatzhalter 7">
            <a:extLst>
              <a:ext uri="{FF2B5EF4-FFF2-40B4-BE49-F238E27FC236}">
                <a16:creationId xmlns:a16="http://schemas.microsoft.com/office/drawing/2014/main" id="{63A57141-BA95-0B4A-6049-648CA41BBD6A}"/>
              </a:ext>
            </a:extLst>
          </p:cNvPr>
          <p:cNvSpPr>
            <a:spLocks noGrp="1"/>
          </p:cNvSpPr>
          <p:nvPr>
            <p:ph type="sldNum" sz="quarter" idx="17"/>
          </p:nvPr>
        </p:nvSpPr>
        <p:spPr/>
        <p:txBody>
          <a:bodyPr/>
          <a:lstStyle/>
          <a:p>
            <a:fld id="{A115CDC9-74CB-4F6C-8CD3-A6C89F254EE7}" type="slidenum">
              <a:rPr lang="en-US" smtClean="0"/>
              <a:pPr/>
              <a:t>28</a:t>
            </a:fld>
            <a:endParaRPr lang="en-US"/>
          </a:p>
        </p:txBody>
      </p:sp>
    </p:spTree>
    <p:extLst>
      <p:ext uri="{BB962C8B-B14F-4D97-AF65-F5344CB8AC3E}">
        <p14:creationId xmlns:p14="http://schemas.microsoft.com/office/powerpoint/2010/main" val="28052827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FF862C6-5C39-822B-2001-E6FA583EB3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13" name="think-cell data - do not delete" hidden="1">
                        <a:extLst>
                          <a:ext uri="{FF2B5EF4-FFF2-40B4-BE49-F238E27FC236}">
                            <a16:creationId xmlns:a16="http://schemas.microsoft.com/office/drawing/2014/main" id="{1FF862C6-5C39-822B-2001-E6FA583EB3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ECA872A2-60A3-175F-1328-D5CDA9B8BFBB}"/>
              </a:ext>
            </a:extLst>
          </p:cNvPr>
          <p:cNvSpPr>
            <a:spLocks noGrp="1"/>
          </p:cNvSpPr>
          <p:nvPr>
            <p:ph type="pic" sz="quarter" idx="16"/>
          </p:nvPr>
        </p:nvSpPr>
        <p:spPr/>
        <p:txBody>
          <a:bodyPr/>
          <a:lstStyle/>
          <a:p>
            <a:endParaRPr lang="en-FI"/>
          </a:p>
        </p:txBody>
      </p:sp>
      <p:sp>
        <p:nvSpPr>
          <p:cNvPr id="15" name="Textplatzhalter 14">
            <a:extLst>
              <a:ext uri="{FF2B5EF4-FFF2-40B4-BE49-F238E27FC236}">
                <a16:creationId xmlns:a16="http://schemas.microsoft.com/office/drawing/2014/main" id="{DCC66099-9ED6-9EA2-7D57-AB8E0975250D}"/>
              </a:ext>
            </a:extLst>
          </p:cNvPr>
          <p:cNvSpPr>
            <a:spLocks noGrp="1"/>
          </p:cNvSpPr>
          <p:nvPr>
            <p:ph type="body" sz="quarter" idx="17"/>
          </p:nvPr>
        </p:nvSpPr>
        <p:spPr/>
        <p:txBody>
          <a:bodyPr/>
          <a:lstStyle/>
          <a:p>
            <a:r>
              <a:rPr lang="de-DE"/>
              <a:t>Thank you!</a:t>
            </a:r>
          </a:p>
          <a:p>
            <a:endParaRPr lang="de-DE"/>
          </a:p>
          <a:p>
            <a:r>
              <a:rPr lang="de-DE"/>
              <a:t>Questions?</a:t>
            </a:r>
          </a:p>
        </p:txBody>
      </p:sp>
      <p:sp>
        <p:nvSpPr>
          <p:cNvPr id="4" name="Datumsplatzhalter 3">
            <a:extLst>
              <a:ext uri="{FF2B5EF4-FFF2-40B4-BE49-F238E27FC236}">
                <a16:creationId xmlns:a16="http://schemas.microsoft.com/office/drawing/2014/main" id="{886FA2E1-FF16-C506-126E-8E80E6AEA304}"/>
              </a:ext>
            </a:extLst>
          </p:cNvPr>
          <p:cNvSpPr>
            <a:spLocks noGrp="1"/>
          </p:cNvSpPr>
          <p:nvPr>
            <p:ph type="dt" sz="half" idx="36"/>
          </p:nvPr>
        </p:nvSpPr>
        <p:spPr/>
        <p:txBody>
          <a:bodyPr/>
          <a:lstStyle/>
          <a:p>
            <a:fld id="{E5320BD2-4B69-4414-80FF-E20912743A0D}" type="datetime1">
              <a:rPr lang="en-US" noProof="0" smtClean="0"/>
              <a:t>10/31/2024</a:t>
            </a:fld>
            <a:endParaRPr lang="en-US" noProof="0"/>
          </a:p>
        </p:txBody>
      </p:sp>
      <p:sp>
        <p:nvSpPr>
          <p:cNvPr id="5" name="Fußzeilenplatzhalter 4">
            <a:extLst>
              <a:ext uri="{FF2B5EF4-FFF2-40B4-BE49-F238E27FC236}">
                <a16:creationId xmlns:a16="http://schemas.microsoft.com/office/drawing/2014/main" id="{91E67AB1-95D8-4127-8626-469109BB6BFB}"/>
              </a:ext>
            </a:extLst>
          </p:cNvPr>
          <p:cNvSpPr>
            <a:spLocks noGrp="1"/>
          </p:cNvSpPr>
          <p:nvPr>
            <p:ph type="ftr" sz="quarter" idx="37"/>
          </p:nvPr>
        </p:nvSpPr>
        <p:spPr/>
        <p:txBody>
          <a:bodyPr/>
          <a:lstStyle/>
          <a:p>
            <a:r>
              <a:rPr lang="en-US"/>
              <a:t>Group Presentation</a:t>
            </a:r>
          </a:p>
        </p:txBody>
      </p:sp>
      <p:sp>
        <p:nvSpPr>
          <p:cNvPr id="6" name="Foliennummernplatzhalter 5">
            <a:extLst>
              <a:ext uri="{FF2B5EF4-FFF2-40B4-BE49-F238E27FC236}">
                <a16:creationId xmlns:a16="http://schemas.microsoft.com/office/drawing/2014/main" id="{473BAD4B-A3A8-B3F7-9276-89310523821F}"/>
              </a:ext>
            </a:extLst>
          </p:cNvPr>
          <p:cNvSpPr>
            <a:spLocks noGrp="1"/>
          </p:cNvSpPr>
          <p:nvPr>
            <p:ph type="sldNum" sz="quarter" idx="38"/>
          </p:nvPr>
        </p:nvSpPr>
        <p:spPr/>
        <p:txBody>
          <a:bodyPr/>
          <a:lstStyle/>
          <a:p>
            <a:fld id="{A115CDC9-74CB-4F6C-8CD3-A6C89F254EE7}" type="slidenum">
              <a:rPr lang="en-US" smtClean="0"/>
              <a:pPr/>
              <a:t>29</a:t>
            </a:fld>
            <a:endParaRPr lang="en-US"/>
          </a:p>
        </p:txBody>
      </p:sp>
      <p:sp>
        <p:nvSpPr>
          <p:cNvPr id="16" name="Bildplatzhalter 15">
            <a:extLst>
              <a:ext uri="{FF2B5EF4-FFF2-40B4-BE49-F238E27FC236}">
                <a16:creationId xmlns:a16="http://schemas.microsoft.com/office/drawing/2014/main" id="{6B62FFC5-BA20-70D7-AB56-DD3B4F930BD7}"/>
              </a:ext>
            </a:extLst>
          </p:cNvPr>
          <p:cNvSpPr>
            <a:spLocks noGrp="1"/>
          </p:cNvSpPr>
          <p:nvPr>
            <p:ph type="pic" sz="quarter" idx="43"/>
          </p:nvPr>
        </p:nvSpPr>
        <p:spPr/>
        <p:txBody>
          <a:bodyPr/>
          <a:lstStyle/>
          <a:p>
            <a:endParaRPr lang="en-FI"/>
          </a:p>
        </p:txBody>
      </p:sp>
    </p:spTree>
    <p:extLst>
      <p:ext uri="{BB962C8B-B14F-4D97-AF65-F5344CB8AC3E}">
        <p14:creationId xmlns:p14="http://schemas.microsoft.com/office/powerpoint/2010/main" val="37036106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2120E8B-361B-704A-17F3-DFCD0132AB31}"/>
              </a:ext>
            </a:extLst>
          </p:cNvPr>
          <p:cNvSpPr>
            <a:spLocks noGrp="1"/>
          </p:cNvSpPr>
          <p:nvPr>
            <p:ph type="body" sz="quarter" idx="11"/>
          </p:nvPr>
        </p:nvSpPr>
        <p:spPr/>
        <p:txBody>
          <a:bodyPr lIns="91440" tIns="45720" rIns="91440" bIns="45720" anchor="b"/>
          <a:lstStyle/>
          <a:p>
            <a:r>
              <a:rPr lang="de-DE">
                <a:latin typeface="Haffer"/>
                <a:cs typeface="Haffer"/>
              </a:rPr>
              <a:t>Corporate </a:t>
            </a:r>
            <a:r>
              <a:rPr lang="de-DE" err="1">
                <a:latin typeface="Haffer"/>
                <a:cs typeface="Haffer"/>
              </a:rPr>
              <a:t>Social</a:t>
            </a:r>
            <a:r>
              <a:rPr lang="de-DE">
                <a:latin typeface="Haffer"/>
                <a:cs typeface="Haffer"/>
              </a:rPr>
              <a:t> </a:t>
            </a:r>
            <a:r>
              <a:rPr lang="de-DE" err="1">
                <a:latin typeface="Haffer"/>
                <a:cs typeface="Haffer"/>
              </a:rPr>
              <a:t>Responsibility</a:t>
            </a:r>
            <a:r>
              <a:rPr lang="de-DE">
                <a:latin typeface="Haffer"/>
                <a:cs typeface="Haffer"/>
              </a:rPr>
              <a:t> </a:t>
            </a:r>
            <a:r>
              <a:rPr lang="de-DE" err="1">
                <a:latin typeface="Haffer"/>
                <a:cs typeface="Haffer"/>
              </a:rPr>
              <a:t>regulation</a:t>
            </a:r>
            <a:r>
              <a:rPr lang="de-DE">
                <a:latin typeface="Haffer"/>
                <a:cs typeface="Haffer"/>
              </a:rPr>
              <a:t> in Europe</a:t>
            </a:r>
          </a:p>
        </p:txBody>
      </p:sp>
      <p:sp>
        <p:nvSpPr>
          <p:cNvPr id="3" name="Textplatzhalter 2">
            <a:extLst>
              <a:ext uri="{FF2B5EF4-FFF2-40B4-BE49-F238E27FC236}">
                <a16:creationId xmlns:a16="http://schemas.microsoft.com/office/drawing/2014/main" id="{A3773516-2890-0E35-6024-DB0C6B88C8D5}"/>
              </a:ext>
            </a:extLst>
          </p:cNvPr>
          <p:cNvSpPr>
            <a:spLocks noGrp="1"/>
          </p:cNvSpPr>
          <p:nvPr>
            <p:ph type="body" sz="quarter" idx="10"/>
          </p:nvPr>
        </p:nvSpPr>
        <p:spPr>
          <a:xfrm>
            <a:off x="959979" y="403514"/>
            <a:ext cx="10775270" cy="1320745"/>
          </a:xfrm>
        </p:spPr>
        <p:txBody>
          <a:bodyPr lIns="91440" tIns="45720" rIns="91440" bIns="45720" anchor="b"/>
          <a:lstStyle/>
          <a:p>
            <a:r>
              <a:rPr lang="de-DE" err="1">
                <a:latin typeface="Haffer"/>
                <a:cs typeface="Haffer"/>
              </a:rPr>
              <a:t>Importance</a:t>
            </a:r>
            <a:r>
              <a:rPr lang="de-DE">
                <a:latin typeface="Haffer"/>
                <a:cs typeface="Haffer"/>
              </a:rPr>
              <a:t> </a:t>
            </a:r>
            <a:r>
              <a:rPr lang="de-DE" err="1">
                <a:latin typeface="Haffer"/>
                <a:cs typeface="Haffer"/>
              </a:rPr>
              <a:t>of</a:t>
            </a:r>
            <a:r>
              <a:rPr lang="de-DE">
                <a:latin typeface="Haffer"/>
                <a:cs typeface="Haffer"/>
              </a:rPr>
              <a:t> CSR</a:t>
            </a:r>
            <a:endParaRPr lang="de-DE"/>
          </a:p>
        </p:txBody>
      </p:sp>
      <p:pic>
        <p:nvPicPr>
          <p:cNvPr id="7" name="Bildplatzhalter 6" descr="Ein Bild, das Text, Zeichnung, Poster, Darstellung enthält.&#10;&#10;Beschreibung automatisch generiert.">
            <a:extLst>
              <a:ext uri="{FF2B5EF4-FFF2-40B4-BE49-F238E27FC236}">
                <a16:creationId xmlns:a16="http://schemas.microsoft.com/office/drawing/2014/main" id="{FD7BE7FA-1525-276F-280E-38BD90D4A2CF}"/>
              </a:ext>
            </a:extLst>
          </p:cNvPr>
          <p:cNvPicPr>
            <a:picLocks noGrp="1" noChangeAspect="1"/>
          </p:cNvPicPr>
          <p:nvPr>
            <p:ph type="pic" sz="quarter" idx="13"/>
          </p:nvPr>
        </p:nvPicPr>
        <p:blipFill>
          <a:blip r:embed="rId2"/>
          <a:srcRect l="6560" r="6560"/>
          <a:stretch/>
        </p:blipFill>
        <p:spPr>
          <a:xfrm>
            <a:off x="7338634" y="1167240"/>
            <a:ext cx="4257250" cy="4914346"/>
          </a:xfrm>
        </p:spPr>
      </p:pic>
      <p:sp>
        <p:nvSpPr>
          <p:cNvPr id="5" name="Textplatzhalter 4">
            <a:extLst>
              <a:ext uri="{FF2B5EF4-FFF2-40B4-BE49-F238E27FC236}">
                <a16:creationId xmlns:a16="http://schemas.microsoft.com/office/drawing/2014/main" id="{1BA0405C-34CD-B584-8C48-776C1A3F5566}"/>
              </a:ext>
            </a:extLst>
          </p:cNvPr>
          <p:cNvSpPr>
            <a:spLocks noGrp="1"/>
          </p:cNvSpPr>
          <p:nvPr>
            <p:ph type="body" sz="quarter" idx="16"/>
          </p:nvPr>
        </p:nvSpPr>
        <p:spPr/>
        <p:txBody>
          <a:bodyPr lIns="91440" tIns="45720" rIns="91440" bIns="45720" anchor="t"/>
          <a:lstStyle/>
          <a:p>
            <a:r>
              <a:rPr lang="de-DE">
                <a:latin typeface="Haffer Light"/>
                <a:cs typeface="Haffer Light"/>
              </a:rPr>
              <a:t>CSR = </a:t>
            </a:r>
            <a:r>
              <a:rPr lang="de-DE" err="1">
                <a:latin typeface="Haffer Light"/>
                <a:cs typeface="Haffer Light"/>
              </a:rPr>
              <a:t>ethical</a:t>
            </a:r>
            <a:r>
              <a:rPr lang="de-DE">
                <a:latin typeface="Haffer Light"/>
                <a:cs typeface="Haffer Light"/>
              </a:rPr>
              <a:t> </a:t>
            </a:r>
            <a:r>
              <a:rPr lang="de-DE" err="1">
                <a:latin typeface="Haffer Light"/>
                <a:cs typeface="Haffer Light"/>
              </a:rPr>
              <a:t>obligation</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businesses</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contribute</a:t>
            </a:r>
            <a:r>
              <a:rPr lang="de-DE">
                <a:latin typeface="Haffer Light"/>
                <a:cs typeface="Haffer Light"/>
              </a:rPr>
              <a:t> positively </a:t>
            </a:r>
            <a:r>
              <a:rPr lang="de-DE" err="1">
                <a:latin typeface="Haffer Light"/>
                <a:cs typeface="Haffer Light"/>
              </a:rPr>
              <a:t>to</a:t>
            </a:r>
            <a:r>
              <a:rPr lang="de-DE">
                <a:latin typeface="Haffer Light"/>
                <a:cs typeface="Haffer Light"/>
              </a:rPr>
              <a:t> </a:t>
            </a:r>
            <a:r>
              <a:rPr lang="de-DE" err="1">
                <a:latin typeface="Haffer Light"/>
                <a:cs typeface="Haffer Light"/>
              </a:rPr>
              <a:t>society</a:t>
            </a:r>
            <a:r>
              <a:rPr lang="de-DE">
                <a:latin typeface="Haffer Light"/>
                <a:cs typeface="Haffer Light"/>
              </a:rPr>
              <a:t> and </a:t>
            </a:r>
            <a:r>
              <a:rPr lang="de-DE" err="1">
                <a:latin typeface="Haffer Light"/>
                <a:cs typeface="Haffer Light"/>
              </a:rPr>
              <a:t>the</a:t>
            </a:r>
            <a:r>
              <a:rPr lang="de-DE">
                <a:latin typeface="Haffer Light"/>
                <a:cs typeface="Haffer Light"/>
              </a:rPr>
              <a:t> </a:t>
            </a:r>
            <a:r>
              <a:rPr lang="de-DE" err="1">
                <a:latin typeface="Haffer Light"/>
                <a:cs typeface="Haffer Light"/>
              </a:rPr>
              <a:t>environment</a:t>
            </a:r>
            <a:endParaRPr lang="de-DE"/>
          </a:p>
          <a:p>
            <a:r>
              <a:rPr lang="de-DE">
                <a:latin typeface="Haffer Light"/>
                <a:cs typeface="Haffer Light"/>
              </a:rPr>
              <a:t>Key </a:t>
            </a:r>
            <a:r>
              <a:rPr lang="de-DE" err="1">
                <a:latin typeface="Haffer Light"/>
                <a:cs typeface="Haffer Light"/>
              </a:rPr>
              <a:t>principles</a:t>
            </a:r>
            <a:r>
              <a:rPr lang="de-DE">
                <a:latin typeface="Haffer Light"/>
                <a:cs typeface="Haffer Light"/>
              </a:rPr>
              <a:t> </a:t>
            </a:r>
            <a:r>
              <a:rPr lang="de-DE" err="1">
                <a:latin typeface="Haffer Light"/>
                <a:cs typeface="Haffer Light"/>
              </a:rPr>
              <a:t>of</a:t>
            </a:r>
            <a:r>
              <a:rPr lang="de-DE">
                <a:latin typeface="Haffer Light"/>
                <a:cs typeface="Haffer Light"/>
              </a:rPr>
              <a:t> CSR:</a:t>
            </a:r>
            <a:endParaRPr lang="de-DE"/>
          </a:p>
          <a:p>
            <a:pPr lvl="1">
              <a:buFont typeface="Courier New" panose="020B0604020202020204" pitchFamily="34" charset="0"/>
              <a:buChar char="o"/>
            </a:pPr>
            <a:r>
              <a:rPr lang="de-DE" b="1" err="1">
                <a:latin typeface="Haffer Light"/>
                <a:cs typeface="Haffer Light"/>
              </a:rPr>
              <a:t>Ethical</a:t>
            </a:r>
            <a:r>
              <a:rPr lang="de-DE" b="1">
                <a:latin typeface="Haffer Light"/>
                <a:cs typeface="Haffer Light"/>
              </a:rPr>
              <a:t> </a:t>
            </a:r>
            <a:r>
              <a:rPr lang="de-DE" b="1" err="1">
                <a:latin typeface="Haffer Light"/>
                <a:cs typeface="Haffer Light"/>
              </a:rPr>
              <a:t>behavior</a:t>
            </a:r>
            <a:r>
              <a:rPr lang="de-DE">
                <a:latin typeface="Haffer Light"/>
                <a:cs typeface="Haffer Light"/>
              </a:rPr>
              <a:t>: </a:t>
            </a:r>
            <a:r>
              <a:rPr lang="de-DE" err="1">
                <a:latin typeface="Haffer Light"/>
                <a:cs typeface="Haffer Light"/>
              </a:rPr>
              <a:t>conducting</a:t>
            </a:r>
            <a:r>
              <a:rPr lang="de-DE">
                <a:latin typeface="Haffer Light"/>
                <a:cs typeface="Haffer Light"/>
              </a:rPr>
              <a:t> </a:t>
            </a:r>
            <a:r>
              <a:rPr lang="de-DE" err="1">
                <a:latin typeface="Haffer Light"/>
                <a:cs typeface="Haffer Light"/>
              </a:rPr>
              <a:t>business</a:t>
            </a:r>
            <a:r>
              <a:rPr lang="de-DE">
                <a:latin typeface="Haffer Light"/>
                <a:cs typeface="Haffer Light"/>
              </a:rPr>
              <a:t> </a:t>
            </a:r>
            <a:r>
              <a:rPr lang="de-DE" err="1">
                <a:latin typeface="Haffer Light"/>
                <a:cs typeface="Haffer Light"/>
              </a:rPr>
              <a:t>with</a:t>
            </a:r>
            <a:r>
              <a:rPr lang="de-DE">
                <a:latin typeface="Haffer Light"/>
                <a:cs typeface="Haffer Light"/>
              </a:rPr>
              <a:t> </a:t>
            </a:r>
            <a:r>
              <a:rPr lang="de-DE" err="1">
                <a:latin typeface="Haffer Light"/>
                <a:cs typeface="Haffer Light"/>
              </a:rPr>
              <a:t>integrity</a:t>
            </a:r>
            <a:r>
              <a:rPr lang="de-DE">
                <a:latin typeface="Haffer Light"/>
                <a:cs typeface="Haffer Light"/>
              </a:rPr>
              <a:t> and </a:t>
            </a:r>
            <a:r>
              <a:rPr lang="de-DE" err="1">
                <a:latin typeface="Haffer Light"/>
                <a:cs typeface="Haffer Light"/>
              </a:rPr>
              <a:t>transparency</a:t>
            </a:r>
          </a:p>
          <a:p>
            <a:pPr lvl="1">
              <a:buFont typeface="Courier New" panose="020B0604020202020204" pitchFamily="34" charset="0"/>
              <a:buChar char="o"/>
            </a:pPr>
            <a:r>
              <a:rPr lang="de-DE" b="1">
                <a:latin typeface="Haffer Light"/>
                <a:cs typeface="Haffer Light"/>
              </a:rPr>
              <a:t>Stakeholder </a:t>
            </a:r>
            <a:r>
              <a:rPr lang="de-DE" b="1" err="1">
                <a:latin typeface="Haffer Light"/>
                <a:cs typeface="Haffer Light"/>
              </a:rPr>
              <a:t>engagement</a:t>
            </a:r>
            <a:r>
              <a:rPr lang="de-DE" b="1">
                <a:latin typeface="Haffer Light"/>
                <a:cs typeface="Haffer Light"/>
              </a:rPr>
              <a:t>:</a:t>
            </a:r>
            <a:r>
              <a:rPr lang="de-DE">
                <a:latin typeface="Haffer Light"/>
                <a:cs typeface="Haffer Light"/>
              </a:rPr>
              <a:t> </a:t>
            </a:r>
            <a:r>
              <a:rPr lang="de-DE" err="1">
                <a:latin typeface="Haffer Light"/>
                <a:cs typeface="Haffer Light"/>
              </a:rPr>
              <a:t>involving</a:t>
            </a:r>
            <a:r>
              <a:rPr lang="de-DE">
                <a:latin typeface="Haffer Light"/>
                <a:cs typeface="Haffer Light"/>
              </a:rPr>
              <a:t> </a:t>
            </a:r>
            <a:r>
              <a:rPr lang="de-DE" err="1">
                <a:latin typeface="Haffer Light"/>
                <a:cs typeface="Haffer Light"/>
              </a:rPr>
              <a:t>employees</a:t>
            </a:r>
            <a:r>
              <a:rPr lang="de-DE">
                <a:latin typeface="Haffer Light"/>
                <a:cs typeface="Haffer Light"/>
              </a:rPr>
              <a:t>, </a:t>
            </a:r>
            <a:r>
              <a:rPr lang="de-DE" err="1">
                <a:latin typeface="Haffer Light"/>
                <a:cs typeface="Haffer Light"/>
              </a:rPr>
              <a:t>customers</a:t>
            </a:r>
            <a:r>
              <a:rPr lang="de-DE">
                <a:latin typeface="Haffer Light"/>
                <a:cs typeface="Haffer Light"/>
              </a:rPr>
              <a:t>, </a:t>
            </a:r>
            <a:r>
              <a:rPr lang="de-DE" err="1">
                <a:latin typeface="Haffer Light"/>
                <a:cs typeface="Haffer Light"/>
              </a:rPr>
              <a:t>suppliers</a:t>
            </a:r>
            <a:r>
              <a:rPr lang="de-DE">
                <a:latin typeface="Haffer Light"/>
                <a:cs typeface="Haffer Light"/>
              </a:rPr>
              <a:t>, and </a:t>
            </a:r>
            <a:r>
              <a:rPr lang="de-DE" err="1">
                <a:latin typeface="Haffer Light"/>
                <a:cs typeface="Haffer Light"/>
              </a:rPr>
              <a:t>the</a:t>
            </a:r>
            <a:r>
              <a:rPr lang="de-DE">
                <a:latin typeface="Haffer Light"/>
                <a:cs typeface="Haffer Light"/>
              </a:rPr>
              <a:t> </a:t>
            </a:r>
            <a:r>
              <a:rPr lang="de-DE" err="1">
                <a:latin typeface="Haffer Light"/>
                <a:cs typeface="Haffer Light"/>
              </a:rPr>
              <a:t>community</a:t>
            </a:r>
            <a:r>
              <a:rPr lang="de-DE">
                <a:latin typeface="Haffer Light"/>
                <a:cs typeface="Haffer Light"/>
              </a:rPr>
              <a:t> in </a:t>
            </a:r>
            <a:r>
              <a:rPr lang="de-DE" err="1">
                <a:latin typeface="Haffer Light"/>
                <a:cs typeface="Haffer Light"/>
              </a:rPr>
              <a:t>decision-making</a:t>
            </a:r>
            <a:r>
              <a:rPr lang="de-DE">
                <a:latin typeface="Haffer Light"/>
                <a:cs typeface="Haffer Light"/>
              </a:rPr>
              <a:t> </a:t>
            </a:r>
            <a:r>
              <a:rPr lang="de-DE" err="1">
                <a:latin typeface="Haffer Light"/>
                <a:cs typeface="Haffer Light"/>
              </a:rPr>
              <a:t>processes</a:t>
            </a:r>
            <a:r>
              <a:rPr lang="de-DE">
                <a:latin typeface="Haffer Light"/>
                <a:cs typeface="Haffer Light"/>
              </a:rPr>
              <a:t>.</a:t>
            </a:r>
          </a:p>
          <a:p>
            <a:pPr lvl="1">
              <a:buFont typeface="Courier New" panose="020B0604020202020204" pitchFamily="34" charset="0"/>
              <a:buChar char="o"/>
            </a:pPr>
            <a:r>
              <a:rPr lang="de-DE" b="1" err="1">
                <a:latin typeface="Haffer Light"/>
                <a:cs typeface="Haffer Light"/>
              </a:rPr>
              <a:t>Sustainability</a:t>
            </a:r>
            <a:r>
              <a:rPr lang="de-DE" b="1">
                <a:latin typeface="Haffer Light"/>
                <a:cs typeface="Haffer Light"/>
              </a:rPr>
              <a:t>:</a:t>
            </a:r>
            <a:r>
              <a:rPr lang="de-DE">
                <a:latin typeface="Haffer Light"/>
                <a:cs typeface="Haffer Light"/>
              </a:rPr>
              <a:t> </a:t>
            </a:r>
            <a:r>
              <a:rPr lang="de-DE" err="1">
                <a:latin typeface="Haffer Light"/>
                <a:cs typeface="Haffer Light"/>
              </a:rPr>
              <a:t>balancing</a:t>
            </a:r>
            <a:r>
              <a:rPr lang="de-DE">
                <a:latin typeface="Haffer Light"/>
                <a:cs typeface="Haffer Light"/>
              </a:rPr>
              <a:t> </a:t>
            </a:r>
            <a:r>
              <a:rPr lang="de-DE" err="1">
                <a:latin typeface="Haffer Light"/>
                <a:cs typeface="Haffer Light"/>
              </a:rPr>
              <a:t>economic</a:t>
            </a:r>
            <a:r>
              <a:rPr lang="de-DE">
                <a:latin typeface="Haffer Light"/>
                <a:cs typeface="Haffer Light"/>
              </a:rPr>
              <a:t> </a:t>
            </a:r>
            <a:r>
              <a:rPr lang="de-DE" err="1">
                <a:latin typeface="Haffer Light"/>
                <a:cs typeface="Haffer Light"/>
              </a:rPr>
              <a:t>growth</a:t>
            </a:r>
            <a:r>
              <a:rPr lang="de-DE">
                <a:latin typeface="Haffer Light"/>
                <a:cs typeface="Haffer Light"/>
              </a:rPr>
              <a:t> </a:t>
            </a:r>
            <a:r>
              <a:rPr lang="de-DE" err="1">
                <a:latin typeface="Haffer Light"/>
                <a:cs typeface="Haffer Light"/>
              </a:rPr>
              <a:t>with</a:t>
            </a:r>
            <a:r>
              <a:rPr lang="de-DE">
                <a:latin typeface="Haffer Light"/>
                <a:cs typeface="Haffer Light"/>
              </a:rPr>
              <a:t> environmental </a:t>
            </a:r>
            <a:r>
              <a:rPr lang="de-DE" err="1">
                <a:latin typeface="Haffer Light"/>
                <a:cs typeface="Haffer Light"/>
              </a:rPr>
              <a:t>protection</a:t>
            </a:r>
            <a:r>
              <a:rPr lang="de-DE">
                <a:latin typeface="Haffer Light"/>
                <a:cs typeface="Haffer Light"/>
              </a:rPr>
              <a:t> and social </a:t>
            </a:r>
            <a:r>
              <a:rPr lang="de-DE" err="1">
                <a:latin typeface="Haffer Light"/>
                <a:cs typeface="Haffer Light"/>
              </a:rPr>
              <a:t>equity</a:t>
            </a:r>
            <a:r>
              <a:rPr lang="de-DE">
                <a:latin typeface="Haffer Light"/>
                <a:cs typeface="Haffer Light"/>
              </a:rPr>
              <a:t>.</a:t>
            </a:r>
          </a:p>
        </p:txBody>
      </p:sp>
    </p:spTree>
    <p:extLst>
      <p:ext uri="{BB962C8B-B14F-4D97-AF65-F5344CB8AC3E}">
        <p14:creationId xmlns:p14="http://schemas.microsoft.com/office/powerpoint/2010/main" val="9283413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B0F3839-7ED0-7D94-7A38-8E553105DE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99" imgH="499" progId="TCLayout.ActiveDocument.1">
                  <p:embed/>
                </p:oleObj>
              </mc:Choice>
              <mc:Fallback>
                <p:oleObj name="think-cell Folie" r:id="rId4" imgW="499" imgH="499" progId="TCLayout.ActiveDocument.1">
                  <p:embed/>
                  <p:pic>
                    <p:nvPicPr>
                      <p:cNvPr id="2" name="Objekt 1" hidden="1">
                        <a:extLst>
                          <a:ext uri="{FF2B5EF4-FFF2-40B4-BE49-F238E27FC236}">
                            <a16:creationId xmlns:a16="http://schemas.microsoft.com/office/drawing/2014/main" id="{CB0F3839-7ED0-7D94-7A38-8E553105DE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40097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D6DC798-CE34-DFD8-F3B1-5DE6D9333440}"/>
              </a:ext>
            </a:extLst>
          </p:cNvPr>
          <p:cNvSpPr>
            <a:spLocks noGrp="1"/>
          </p:cNvSpPr>
          <p:nvPr>
            <p:ph type="body" sz="quarter" idx="11"/>
          </p:nvPr>
        </p:nvSpPr>
        <p:spPr/>
        <p:txBody>
          <a:bodyPr lIns="91440" tIns="45720" rIns="91440" bIns="45720" anchor="b"/>
          <a:lstStyle/>
          <a:p>
            <a:r>
              <a:rPr lang="de-DE">
                <a:latin typeface="Haffer"/>
                <a:cs typeface="Haffer"/>
              </a:rPr>
              <a:t>Corporate </a:t>
            </a:r>
            <a:r>
              <a:rPr lang="de-DE" err="1">
                <a:latin typeface="Haffer"/>
                <a:cs typeface="Haffer"/>
              </a:rPr>
              <a:t>Social</a:t>
            </a:r>
            <a:r>
              <a:rPr lang="de-DE">
                <a:latin typeface="Haffer"/>
                <a:cs typeface="Haffer"/>
              </a:rPr>
              <a:t> </a:t>
            </a:r>
            <a:r>
              <a:rPr lang="de-DE" err="1">
                <a:latin typeface="Haffer"/>
                <a:cs typeface="Haffer"/>
              </a:rPr>
              <a:t>Responsibility</a:t>
            </a:r>
            <a:r>
              <a:rPr lang="de-DE">
                <a:latin typeface="Haffer"/>
                <a:cs typeface="Haffer"/>
              </a:rPr>
              <a:t> </a:t>
            </a:r>
            <a:r>
              <a:rPr lang="de-DE" err="1">
                <a:latin typeface="Haffer"/>
                <a:cs typeface="Haffer"/>
              </a:rPr>
              <a:t>regulation</a:t>
            </a:r>
            <a:r>
              <a:rPr lang="de-DE">
                <a:latin typeface="Haffer"/>
                <a:cs typeface="Haffer"/>
              </a:rPr>
              <a:t> in Europe</a:t>
            </a:r>
          </a:p>
        </p:txBody>
      </p:sp>
      <p:sp>
        <p:nvSpPr>
          <p:cNvPr id="3" name="Textplatzhalter 2">
            <a:extLst>
              <a:ext uri="{FF2B5EF4-FFF2-40B4-BE49-F238E27FC236}">
                <a16:creationId xmlns:a16="http://schemas.microsoft.com/office/drawing/2014/main" id="{2E11D0AE-E993-88A6-4655-52AE09EBBAEE}"/>
              </a:ext>
            </a:extLst>
          </p:cNvPr>
          <p:cNvSpPr>
            <a:spLocks noGrp="1"/>
          </p:cNvSpPr>
          <p:nvPr>
            <p:ph type="body" sz="quarter" idx="10"/>
          </p:nvPr>
        </p:nvSpPr>
        <p:spPr/>
        <p:txBody>
          <a:bodyPr lIns="91440" tIns="45720" rIns="91440" bIns="45720" anchor="b"/>
          <a:lstStyle/>
          <a:p>
            <a:r>
              <a:rPr lang="de-DE">
                <a:latin typeface="Haffer"/>
                <a:cs typeface="Haffer"/>
              </a:rPr>
              <a:t>Global CSR </a:t>
            </a:r>
            <a:r>
              <a:rPr lang="de-DE" err="1">
                <a:latin typeface="Haffer"/>
                <a:cs typeface="Haffer"/>
              </a:rPr>
              <a:t>standards</a:t>
            </a:r>
            <a:r>
              <a:rPr lang="de-DE">
                <a:latin typeface="Haffer"/>
                <a:cs typeface="Haffer"/>
              </a:rPr>
              <a:t> and </a:t>
            </a:r>
            <a:r>
              <a:rPr lang="de-DE" err="1">
                <a:latin typeface="Haffer"/>
                <a:cs typeface="Haffer"/>
              </a:rPr>
              <a:t>frameworks</a:t>
            </a:r>
            <a:endParaRPr lang="de-DE" err="1"/>
          </a:p>
        </p:txBody>
      </p:sp>
      <p:sp>
        <p:nvSpPr>
          <p:cNvPr id="5" name="Textplatzhalter 4">
            <a:extLst>
              <a:ext uri="{FF2B5EF4-FFF2-40B4-BE49-F238E27FC236}">
                <a16:creationId xmlns:a16="http://schemas.microsoft.com/office/drawing/2014/main" id="{63A41546-0B8C-49B6-E533-DAF5438BF825}"/>
              </a:ext>
            </a:extLst>
          </p:cNvPr>
          <p:cNvSpPr>
            <a:spLocks noGrp="1"/>
          </p:cNvSpPr>
          <p:nvPr>
            <p:ph type="body" sz="quarter" idx="16"/>
          </p:nvPr>
        </p:nvSpPr>
        <p:spPr/>
        <p:txBody>
          <a:bodyPr lIns="91440" tIns="45720" rIns="91440" bIns="45720" anchor="t"/>
          <a:lstStyle/>
          <a:p>
            <a:r>
              <a:rPr lang="de-DE" b="1" err="1">
                <a:latin typeface="Haffer Light"/>
                <a:cs typeface="Haffer Light"/>
              </a:rPr>
              <a:t>Mandating</a:t>
            </a:r>
            <a:r>
              <a:rPr lang="de-DE" b="1">
                <a:latin typeface="Haffer Light"/>
                <a:cs typeface="Haffer Light"/>
              </a:rPr>
              <a:t> </a:t>
            </a:r>
            <a:r>
              <a:rPr lang="de-DE" b="1" err="1">
                <a:latin typeface="Haffer Light"/>
                <a:cs typeface="Haffer Light"/>
              </a:rPr>
              <a:t>regulation</a:t>
            </a:r>
            <a:r>
              <a:rPr lang="de-DE" b="1">
                <a:latin typeface="Haffer Light"/>
                <a:cs typeface="Haffer Light"/>
              </a:rPr>
              <a:t>:</a:t>
            </a:r>
          </a:p>
          <a:p>
            <a:pPr lvl="1">
              <a:buFont typeface="Courier New" panose="020B0604020202020204" pitchFamily="34" charset="0"/>
              <a:buChar char="o"/>
            </a:pPr>
            <a:r>
              <a:rPr lang="de-DE">
                <a:latin typeface="Haffer Light"/>
                <a:cs typeface="Haffer Light"/>
              </a:rPr>
              <a:t>Corporate </a:t>
            </a:r>
            <a:r>
              <a:rPr lang="de-DE" err="1">
                <a:latin typeface="Haffer Light"/>
                <a:cs typeface="Haffer Light"/>
              </a:rPr>
              <a:t>Sustainability</a:t>
            </a:r>
            <a:r>
              <a:rPr lang="de-DE">
                <a:latin typeface="Haffer Light"/>
                <a:cs typeface="Haffer Light"/>
              </a:rPr>
              <a:t> Reporting </a:t>
            </a:r>
            <a:r>
              <a:rPr lang="de-DE" err="1">
                <a:latin typeface="Haffer Light"/>
                <a:cs typeface="Haffer Light"/>
              </a:rPr>
              <a:t>Directive</a:t>
            </a:r>
            <a:r>
              <a:rPr lang="de-DE">
                <a:latin typeface="Haffer Light"/>
                <a:cs typeface="Haffer Light"/>
              </a:rPr>
              <a:t> (CSRD)</a:t>
            </a:r>
          </a:p>
          <a:p>
            <a:r>
              <a:rPr lang="de-DE" b="1" err="1">
                <a:latin typeface="Haffer Light"/>
                <a:cs typeface="Haffer Light"/>
              </a:rPr>
              <a:t>Voluntary</a:t>
            </a:r>
            <a:r>
              <a:rPr lang="de-DE" b="1">
                <a:latin typeface="Haffer Light"/>
                <a:cs typeface="Haffer Light"/>
              </a:rPr>
              <a:t> </a:t>
            </a:r>
            <a:r>
              <a:rPr lang="de-DE" b="1" err="1">
                <a:latin typeface="Haffer Light"/>
                <a:cs typeface="Haffer Light"/>
              </a:rPr>
              <a:t>standards</a:t>
            </a:r>
            <a:r>
              <a:rPr lang="de-DE" b="1">
                <a:latin typeface="Haffer Light"/>
                <a:cs typeface="Haffer Light"/>
              </a:rPr>
              <a:t> and initiatives:</a:t>
            </a:r>
          </a:p>
          <a:p>
            <a:pPr lvl="1">
              <a:buFont typeface="Courier New" panose="020B0604020202020204" pitchFamily="34" charset="0"/>
              <a:buChar char="o"/>
            </a:pPr>
            <a:r>
              <a:rPr lang="de-DE">
                <a:latin typeface="Haffer Light"/>
                <a:cs typeface="Haffer Light"/>
              </a:rPr>
              <a:t>United </a:t>
            </a:r>
            <a:r>
              <a:rPr lang="de-DE" err="1">
                <a:latin typeface="Haffer Light"/>
                <a:cs typeface="Haffer Light"/>
              </a:rPr>
              <a:t>Nations</a:t>
            </a:r>
            <a:r>
              <a:rPr lang="de-DE">
                <a:latin typeface="Haffer Light"/>
                <a:cs typeface="Haffer Light"/>
              </a:rPr>
              <a:t> global </a:t>
            </a:r>
            <a:r>
              <a:rPr lang="de-DE" err="1">
                <a:latin typeface="Haffer Light"/>
                <a:cs typeface="Haffer Light"/>
              </a:rPr>
              <a:t>compact</a:t>
            </a:r>
            <a:endParaRPr lang="de-DE">
              <a:latin typeface="Haffer Light"/>
              <a:cs typeface="Haffer Light"/>
            </a:endParaRPr>
          </a:p>
          <a:p>
            <a:pPr lvl="1">
              <a:buFont typeface="Courier New" panose="020B0604020202020204" pitchFamily="34" charset="0"/>
              <a:buChar char="o"/>
            </a:pPr>
            <a:r>
              <a:rPr lang="de-DE">
                <a:latin typeface="Haffer Light"/>
                <a:cs typeface="Haffer Light"/>
              </a:rPr>
              <a:t>ISO 26000</a:t>
            </a:r>
          </a:p>
          <a:p>
            <a:pPr lvl="1">
              <a:buFont typeface="Courier New" panose="020B0604020202020204" pitchFamily="34" charset="0"/>
              <a:buChar char="o"/>
            </a:pPr>
            <a:r>
              <a:rPr lang="de-DE">
                <a:latin typeface="Haffer Light"/>
                <a:cs typeface="Haffer Light"/>
              </a:rPr>
              <a:t>Global Reporting Initiative (GRI)</a:t>
            </a:r>
          </a:p>
          <a:p>
            <a:pPr lvl="1">
              <a:buFont typeface="Courier New" panose="020B0604020202020204" pitchFamily="34" charset="0"/>
              <a:buChar char="o"/>
            </a:pPr>
            <a:r>
              <a:rPr lang="de-DE">
                <a:latin typeface="Haffer Light"/>
                <a:cs typeface="Haffer Light"/>
              </a:rPr>
              <a:t>The RE-100 initiative</a:t>
            </a:r>
          </a:p>
          <a:p>
            <a:endParaRPr lang="de-DE">
              <a:latin typeface="Haffer Light"/>
              <a:cs typeface="Haffer Light"/>
            </a:endParaRPr>
          </a:p>
        </p:txBody>
      </p:sp>
      <p:pic>
        <p:nvPicPr>
          <p:cNvPr id="12" name="Grafik 11" descr="Ein Bild, das Text, Schrift, Logo, Grafiken enthält.&#10;&#10;Beschreibung automatisch generiert.">
            <a:extLst>
              <a:ext uri="{FF2B5EF4-FFF2-40B4-BE49-F238E27FC236}">
                <a16:creationId xmlns:a16="http://schemas.microsoft.com/office/drawing/2014/main" id="{1830CE78-D417-F9A6-F425-79436362C53E}"/>
              </a:ext>
            </a:extLst>
          </p:cNvPr>
          <p:cNvPicPr>
            <a:picLocks noChangeAspect="1"/>
          </p:cNvPicPr>
          <p:nvPr/>
        </p:nvPicPr>
        <p:blipFill>
          <a:blip r:embed="rId2"/>
          <a:srcRect l="-156" r="2235" b="-5182"/>
          <a:stretch/>
        </p:blipFill>
        <p:spPr>
          <a:xfrm>
            <a:off x="9028287" y="3946586"/>
            <a:ext cx="1995663" cy="1301043"/>
          </a:xfrm>
          <a:prstGeom prst="rect">
            <a:avLst/>
          </a:prstGeom>
        </p:spPr>
      </p:pic>
      <p:pic>
        <p:nvPicPr>
          <p:cNvPr id="13" name="Grafik 12" descr="Ein Bild, das Schrift, Logo, Text, Grafiken enthält.&#10;&#10;Beschreibung automatisch generiert.">
            <a:extLst>
              <a:ext uri="{FF2B5EF4-FFF2-40B4-BE49-F238E27FC236}">
                <a16:creationId xmlns:a16="http://schemas.microsoft.com/office/drawing/2014/main" id="{51A624DE-F48F-B851-A4BB-1C9F9C1E10A7}"/>
              </a:ext>
            </a:extLst>
          </p:cNvPr>
          <p:cNvPicPr>
            <a:picLocks noChangeAspect="1"/>
          </p:cNvPicPr>
          <p:nvPr/>
        </p:nvPicPr>
        <p:blipFill>
          <a:blip r:embed="rId3"/>
          <a:stretch>
            <a:fillRect/>
          </a:stretch>
        </p:blipFill>
        <p:spPr>
          <a:xfrm>
            <a:off x="7350604" y="2466616"/>
            <a:ext cx="4248150" cy="1335298"/>
          </a:xfrm>
          <a:prstGeom prst="rect">
            <a:avLst/>
          </a:prstGeom>
        </p:spPr>
      </p:pic>
      <p:pic>
        <p:nvPicPr>
          <p:cNvPr id="14" name="Grafik 13" descr="Ein Bild, das Schrift, Grafiken, Logo, Text enthält.&#10;&#10;Beschreibung automatisch generiert.">
            <a:extLst>
              <a:ext uri="{FF2B5EF4-FFF2-40B4-BE49-F238E27FC236}">
                <a16:creationId xmlns:a16="http://schemas.microsoft.com/office/drawing/2014/main" id="{D81EC54C-D368-8A39-BEE4-3BD31704458C}"/>
              </a:ext>
            </a:extLst>
          </p:cNvPr>
          <p:cNvPicPr>
            <a:picLocks noChangeAspect="1"/>
          </p:cNvPicPr>
          <p:nvPr/>
        </p:nvPicPr>
        <p:blipFill>
          <a:blip r:embed="rId4"/>
          <a:stretch>
            <a:fillRect/>
          </a:stretch>
        </p:blipFill>
        <p:spPr>
          <a:xfrm>
            <a:off x="6743789" y="3948742"/>
            <a:ext cx="1551139" cy="1605951"/>
          </a:xfrm>
          <a:prstGeom prst="rect">
            <a:avLst/>
          </a:prstGeom>
        </p:spPr>
      </p:pic>
      <p:pic>
        <p:nvPicPr>
          <p:cNvPr id="15" name="Grafik 14" descr="Ein Bild, das Text, Schrift, Logo, Grafiken enthält.&#10;&#10;Beschreibung automatisch generiert.">
            <a:extLst>
              <a:ext uri="{FF2B5EF4-FFF2-40B4-BE49-F238E27FC236}">
                <a16:creationId xmlns:a16="http://schemas.microsoft.com/office/drawing/2014/main" id="{FAFF8D99-B886-B20A-D7CF-ADC20BFE7552}"/>
              </a:ext>
            </a:extLst>
          </p:cNvPr>
          <p:cNvPicPr>
            <a:picLocks noChangeAspect="1"/>
          </p:cNvPicPr>
          <p:nvPr/>
        </p:nvPicPr>
        <p:blipFill>
          <a:blip r:embed="rId5"/>
          <a:stretch>
            <a:fillRect/>
          </a:stretch>
        </p:blipFill>
        <p:spPr>
          <a:xfrm>
            <a:off x="8289985" y="5383843"/>
            <a:ext cx="2743199" cy="1093634"/>
          </a:xfrm>
          <a:prstGeom prst="rect">
            <a:avLst/>
          </a:prstGeom>
        </p:spPr>
      </p:pic>
      <p:pic>
        <p:nvPicPr>
          <p:cNvPr id="16" name="Grafik 15" descr="Ein Bild, das Text, Electric Blue (Farbe), Majorelle Blue, Blau enthält.&#10;&#10;Beschreibung automatisch generiert.">
            <a:extLst>
              <a:ext uri="{FF2B5EF4-FFF2-40B4-BE49-F238E27FC236}">
                <a16:creationId xmlns:a16="http://schemas.microsoft.com/office/drawing/2014/main" id="{4012DC11-B877-CE0B-585C-910375F2277B}"/>
              </a:ext>
            </a:extLst>
          </p:cNvPr>
          <p:cNvPicPr>
            <a:picLocks noChangeAspect="1"/>
          </p:cNvPicPr>
          <p:nvPr/>
        </p:nvPicPr>
        <p:blipFill>
          <a:blip r:embed="rId6"/>
          <a:stretch>
            <a:fillRect/>
          </a:stretch>
        </p:blipFill>
        <p:spPr>
          <a:xfrm>
            <a:off x="7913344" y="495539"/>
            <a:ext cx="3105542" cy="1871286"/>
          </a:xfrm>
          <a:prstGeom prst="rect">
            <a:avLst/>
          </a:prstGeom>
        </p:spPr>
      </p:pic>
    </p:spTree>
    <p:extLst>
      <p:ext uri="{BB962C8B-B14F-4D97-AF65-F5344CB8AC3E}">
        <p14:creationId xmlns:p14="http://schemas.microsoft.com/office/powerpoint/2010/main" val="4047322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AB94928-8250-D63B-F727-7BE7FE3F72B9}"/>
              </a:ext>
            </a:extLst>
          </p:cNvPr>
          <p:cNvSpPr>
            <a:spLocks noGrp="1"/>
          </p:cNvSpPr>
          <p:nvPr>
            <p:ph type="body" sz="quarter" idx="11"/>
          </p:nvPr>
        </p:nvSpPr>
        <p:spPr/>
        <p:txBody>
          <a:bodyPr lIns="91440" tIns="45720" rIns="91440" bIns="45720" anchor="b"/>
          <a:lstStyle/>
          <a:p>
            <a:r>
              <a:rPr lang="de-DE">
                <a:latin typeface="Haffer"/>
                <a:cs typeface="Haffer"/>
              </a:rPr>
              <a:t>Corporate </a:t>
            </a:r>
            <a:r>
              <a:rPr lang="de-DE" err="1">
                <a:latin typeface="Haffer"/>
                <a:cs typeface="Haffer"/>
              </a:rPr>
              <a:t>Social</a:t>
            </a:r>
            <a:r>
              <a:rPr lang="de-DE">
                <a:latin typeface="Haffer"/>
                <a:cs typeface="Haffer"/>
              </a:rPr>
              <a:t> </a:t>
            </a:r>
            <a:r>
              <a:rPr lang="de-DE" err="1">
                <a:latin typeface="Haffer"/>
                <a:cs typeface="Haffer"/>
              </a:rPr>
              <a:t>Responsibility</a:t>
            </a:r>
            <a:r>
              <a:rPr lang="de-DE">
                <a:latin typeface="Haffer"/>
                <a:cs typeface="Haffer"/>
              </a:rPr>
              <a:t> </a:t>
            </a:r>
            <a:r>
              <a:rPr lang="de-DE" err="1">
                <a:latin typeface="Haffer"/>
                <a:cs typeface="Haffer"/>
              </a:rPr>
              <a:t>regulation</a:t>
            </a:r>
            <a:r>
              <a:rPr lang="de-DE">
                <a:latin typeface="Haffer"/>
                <a:cs typeface="Haffer"/>
              </a:rPr>
              <a:t> in Europe</a:t>
            </a:r>
          </a:p>
        </p:txBody>
      </p:sp>
      <p:sp>
        <p:nvSpPr>
          <p:cNvPr id="3" name="Textplatzhalter 2">
            <a:extLst>
              <a:ext uri="{FF2B5EF4-FFF2-40B4-BE49-F238E27FC236}">
                <a16:creationId xmlns:a16="http://schemas.microsoft.com/office/drawing/2014/main" id="{223353A4-38ED-3437-ECCD-B2DAA0B9F5F9}"/>
              </a:ext>
            </a:extLst>
          </p:cNvPr>
          <p:cNvSpPr>
            <a:spLocks noGrp="1"/>
          </p:cNvSpPr>
          <p:nvPr>
            <p:ph type="body" sz="quarter" idx="10"/>
          </p:nvPr>
        </p:nvSpPr>
        <p:spPr>
          <a:xfrm>
            <a:off x="959979" y="431529"/>
            <a:ext cx="10761663" cy="1295132"/>
          </a:xfrm>
        </p:spPr>
        <p:txBody>
          <a:bodyPr lIns="91440" tIns="45720" rIns="91440" bIns="45720" anchor="b"/>
          <a:lstStyle/>
          <a:p>
            <a:r>
              <a:rPr lang="de-DE">
                <a:latin typeface="Haffer"/>
                <a:cs typeface="Haffer"/>
              </a:rPr>
              <a:t>Corporate </a:t>
            </a:r>
            <a:r>
              <a:rPr lang="de-DE" err="1">
                <a:latin typeface="Haffer"/>
                <a:cs typeface="Haffer"/>
              </a:rPr>
              <a:t>Sustainability</a:t>
            </a:r>
            <a:r>
              <a:rPr lang="de-DE">
                <a:latin typeface="Haffer"/>
                <a:cs typeface="Haffer"/>
              </a:rPr>
              <a:t> Reporting </a:t>
            </a:r>
            <a:r>
              <a:rPr lang="de-DE" err="1">
                <a:latin typeface="Haffer"/>
                <a:cs typeface="Haffer"/>
              </a:rPr>
              <a:t>Directive</a:t>
            </a:r>
            <a:r>
              <a:rPr lang="de-DE">
                <a:latin typeface="Haffer"/>
                <a:cs typeface="Haffer"/>
              </a:rPr>
              <a:t> (CSRD) (1/2)</a:t>
            </a:r>
          </a:p>
        </p:txBody>
      </p:sp>
      <p:sp>
        <p:nvSpPr>
          <p:cNvPr id="5" name="Textplatzhalter 4">
            <a:extLst>
              <a:ext uri="{FF2B5EF4-FFF2-40B4-BE49-F238E27FC236}">
                <a16:creationId xmlns:a16="http://schemas.microsoft.com/office/drawing/2014/main" id="{6AF8CB65-3CEF-E28E-13F7-1B11DB611F68}"/>
              </a:ext>
            </a:extLst>
          </p:cNvPr>
          <p:cNvSpPr>
            <a:spLocks noGrp="1"/>
          </p:cNvSpPr>
          <p:nvPr>
            <p:ph type="body" sz="quarter" idx="16"/>
          </p:nvPr>
        </p:nvSpPr>
        <p:spPr>
          <a:xfrm>
            <a:off x="959978" y="2072789"/>
            <a:ext cx="10212288" cy="4011613"/>
          </a:xfrm>
        </p:spPr>
        <p:txBody>
          <a:bodyPr lIns="91440" tIns="45720" rIns="91440" bIns="45720" anchor="t"/>
          <a:lstStyle/>
          <a:p>
            <a:r>
              <a:rPr lang="de-DE" err="1">
                <a:latin typeface="Haffer Light"/>
                <a:cs typeface="Haffer Light"/>
              </a:rPr>
              <a:t>Aims</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improve</a:t>
            </a:r>
            <a:r>
              <a:rPr lang="de-DE">
                <a:latin typeface="Haffer Light"/>
                <a:cs typeface="Haffer Light"/>
              </a:rPr>
              <a:t> and </a:t>
            </a:r>
            <a:r>
              <a:rPr lang="de-DE" err="1">
                <a:latin typeface="Haffer Light"/>
                <a:cs typeface="Haffer Light"/>
              </a:rPr>
              <a:t>standardise</a:t>
            </a:r>
            <a:r>
              <a:rPr lang="de-DE">
                <a:latin typeface="Haffer Light"/>
                <a:cs typeface="Haffer Light"/>
              </a:rPr>
              <a:t> </a:t>
            </a:r>
            <a:r>
              <a:rPr lang="de-DE" err="1">
                <a:latin typeface="Haffer Light"/>
                <a:cs typeface="Haffer Light"/>
              </a:rPr>
              <a:t>corporate</a:t>
            </a:r>
            <a:r>
              <a:rPr lang="de-DE">
                <a:latin typeface="Haffer Light"/>
                <a:cs typeface="Haffer Light"/>
              </a:rPr>
              <a:t> </a:t>
            </a:r>
            <a:r>
              <a:rPr lang="de-DE" err="1">
                <a:latin typeface="Haffer Light"/>
                <a:cs typeface="Haffer Light"/>
              </a:rPr>
              <a:t>sustainability</a:t>
            </a:r>
            <a:r>
              <a:rPr lang="de-DE">
                <a:latin typeface="Haffer Light"/>
                <a:cs typeface="Haffer Light"/>
              </a:rPr>
              <a:t> </a:t>
            </a:r>
            <a:r>
              <a:rPr lang="de-DE" err="1">
                <a:latin typeface="Haffer Light"/>
                <a:cs typeface="Haffer Light"/>
              </a:rPr>
              <a:t>reporting</a:t>
            </a:r>
            <a:endParaRPr lang="de-DE">
              <a:latin typeface="Haffer Light"/>
              <a:cs typeface="Haffer Light"/>
            </a:endParaRPr>
          </a:p>
          <a:p>
            <a:r>
              <a:rPr lang="de-DE" err="1">
                <a:latin typeface="Haffer Light"/>
                <a:cs typeface="Haffer Light"/>
              </a:rPr>
              <a:t>Replaces</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previous</a:t>
            </a:r>
            <a:r>
              <a:rPr lang="de-DE">
                <a:latin typeface="Haffer Light"/>
                <a:cs typeface="Haffer Light"/>
              </a:rPr>
              <a:t> Non-Financial Reporting </a:t>
            </a:r>
            <a:r>
              <a:rPr lang="de-DE" err="1">
                <a:latin typeface="Haffer Light"/>
                <a:cs typeface="Haffer Light"/>
              </a:rPr>
              <a:t>Directive</a:t>
            </a:r>
            <a:r>
              <a:rPr lang="de-DE">
                <a:latin typeface="Haffer Light"/>
                <a:cs typeface="Haffer Light"/>
              </a:rPr>
              <a:t> (NFRD)</a:t>
            </a:r>
          </a:p>
          <a:p>
            <a:r>
              <a:rPr lang="de-DE" err="1">
                <a:latin typeface="Haffer Light"/>
                <a:cs typeface="Haffer Light"/>
              </a:rPr>
              <a:t>Stricter</a:t>
            </a:r>
            <a:r>
              <a:rPr lang="de-DE">
                <a:latin typeface="Haffer Light"/>
                <a:cs typeface="Haffer Light"/>
              </a:rPr>
              <a:t> </a:t>
            </a:r>
            <a:r>
              <a:rPr lang="de-DE" err="1">
                <a:latin typeface="Haffer Light"/>
                <a:cs typeface="Haffer Light"/>
              </a:rPr>
              <a:t>requirements</a:t>
            </a:r>
            <a:r>
              <a:rPr lang="de-DE">
                <a:latin typeface="Haffer Light"/>
                <a:cs typeface="Haffer Light"/>
              </a:rPr>
              <a:t> </a:t>
            </a:r>
            <a:r>
              <a:rPr lang="de-DE" err="1">
                <a:latin typeface="Haffer Light"/>
                <a:cs typeface="Haffer Light"/>
              </a:rPr>
              <a:t>regarding</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disclosure</a:t>
            </a:r>
            <a:r>
              <a:rPr lang="de-DE">
                <a:latin typeface="Haffer Light"/>
                <a:cs typeface="Haffer Light"/>
              </a:rPr>
              <a:t> </a:t>
            </a:r>
            <a:r>
              <a:rPr lang="de-DE" err="1">
                <a:latin typeface="Haffer Light"/>
                <a:cs typeface="Haffer Light"/>
              </a:rPr>
              <a:t>of</a:t>
            </a:r>
            <a:r>
              <a:rPr lang="de-DE">
                <a:latin typeface="Haffer Light"/>
                <a:cs typeface="Haffer Light"/>
              </a:rPr>
              <a:t> ESG </a:t>
            </a:r>
            <a:r>
              <a:rPr lang="de-DE" err="1">
                <a:latin typeface="Haffer Light"/>
                <a:cs typeface="Haffer Light"/>
              </a:rPr>
              <a:t>data</a:t>
            </a:r>
            <a:endParaRPr lang="de-DE">
              <a:latin typeface="Haffer Light"/>
              <a:cs typeface="Haffer Light"/>
            </a:endParaRPr>
          </a:p>
          <a:p>
            <a:r>
              <a:rPr lang="de-DE">
                <a:latin typeface="Haffer Light"/>
                <a:cs typeface="Haffer Light"/>
              </a:rPr>
              <a:t>European </a:t>
            </a:r>
            <a:r>
              <a:rPr lang="de-DE" err="1">
                <a:latin typeface="Haffer Light"/>
                <a:cs typeface="Haffer Light"/>
              </a:rPr>
              <a:t>Sustainability</a:t>
            </a:r>
            <a:r>
              <a:rPr lang="de-DE">
                <a:latin typeface="Haffer Light"/>
                <a:cs typeface="Haffer Light"/>
              </a:rPr>
              <a:t> Reporting Standards (ESRS) </a:t>
            </a:r>
            <a:r>
              <a:rPr lang="de-DE" err="1">
                <a:latin typeface="Haffer Light"/>
                <a:cs typeface="Haffer Light"/>
              </a:rPr>
              <a:t>are</a:t>
            </a:r>
            <a:r>
              <a:rPr lang="de-DE">
                <a:latin typeface="Haffer Light"/>
                <a:cs typeface="Haffer Light"/>
              </a:rPr>
              <a:t> a </a:t>
            </a:r>
            <a:r>
              <a:rPr lang="de-DE" err="1">
                <a:latin typeface="Haffer Light"/>
                <a:cs typeface="Haffer Light"/>
              </a:rPr>
              <a:t>set</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standards</a:t>
            </a:r>
            <a:r>
              <a:rPr lang="de-DE">
                <a:latin typeface="Haffer Light"/>
                <a:cs typeface="Haffer Light"/>
              </a:rPr>
              <a:t> </a:t>
            </a:r>
            <a:r>
              <a:rPr lang="de-DE" err="1">
                <a:latin typeface="Haffer Light"/>
                <a:cs typeface="Haffer Light"/>
              </a:rPr>
              <a:t>developed</a:t>
            </a:r>
            <a:r>
              <a:rPr lang="de-DE">
                <a:latin typeface="Haffer Light"/>
                <a:cs typeface="Haffer Light"/>
              </a:rPr>
              <a:t> </a:t>
            </a:r>
            <a:r>
              <a:rPr lang="de-DE" err="1">
                <a:latin typeface="Haffer Light"/>
                <a:cs typeface="Haffer Light"/>
              </a:rPr>
              <a:t>as</a:t>
            </a:r>
            <a:r>
              <a:rPr lang="de-DE">
                <a:latin typeface="Haffer Light"/>
                <a:cs typeface="Haffer Light"/>
              </a:rPr>
              <a:t> </a:t>
            </a:r>
            <a:r>
              <a:rPr lang="de-DE" err="1">
                <a:latin typeface="Haffer Light"/>
                <a:cs typeface="Haffer Light"/>
              </a:rPr>
              <a:t>part</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the</a:t>
            </a:r>
            <a:r>
              <a:rPr lang="de-DE">
                <a:latin typeface="Haffer Light"/>
                <a:cs typeface="Haffer Light"/>
              </a:rPr>
              <a:t> CSRD:</a:t>
            </a:r>
            <a:endParaRPr lang="de-DE"/>
          </a:p>
          <a:p>
            <a:pPr lvl="1">
              <a:buFont typeface="Courier New" panose="020B0604020202020204" pitchFamily="34" charset="0"/>
              <a:buChar char="o"/>
            </a:pPr>
            <a:r>
              <a:rPr lang="de-DE">
                <a:latin typeface="Haffer Light"/>
                <a:cs typeface="Haffer Light"/>
              </a:rPr>
              <a:t>ESRS </a:t>
            </a:r>
            <a:r>
              <a:rPr lang="de-DE" err="1">
                <a:latin typeface="Haffer Light"/>
                <a:cs typeface="Haffer Light"/>
              </a:rPr>
              <a:t>for</a:t>
            </a:r>
            <a:r>
              <a:rPr lang="de-DE">
                <a:latin typeface="Haffer Light"/>
                <a:cs typeface="Haffer Light"/>
              </a:rPr>
              <a:t> large, </a:t>
            </a:r>
            <a:r>
              <a:rPr lang="de-DE" err="1">
                <a:latin typeface="Haffer Light"/>
                <a:cs typeface="Haffer Light"/>
              </a:rPr>
              <a:t>small</a:t>
            </a:r>
            <a:r>
              <a:rPr lang="de-DE">
                <a:latin typeface="Haffer Light"/>
                <a:cs typeface="Haffer Light"/>
              </a:rPr>
              <a:t> and medium-</a:t>
            </a:r>
            <a:r>
              <a:rPr lang="de-DE" err="1">
                <a:latin typeface="Haffer Light"/>
                <a:cs typeface="Haffer Light"/>
              </a:rPr>
              <a:t>sized</a:t>
            </a:r>
            <a:r>
              <a:rPr lang="de-DE">
                <a:latin typeface="Haffer Light"/>
                <a:cs typeface="Haffer Light"/>
              </a:rPr>
              <a:t> </a:t>
            </a:r>
            <a:r>
              <a:rPr lang="de-DE" err="1">
                <a:latin typeface="Haffer Light"/>
                <a:cs typeface="Haffer Light"/>
              </a:rPr>
              <a:t>enterprises</a:t>
            </a:r>
            <a:r>
              <a:rPr lang="de-DE">
                <a:latin typeface="Haffer Light"/>
                <a:cs typeface="Haffer Light"/>
              </a:rPr>
              <a:t> (SMEs)</a:t>
            </a:r>
          </a:p>
          <a:p>
            <a:pPr marL="685800">
              <a:spcBef>
                <a:spcPts val="500"/>
              </a:spcBef>
              <a:buFont typeface="Courier New" panose="020B0604020202020204" pitchFamily="34" charset="0"/>
              <a:buChar char="o"/>
            </a:pPr>
            <a:r>
              <a:rPr lang="de-DE">
                <a:latin typeface="Haffer Light"/>
                <a:cs typeface="Haffer Light"/>
              </a:rPr>
              <a:t>ESRS </a:t>
            </a:r>
            <a:r>
              <a:rPr lang="de-DE" err="1">
                <a:latin typeface="Haffer Light"/>
                <a:cs typeface="Haffer Light"/>
              </a:rPr>
              <a:t>for</a:t>
            </a:r>
            <a:r>
              <a:rPr lang="de-DE">
                <a:latin typeface="Haffer Light"/>
                <a:cs typeface="Haffer Light"/>
              </a:rPr>
              <a:t> </a:t>
            </a:r>
            <a:r>
              <a:rPr lang="de-DE" err="1">
                <a:latin typeface="Haffer Light"/>
                <a:cs typeface="Haffer Light"/>
              </a:rPr>
              <a:t>small</a:t>
            </a:r>
            <a:r>
              <a:rPr lang="de-DE">
                <a:latin typeface="Haffer Light"/>
                <a:cs typeface="Haffer Light"/>
              </a:rPr>
              <a:t> and </a:t>
            </a:r>
            <a:r>
              <a:rPr lang="de-DE" err="1">
                <a:latin typeface="Haffer Light"/>
                <a:cs typeface="Haffer Light"/>
              </a:rPr>
              <a:t>micro</a:t>
            </a:r>
            <a:r>
              <a:rPr lang="de-DE">
                <a:latin typeface="Haffer Light"/>
                <a:cs typeface="Haffer Light"/>
              </a:rPr>
              <a:t> </a:t>
            </a:r>
            <a:r>
              <a:rPr lang="de-DE" err="1">
                <a:latin typeface="Haffer Light"/>
                <a:cs typeface="Haffer Light"/>
              </a:rPr>
              <a:t>enterprises</a:t>
            </a:r>
            <a:r>
              <a:rPr lang="de-DE">
                <a:latin typeface="Haffer Light"/>
                <a:cs typeface="Haffer Light"/>
              </a:rPr>
              <a:t> (VSMEs)</a:t>
            </a:r>
            <a:endParaRPr lang="de-DE"/>
          </a:p>
          <a:p>
            <a:endParaRPr lang="de-DE">
              <a:latin typeface="Haffer Light"/>
              <a:cs typeface="Haffer Light"/>
            </a:endParaRPr>
          </a:p>
        </p:txBody>
      </p:sp>
    </p:spTree>
    <p:extLst>
      <p:ext uri="{BB962C8B-B14F-4D97-AF65-F5344CB8AC3E}">
        <p14:creationId xmlns:p14="http://schemas.microsoft.com/office/powerpoint/2010/main" val="20633788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AB94928-8250-D63B-F727-7BE7FE3F72B9}"/>
              </a:ext>
            </a:extLst>
          </p:cNvPr>
          <p:cNvSpPr>
            <a:spLocks noGrp="1"/>
          </p:cNvSpPr>
          <p:nvPr>
            <p:ph type="body" sz="quarter" idx="11"/>
          </p:nvPr>
        </p:nvSpPr>
        <p:spPr/>
        <p:txBody>
          <a:bodyPr lIns="91440" tIns="45720" rIns="91440" bIns="45720" anchor="b"/>
          <a:lstStyle/>
          <a:p>
            <a:r>
              <a:rPr lang="de-DE">
                <a:latin typeface="Haffer"/>
                <a:cs typeface="Haffer"/>
              </a:rPr>
              <a:t>Corporate </a:t>
            </a:r>
            <a:r>
              <a:rPr lang="de-DE" err="1">
                <a:latin typeface="Haffer"/>
                <a:cs typeface="Haffer"/>
              </a:rPr>
              <a:t>Social</a:t>
            </a:r>
            <a:r>
              <a:rPr lang="de-DE">
                <a:latin typeface="Haffer"/>
                <a:cs typeface="Haffer"/>
              </a:rPr>
              <a:t> </a:t>
            </a:r>
            <a:r>
              <a:rPr lang="de-DE" err="1">
                <a:latin typeface="Haffer"/>
                <a:cs typeface="Haffer"/>
              </a:rPr>
              <a:t>Responsibility</a:t>
            </a:r>
            <a:r>
              <a:rPr lang="de-DE">
                <a:latin typeface="Haffer"/>
                <a:cs typeface="Haffer"/>
              </a:rPr>
              <a:t> </a:t>
            </a:r>
            <a:r>
              <a:rPr lang="de-DE" err="1">
                <a:latin typeface="Haffer"/>
                <a:cs typeface="Haffer"/>
              </a:rPr>
              <a:t>regulation</a:t>
            </a:r>
            <a:r>
              <a:rPr lang="de-DE">
                <a:latin typeface="Haffer"/>
                <a:cs typeface="Haffer"/>
              </a:rPr>
              <a:t> in Europe</a:t>
            </a:r>
            <a:endParaRPr lang="de-DE">
              <a:solidFill>
                <a:srgbClr val="000000"/>
              </a:solidFill>
              <a:latin typeface="Haffer"/>
              <a:cs typeface="Haffer"/>
            </a:endParaRPr>
          </a:p>
        </p:txBody>
      </p:sp>
      <p:sp>
        <p:nvSpPr>
          <p:cNvPr id="3" name="Textplatzhalter 2">
            <a:extLst>
              <a:ext uri="{FF2B5EF4-FFF2-40B4-BE49-F238E27FC236}">
                <a16:creationId xmlns:a16="http://schemas.microsoft.com/office/drawing/2014/main" id="{223353A4-38ED-3437-ECCD-B2DAA0B9F5F9}"/>
              </a:ext>
            </a:extLst>
          </p:cNvPr>
          <p:cNvSpPr>
            <a:spLocks noGrp="1"/>
          </p:cNvSpPr>
          <p:nvPr>
            <p:ph type="body" sz="quarter" idx="10"/>
          </p:nvPr>
        </p:nvSpPr>
        <p:spPr>
          <a:xfrm>
            <a:off x="959979" y="431529"/>
            <a:ext cx="10761663" cy="1295132"/>
          </a:xfrm>
        </p:spPr>
        <p:txBody>
          <a:bodyPr lIns="91440" tIns="45720" rIns="91440" bIns="45720" anchor="b"/>
          <a:lstStyle/>
          <a:p>
            <a:r>
              <a:rPr lang="de-DE">
                <a:latin typeface="Haffer"/>
                <a:cs typeface="Haffer"/>
              </a:rPr>
              <a:t>Corporate </a:t>
            </a:r>
            <a:r>
              <a:rPr lang="de-DE" err="1">
                <a:latin typeface="Haffer"/>
                <a:cs typeface="Haffer"/>
              </a:rPr>
              <a:t>Sustainability</a:t>
            </a:r>
            <a:r>
              <a:rPr lang="de-DE">
                <a:latin typeface="Haffer"/>
                <a:cs typeface="Haffer"/>
              </a:rPr>
              <a:t> Reporting </a:t>
            </a:r>
            <a:r>
              <a:rPr lang="de-DE" err="1">
                <a:latin typeface="Haffer"/>
                <a:cs typeface="Haffer"/>
              </a:rPr>
              <a:t>Directive</a:t>
            </a:r>
            <a:r>
              <a:rPr lang="de-DE">
                <a:latin typeface="Haffer"/>
                <a:cs typeface="Haffer"/>
              </a:rPr>
              <a:t> (CSRD) (2/2)</a:t>
            </a:r>
          </a:p>
        </p:txBody>
      </p:sp>
      <p:sp>
        <p:nvSpPr>
          <p:cNvPr id="5" name="Textplatzhalter 4">
            <a:extLst>
              <a:ext uri="{FF2B5EF4-FFF2-40B4-BE49-F238E27FC236}">
                <a16:creationId xmlns:a16="http://schemas.microsoft.com/office/drawing/2014/main" id="{6AF8CB65-3CEF-E28E-13F7-1B11DB611F68}"/>
              </a:ext>
            </a:extLst>
          </p:cNvPr>
          <p:cNvSpPr>
            <a:spLocks noGrp="1"/>
          </p:cNvSpPr>
          <p:nvPr>
            <p:ph type="body" sz="quarter" idx="16"/>
          </p:nvPr>
        </p:nvSpPr>
        <p:spPr>
          <a:xfrm>
            <a:off x="959978" y="2072789"/>
            <a:ext cx="10212288" cy="4011613"/>
          </a:xfrm>
        </p:spPr>
        <p:txBody>
          <a:bodyPr lIns="91440" tIns="45720" rIns="91440" bIns="45720" anchor="t"/>
          <a:lstStyle/>
          <a:p>
            <a:r>
              <a:rPr lang="de-DE">
                <a:latin typeface="Haffer Light"/>
                <a:cs typeface="Haffer Light"/>
              </a:rPr>
              <a:t>CSRD in </a:t>
            </a:r>
            <a:r>
              <a:rPr lang="de-DE" err="1">
                <a:latin typeface="Haffer Light"/>
                <a:cs typeface="Haffer Light"/>
              </a:rPr>
              <a:t>relation</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electricity</a:t>
            </a:r>
            <a:r>
              <a:rPr lang="de-DE">
                <a:latin typeface="Haffer Light"/>
                <a:cs typeface="Haffer Light"/>
              </a:rPr>
              <a:t> </a:t>
            </a:r>
            <a:r>
              <a:rPr lang="de-DE" err="1">
                <a:latin typeface="Haffer Light"/>
                <a:cs typeface="Haffer Light"/>
              </a:rPr>
              <a:t>procurement</a:t>
            </a:r>
            <a:r>
              <a:rPr lang="de-DE">
                <a:latin typeface="Haffer Light"/>
                <a:cs typeface="Haffer Light"/>
              </a:rPr>
              <a:t>:</a:t>
            </a:r>
          </a:p>
          <a:p>
            <a:pPr lvl="1">
              <a:buFont typeface="Courier New,monospace" panose="020B0604020202020204" pitchFamily="34" charset="0"/>
              <a:buChar char="o"/>
            </a:pPr>
            <a:r>
              <a:rPr lang="de-DE">
                <a:latin typeface="Haffer Light"/>
                <a:cs typeface="Haffer Light"/>
              </a:rPr>
              <a:t>Disclosure </a:t>
            </a:r>
            <a:r>
              <a:rPr lang="de-DE" err="1">
                <a:latin typeface="Haffer Light"/>
                <a:cs typeface="Haffer Light"/>
              </a:rPr>
              <a:t>of</a:t>
            </a:r>
            <a:r>
              <a:rPr lang="de-DE">
                <a:latin typeface="Haffer Light"/>
                <a:cs typeface="Haffer Light"/>
              </a:rPr>
              <a:t> </a:t>
            </a:r>
            <a:r>
              <a:rPr lang="de-DE" err="1">
                <a:latin typeface="Haffer Light"/>
                <a:cs typeface="Haffer Light"/>
              </a:rPr>
              <a:t>energy</a:t>
            </a:r>
            <a:r>
              <a:rPr lang="de-DE">
                <a:latin typeface="Haffer Light"/>
                <a:cs typeface="Haffer Light"/>
              </a:rPr>
              <a:t> </a:t>
            </a:r>
            <a:r>
              <a:rPr lang="de-DE" err="1">
                <a:latin typeface="Haffer Light"/>
                <a:cs typeface="Haffer Light"/>
              </a:rPr>
              <a:t>consumption</a:t>
            </a:r>
            <a:r>
              <a:rPr lang="de-DE">
                <a:latin typeface="Haffer Light"/>
                <a:cs typeface="Haffer Light"/>
              </a:rPr>
              <a:t> and </a:t>
            </a:r>
            <a:r>
              <a:rPr lang="de-DE" err="1">
                <a:latin typeface="Haffer Light"/>
                <a:cs typeface="Haffer Light"/>
              </a:rPr>
              <a:t>the</a:t>
            </a:r>
            <a:r>
              <a:rPr lang="de-DE">
                <a:latin typeface="Haffer Light"/>
                <a:cs typeface="Haffer Light"/>
              </a:rPr>
              <a:t> </a:t>
            </a:r>
            <a:r>
              <a:rPr lang="de-DE" err="1">
                <a:latin typeface="Haffer Light"/>
                <a:cs typeface="Haffer Light"/>
              </a:rPr>
              <a:t>share</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energy</a:t>
            </a:r>
          </a:p>
          <a:p>
            <a:pPr marL="685800">
              <a:spcBef>
                <a:spcPts val="500"/>
              </a:spcBef>
              <a:buFont typeface="Courier New,monospace" panose="020B0604020202020204" pitchFamily="34" charset="0"/>
              <a:buChar char="o"/>
            </a:pPr>
            <a:r>
              <a:rPr lang="de-DE">
                <a:latin typeface="Haffer Light"/>
                <a:cs typeface="Haffer Light"/>
              </a:rPr>
              <a:t>Targets and </a:t>
            </a:r>
            <a:r>
              <a:rPr lang="de-DE" err="1">
                <a:latin typeface="Haffer Light"/>
                <a:cs typeface="Haffer Light"/>
              </a:rPr>
              <a:t>measures</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increase</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share</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energy</a:t>
            </a:r>
            <a:endParaRPr lang="de-DE">
              <a:latin typeface="Haffer Light"/>
              <a:cs typeface="Haffer Light"/>
            </a:endParaRPr>
          </a:p>
          <a:p>
            <a:pPr marL="685800">
              <a:spcBef>
                <a:spcPts val="500"/>
              </a:spcBef>
              <a:buFont typeface="Courier New,monospace" panose="020B0604020202020204" pitchFamily="34" charset="0"/>
              <a:buChar char="o"/>
            </a:pPr>
            <a:r>
              <a:rPr lang="de-DE">
                <a:latin typeface="Haffer Light"/>
                <a:cs typeface="Haffer Light"/>
              </a:rPr>
              <a:t>CO2 </a:t>
            </a:r>
            <a:r>
              <a:rPr lang="de-DE" err="1">
                <a:latin typeface="Haffer Light"/>
                <a:cs typeface="Haffer Light"/>
              </a:rPr>
              <a:t>emissions</a:t>
            </a:r>
            <a:r>
              <a:rPr lang="de-DE">
                <a:latin typeface="Haffer Light"/>
                <a:cs typeface="Haffer Light"/>
              </a:rPr>
              <a:t> and </a:t>
            </a:r>
            <a:r>
              <a:rPr lang="de-DE" err="1">
                <a:latin typeface="Haffer Light"/>
                <a:cs typeface="Haffer Light"/>
              </a:rPr>
              <a:t>reduction</a:t>
            </a:r>
            <a:r>
              <a:rPr lang="de-DE">
                <a:latin typeface="Haffer Light"/>
                <a:cs typeface="Haffer Light"/>
              </a:rPr>
              <a:t> </a:t>
            </a:r>
            <a:r>
              <a:rPr lang="de-DE" err="1">
                <a:latin typeface="Haffer Light"/>
                <a:cs typeface="Haffer Light"/>
              </a:rPr>
              <a:t>targets</a:t>
            </a:r>
            <a:endParaRPr lang="en-US" err="1">
              <a:latin typeface="Haffer Light"/>
              <a:cs typeface="Haffer Light"/>
            </a:endParaRPr>
          </a:p>
          <a:p>
            <a:pPr marL="685800">
              <a:spcBef>
                <a:spcPts val="500"/>
              </a:spcBef>
              <a:buFont typeface="Courier New,monospace" panose="020B0604020202020204" pitchFamily="34" charset="0"/>
              <a:buChar char="o"/>
            </a:pPr>
            <a:r>
              <a:rPr lang="de-DE" err="1">
                <a:latin typeface="Haffer Light"/>
                <a:cs typeface="Haffer Light"/>
              </a:rPr>
              <a:t>Risks</a:t>
            </a:r>
            <a:r>
              <a:rPr lang="de-DE">
                <a:latin typeface="Haffer Light"/>
                <a:cs typeface="Haffer Light"/>
              </a:rPr>
              <a:t> and </a:t>
            </a:r>
            <a:r>
              <a:rPr lang="de-DE" err="1">
                <a:latin typeface="Haffer Light"/>
                <a:cs typeface="Haffer Light"/>
              </a:rPr>
              <a:t>opportunities</a:t>
            </a:r>
            <a:r>
              <a:rPr lang="de-DE">
                <a:latin typeface="Haffer Light"/>
                <a:cs typeface="Haffer Light"/>
              </a:rPr>
              <a:t> </a:t>
            </a:r>
            <a:r>
              <a:rPr lang="de-DE" err="1">
                <a:latin typeface="Haffer Light"/>
                <a:cs typeface="Haffer Light"/>
              </a:rPr>
              <a:t>related</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climate</a:t>
            </a:r>
            <a:r>
              <a:rPr lang="de-DE">
                <a:latin typeface="Haffer Light"/>
                <a:cs typeface="Haffer Light"/>
              </a:rPr>
              <a:t> </a:t>
            </a:r>
            <a:r>
              <a:rPr lang="de-DE" err="1">
                <a:latin typeface="Haffer Light"/>
                <a:cs typeface="Haffer Light"/>
              </a:rPr>
              <a:t>change</a:t>
            </a:r>
            <a:endParaRPr lang="de-DE" err="1"/>
          </a:p>
          <a:p>
            <a:r>
              <a:rPr lang="de-DE">
                <a:latin typeface="Haffer Light"/>
                <a:cs typeface="Haffer Light"/>
              </a:rPr>
              <a:t>The CSRD </a:t>
            </a:r>
            <a:r>
              <a:rPr lang="de-DE" err="1">
                <a:latin typeface="Haffer Light"/>
                <a:cs typeface="Haffer Light"/>
              </a:rPr>
              <a:t>aims</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improve</a:t>
            </a:r>
            <a:r>
              <a:rPr lang="de-DE">
                <a:latin typeface="Haffer Light"/>
                <a:cs typeface="Haffer Light"/>
              </a:rPr>
              <a:t> and </a:t>
            </a:r>
            <a:r>
              <a:rPr lang="de-DE" err="1">
                <a:latin typeface="Haffer Light"/>
                <a:cs typeface="Haffer Light"/>
              </a:rPr>
              <a:t>standardise</a:t>
            </a:r>
            <a:r>
              <a:rPr lang="de-DE">
                <a:latin typeface="Haffer Light"/>
                <a:cs typeface="Haffer Light"/>
              </a:rPr>
              <a:t> </a:t>
            </a:r>
            <a:r>
              <a:rPr lang="de-DE" err="1">
                <a:latin typeface="Haffer Light"/>
                <a:cs typeface="Haffer Light"/>
              </a:rPr>
              <a:t>sustainability</a:t>
            </a:r>
            <a:r>
              <a:rPr lang="de-DE">
                <a:latin typeface="Haffer Light"/>
                <a:cs typeface="Haffer Light"/>
              </a:rPr>
              <a:t> </a:t>
            </a:r>
            <a:r>
              <a:rPr lang="de-DE" err="1">
                <a:latin typeface="Haffer Light"/>
                <a:cs typeface="Haffer Light"/>
              </a:rPr>
              <a:t>reporting</a:t>
            </a:r>
            <a:r>
              <a:rPr lang="de-DE">
                <a:latin typeface="Haffer Light"/>
                <a:cs typeface="Haffer Light"/>
              </a:rPr>
              <a:t> in </a:t>
            </a:r>
            <a:r>
              <a:rPr lang="de-DE" err="1">
                <a:latin typeface="Haffer Light"/>
                <a:cs typeface="Haffer Light"/>
              </a:rPr>
              <a:t>order</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provide</a:t>
            </a:r>
            <a:r>
              <a:rPr lang="de-DE">
                <a:latin typeface="Haffer Light"/>
                <a:cs typeface="Haffer Light"/>
              </a:rPr>
              <a:t> </a:t>
            </a:r>
            <a:r>
              <a:rPr lang="de-DE" err="1">
                <a:latin typeface="Haffer Light"/>
                <a:cs typeface="Haffer Light"/>
              </a:rPr>
              <a:t>clear</a:t>
            </a:r>
            <a:r>
              <a:rPr lang="de-DE">
                <a:latin typeface="Haffer Light"/>
                <a:cs typeface="Haffer Light"/>
              </a:rPr>
              <a:t> and </a:t>
            </a:r>
            <a:r>
              <a:rPr lang="de-DE" err="1">
                <a:latin typeface="Haffer Light"/>
                <a:cs typeface="Haffer Light"/>
              </a:rPr>
              <a:t>comparable</a:t>
            </a:r>
            <a:r>
              <a:rPr lang="de-DE">
                <a:latin typeface="Haffer Light"/>
                <a:cs typeface="Haffer Light"/>
              </a:rPr>
              <a:t> </a:t>
            </a:r>
            <a:r>
              <a:rPr lang="de-DE" err="1">
                <a:latin typeface="Haffer Light"/>
                <a:cs typeface="Haffer Light"/>
              </a:rPr>
              <a:t>information</a:t>
            </a:r>
            <a:r>
              <a:rPr lang="de-DE">
                <a:latin typeface="Haffer Light"/>
                <a:cs typeface="Haffer Light"/>
              </a:rPr>
              <a:t> and </a:t>
            </a:r>
            <a:r>
              <a:rPr lang="de-DE" err="1">
                <a:latin typeface="Haffer Light"/>
                <a:cs typeface="Haffer Light"/>
              </a:rPr>
              <a:t>to</a:t>
            </a:r>
            <a:r>
              <a:rPr lang="de-DE">
                <a:latin typeface="Haffer Light"/>
                <a:cs typeface="Haffer Light"/>
              </a:rPr>
              <a:t> promote </a:t>
            </a:r>
            <a:r>
              <a:rPr lang="de-DE" err="1">
                <a:latin typeface="Haffer Light"/>
                <a:cs typeface="Haffer Light"/>
              </a:rPr>
              <a:t>sustainability</a:t>
            </a:r>
            <a:r>
              <a:rPr lang="de-DE">
                <a:latin typeface="Haffer Light"/>
                <a:cs typeface="Haffer Light"/>
              </a:rPr>
              <a:t> and </a:t>
            </a:r>
            <a:r>
              <a:rPr lang="de-DE" err="1">
                <a:latin typeface="Haffer Light"/>
                <a:cs typeface="Haffer Light"/>
              </a:rPr>
              <a:t>the</a:t>
            </a:r>
            <a:r>
              <a:rPr lang="de-DE">
                <a:latin typeface="Haffer Light"/>
                <a:cs typeface="Haffer Light"/>
              </a:rPr>
              <a:t> </a:t>
            </a:r>
            <a:r>
              <a:rPr lang="de-DE" err="1">
                <a:latin typeface="Haffer Light"/>
                <a:cs typeface="Haffer Light"/>
              </a:rPr>
              <a:t>transition</a:t>
            </a:r>
            <a:r>
              <a:rPr lang="de-DE">
                <a:latin typeface="Haffer Light"/>
                <a:cs typeface="Haffer Light"/>
              </a:rPr>
              <a:t> </a:t>
            </a:r>
            <a:r>
              <a:rPr lang="de-DE" err="1">
                <a:latin typeface="Haffer Light"/>
                <a:cs typeface="Haffer Light"/>
              </a:rPr>
              <a:t>to</a:t>
            </a:r>
            <a:r>
              <a:rPr lang="de-DE">
                <a:latin typeface="Haffer Light"/>
                <a:cs typeface="Haffer Light"/>
              </a:rPr>
              <a:t> a </a:t>
            </a:r>
            <a:r>
              <a:rPr lang="de-DE" err="1">
                <a:latin typeface="Haffer Light"/>
                <a:cs typeface="Haffer Light"/>
              </a:rPr>
              <a:t>green</a:t>
            </a:r>
            <a:r>
              <a:rPr lang="de-DE">
                <a:latin typeface="Haffer Light"/>
                <a:cs typeface="Haffer Light"/>
              </a:rPr>
              <a:t> </a:t>
            </a:r>
            <a:r>
              <a:rPr lang="de-DE" err="1">
                <a:latin typeface="Haffer Light"/>
                <a:cs typeface="Haffer Light"/>
              </a:rPr>
              <a:t>economy</a:t>
            </a:r>
            <a:r>
              <a:rPr lang="de-DE">
                <a:latin typeface="Haffer Light"/>
                <a:cs typeface="Haffer Light"/>
              </a:rPr>
              <a:t>.</a:t>
            </a:r>
          </a:p>
          <a:p>
            <a:endParaRPr lang="de-DE">
              <a:latin typeface="Haffer Light"/>
              <a:cs typeface="Haffer Light"/>
            </a:endParaRPr>
          </a:p>
          <a:p>
            <a:pPr lvl="1">
              <a:buFont typeface="Courier New" panose="020B0604020202020204" pitchFamily="34" charset="0"/>
              <a:buChar char="o"/>
            </a:pPr>
            <a:endParaRPr lang="de-DE"/>
          </a:p>
          <a:p>
            <a:pPr marL="685800">
              <a:spcBef>
                <a:spcPts val="500"/>
              </a:spcBef>
              <a:buFont typeface="Courier New" panose="020B0604020202020204" pitchFamily="34" charset="0"/>
              <a:buChar char="o"/>
            </a:pPr>
            <a:endParaRPr lang="de-DE">
              <a:latin typeface="Haffer Light"/>
              <a:cs typeface="Haffer Light"/>
            </a:endParaRPr>
          </a:p>
          <a:p>
            <a:endParaRPr lang="de-DE"/>
          </a:p>
        </p:txBody>
      </p:sp>
    </p:spTree>
    <p:extLst>
      <p:ext uri="{BB962C8B-B14F-4D97-AF65-F5344CB8AC3E}">
        <p14:creationId xmlns:p14="http://schemas.microsoft.com/office/powerpoint/2010/main" val="24312068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A92FF065-3C02-4611-B6DF-0BCC1F7A8E16}"/>
              </a:ext>
            </a:extLst>
          </p:cNvPr>
          <p:cNvSpPr>
            <a:spLocks noGrp="1"/>
          </p:cNvSpPr>
          <p:nvPr>
            <p:ph type="body" sz="quarter" idx="10"/>
          </p:nvPr>
        </p:nvSpPr>
        <p:spPr/>
        <p:txBody>
          <a:bodyPr lIns="91440" tIns="45720" rIns="91440" bIns="45720" anchor="b"/>
          <a:lstStyle/>
          <a:p>
            <a:r>
              <a:rPr lang="de-DE">
                <a:latin typeface="Haffer"/>
                <a:cs typeface="Haffer"/>
              </a:rPr>
              <a:t>United </a:t>
            </a:r>
            <a:r>
              <a:rPr lang="de-DE" err="1">
                <a:latin typeface="Haffer"/>
                <a:cs typeface="Haffer"/>
              </a:rPr>
              <a:t>Nations</a:t>
            </a:r>
            <a:r>
              <a:rPr lang="de-DE">
                <a:latin typeface="Haffer"/>
                <a:cs typeface="Haffer"/>
              </a:rPr>
              <a:t> Global Compact (UNGC)</a:t>
            </a:r>
          </a:p>
        </p:txBody>
      </p:sp>
      <p:sp>
        <p:nvSpPr>
          <p:cNvPr id="2" name="Textplatzhalter 1">
            <a:extLst>
              <a:ext uri="{FF2B5EF4-FFF2-40B4-BE49-F238E27FC236}">
                <a16:creationId xmlns:a16="http://schemas.microsoft.com/office/drawing/2014/main" id="{F698404D-9260-2C36-E4AD-EFD78FB2E926}"/>
              </a:ext>
            </a:extLst>
          </p:cNvPr>
          <p:cNvSpPr>
            <a:spLocks noGrp="1"/>
          </p:cNvSpPr>
          <p:nvPr>
            <p:ph type="body" sz="quarter" idx="11"/>
          </p:nvPr>
        </p:nvSpPr>
        <p:spPr/>
        <p:txBody>
          <a:bodyPr lIns="91440" tIns="45720" rIns="91440" bIns="45720" anchor="b"/>
          <a:lstStyle/>
          <a:p>
            <a:r>
              <a:rPr lang="de-DE">
                <a:latin typeface="Haffer"/>
                <a:cs typeface="Haffer"/>
              </a:rPr>
              <a:t>Corporate </a:t>
            </a:r>
            <a:r>
              <a:rPr lang="de-DE" err="1">
                <a:latin typeface="Haffer"/>
                <a:cs typeface="Haffer"/>
              </a:rPr>
              <a:t>Social</a:t>
            </a:r>
            <a:r>
              <a:rPr lang="de-DE">
                <a:latin typeface="Haffer"/>
                <a:cs typeface="Haffer"/>
              </a:rPr>
              <a:t> </a:t>
            </a:r>
            <a:r>
              <a:rPr lang="de-DE" err="1">
                <a:latin typeface="Haffer"/>
                <a:cs typeface="Haffer"/>
              </a:rPr>
              <a:t>Responsibility</a:t>
            </a:r>
            <a:r>
              <a:rPr lang="de-DE">
                <a:latin typeface="Haffer"/>
                <a:cs typeface="Haffer"/>
              </a:rPr>
              <a:t> </a:t>
            </a:r>
            <a:r>
              <a:rPr lang="de-DE" err="1">
                <a:latin typeface="Haffer"/>
                <a:cs typeface="Haffer"/>
              </a:rPr>
              <a:t>regulation</a:t>
            </a:r>
            <a:r>
              <a:rPr lang="de-DE">
                <a:latin typeface="Haffer"/>
                <a:cs typeface="Haffer"/>
              </a:rPr>
              <a:t> in Europe</a:t>
            </a:r>
            <a:endParaRPr lang="de-DE">
              <a:solidFill>
                <a:srgbClr val="000000"/>
              </a:solidFill>
            </a:endParaRPr>
          </a:p>
        </p:txBody>
      </p:sp>
      <p:sp>
        <p:nvSpPr>
          <p:cNvPr id="5" name="Textplatzhalter 4">
            <a:extLst>
              <a:ext uri="{FF2B5EF4-FFF2-40B4-BE49-F238E27FC236}">
                <a16:creationId xmlns:a16="http://schemas.microsoft.com/office/drawing/2014/main" id="{1BA6003D-3613-AD71-0E7F-50AF754C1B23}"/>
              </a:ext>
            </a:extLst>
          </p:cNvPr>
          <p:cNvSpPr>
            <a:spLocks noGrp="1"/>
          </p:cNvSpPr>
          <p:nvPr>
            <p:ph type="body" sz="quarter" idx="16"/>
          </p:nvPr>
        </p:nvSpPr>
        <p:spPr/>
        <p:txBody>
          <a:bodyPr lIns="91440" tIns="45720" rIns="91440" bIns="45720" anchor="t"/>
          <a:lstStyle/>
          <a:p>
            <a:pPr marL="342900" indent="-342900"/>
            <a:r>
              <a:rPr lang="de-DE" err="1">
                <a:latin typeface="Haffer Light"/>
                <a:cs typeface="Haffer Light"/>
              </a:rPr>
              <a:t>Consists</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ten</a:t>
            </a:r>
            <a:r>
              <a:rPr lang="de-DE">
                <a:latin typeface="Haffer Light"/>
                <a:cs typeface="Haffer Light"/>
              </a:rPr>
              <a:t> </a:t>
            </a:r>
            <a:r>
              <a:rPr lang="de-DE" err="1">
                <a:latin typeface="Haffer Light"/>
                <a:cs typeface="Haffer Light"/>
              </a:rPr>
              <a:t>principles</a:t>
            </a:r>
            <a:r>
              <a:rPr lang="de-DE">
                <a:latin typeface="Haffer Light"/>
                <a:cs typeface="Haffer Light"/>
              </a:rPr>
              <a:t> </a:t>
            </a:r>
            <a:r>
              <a:rPr lang="de-DE" err="1">
                <a:latin typeface="Haffer Light"/>
                <a:cs typeface="Haffer Light"/>
              </a:rPr>
              <a:t>addressing</a:t>
            </a:r>
            <a:r>
              <a:rPr lang="de-DE">
                <a:latin typeface="Haffer Light"/>
                <a:cs typeface="Haffer Light"/>
              </a:rPr>
              <a:t> </a:t>
            </a:r>
            <a:r>
              <a:rPr lang="de-DE" err="1">
                <a:latin typeface="Haffer Light"/>
                <a:cs typeface="Haffer Light"/>
              </a:rPr>
              <a:t>issues</a:t>
            </a:r>
            <a:r>
              <a:rPr lang="de-DE">
                <a:latin typeface="Haffer Light"/>
                <a:cs typeface="Haffer Light"/>
              </a:rPr>
              <a:t> such </a:t>
            </a:r>
            <a:r>
              <a:rPr lang="de-DE" err="1">
                <a:latin typeface="Haffer Light"/>
                <a:cs typeface="Haffer Light"/>
              </a:rPr>
              <a:t>as</a:t>
            </a:r>
            <a:r>
              <a:rPr lang="de-DE">
                <a:latin typeface="Haffer Light"/>
                <a:cs typeface="Haffer Light"/>
              </a:rPr>
              <a:t> human </a:t>
            </a:r>
            <a:r>
              <a:rPr lang="de-DE" err="1">
                <a:latin typeface="Haffer Light"/>
                <a:cs typeface="Haffer Light"/>
              </a:rPr>
              <a:t>rights</a:t>
            </a:r>
            <a:r>
              <a:rPr lang="de-DE">
                <a:latin typeface="Haffer Light"/>
                <a:cs typeface="Haffer Light"/>
              </a:rPr>
              <a:t>, </a:t>
            </a:r>
            <a:r>
              <a:rPr lang="de-DE" err="1">
                <a:latin typeface="Haffer Light"/>
                <a:cs typeface="Haffer Light"/>
              </a:rPr>
              <a:t>labor</a:t>
            </a:r>
            <a:r>
              <a:rPr lang="de-DE">
                <a:latin typeface="Haffer Light"/>
                <a:cs typeface="Haffer Light"/>
              </a:rPr>
              <a:t>, </a:t>
            </a:r>
            <a:r>
              <a:rPr lang="de-DE" err="1">
                <a:latin typeface="Haffer Light"/>
                <a:cs typeface="Haffer Light"/>
              </a:rPr>
              <a:t>environment</a:t>
            </a:r>
            <a:r>
              <a:rPr lang="de-DE">
                <a:latin typeface="Haffer Light"/>
                <a:cs typeface="Haffer Light"/>
              </a:rPr>
              <a:t>, and anti-</a:t>
            </a:r>
            <a:r>
              <a:rPr lang="de-DE" err="1">
                <a:latin typeface="Haffer Light"/>
                <a:cs typeface="Haffer Light"/>
              </a:rPr>
              <a:t>corruption</a:t>
            </a:r>
            <a:r>
              <a:rPr lang="de-DE">
                <a:latin typeface="Haffer Light"/>
                <a:cs typeface="Haffer Light"/>
              </a:rPr>
              <a:t>. </a:t>
            </a:r>
            <a:endParaRPr lang="de-DE" err="1"/>
          </a:p>
          <a:p>
            <a:pPr marL="342900" indent="-342900"/>
            <a:r>
              <a:rPr lang="de-DE">
                <a:latin typeface="Haffer Light"/>
                <a:cs typeface="Haffer Light"/>
              </a:rPr>
              <a:t>Standards in </a:t>
            </a:r>
            <a:r>
              <a:rPr lang="de-DE" err="1">
                <a:latin typeface="Haffer Light"/>
                <a:cs typeface="Haffer Light"/>
              </a:rPr>
              <a:t>relation</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electricity</a:t>
            </a:r>
            <a:r>
              <a:rPr lang="de-DE">
                <a:latin typeface="Haffer Light"/>
                <a:cs typeface="Haffer Light"/>
              </a:rPr>
              <a:t> </a:t>
            </a:r>
            <a:r>
              <a:rPr lang="de-DE" err="1">
                <a:latin typeface="Haffer Light"/>
                <a:cs typeface="Haffer Light"/>
              </a:rPr>
              <a:t>procurement</a:t>
            </a:r>
            <a:r>
              <a:rPr lang="de-DE">
                <a:latin typeface="Haffer Light"/>
                <a:cs typeface="Haffer Light"/>
              </a:rPr>
              <a:t>:</a:t>
            </a:r>
            <a:endParaRPr lang="de-DE" err="1"/>
          </a:p>
          <a:p>
            <a:pPr marL="800100" lvl="1" indent="-342900">
              <a:buFont typeface="Courier New" panose="020B0604020202020204" pitchFamily="34" charset="0"/>
              <a:buChar char="o"/>
            </a:pPr>
            <a:r>
              <a:rPr lang="de-DE" err="1">
                <a:latin typeface="Haffer Light"/>
                <a:cs typeface="Haffer Light"/>
              </a:rPr>
              <a:t>Renewable</a:t>
            </a:r>
            <a:r>
              <a:rPr lang="de-DE">
                <a:latin typeface="Haffer Light"/>
                <a:cs typeface="Haffer Light"/>
              </a:rPr>
              <a:t> </a:t>
            </a:r>
            <a:r>
              <a:rPr lang="de-DE" err="1">
                <a:latin typeface="Haffer Light"/>
                <a:cs typeface="Haffer Light"/>
              </a:rPr>
              <a:t>energy</a:t>
            </a:r>
            <a:r>
              <a:rPr lang="de-DE">
                <a:latin typeface="Haffer Light"/>
                <a:cs typeface="Haffer Light"/>
              </a:rPr>
              <a:t> </a:t>
            </a:r>
            <a:r>
              <a:rPr lang="de-DE" err="1">
                <a:latin typeface="Haffer Light"/>
                <a:cs typeface="Haffer Light"/>
              </a:rPr>
              <a:t>sources</a:t>
            </a:r>
            <a:endParaRPr lang="de-DE" err="1"/>
          </a:p>
          <a:p>
            <a:pPr marL="800100" lvl="1" indent="-342900">
              <a:buFont typeface="Courier New" panose="020B0604020202020204" pitchFamily="34" charset="0"/>
              <a:buChar char="o"/>
            </a:pPr>
            <a:r>
              <a:rPr lang="de-DE">
                <a:latin typeface="Haffer Light"/>
                <a:cs typeface="Haffer Light"/>
              </a:rPr>
              <a:t>Energy </a:t>
            </a:r>
            <a:r>
              <a:rPr lang="de-DE" err="1">
                <a:latin typeface="Haffer Light"/>
                <a:cs typeface="Haffer Light"/>
              </a:rPr>
              <a:t>efficiency</a:t>
            </a:r>
            <a:endParaRPr lang="de-DE" err="1"/>
          </a:p>
          <a:p>
            <a:pPr marL="800100" lvl="1" indent="-342900">
              <a:buFont typeface="Courier New" panose="020B0604020202020204" pitchFamily="34" charset="0"/>
              <a:buChar char="o"/>
            </a:pPr>
            <a:r>
              <a:rPr lang="de-DE" err="1">
                <a:latin typeface="Haffer Light"/>
                <a:cs typeface="Haffer Light"/>
              </a:rPr>
              <a:t>Sustainable</a:t>
            </a:r>
            <a:r>
              <a:rPr lang="de-DE">
                <a:latin typeface="Haffer Light"/>
                <a:cs typeface="Haffer Light"/>
              </a:rPr>
              <a:t> </a:t>
            </a:r>
            <a:r>
              <a:rPr lang="de-DE" err="1">
                <a:latin typeface="Haffer Light"/>
                <a:cs typeface="Haffer Light"/>
              </a:rPr>
              <a:t>practices</a:t>
            </a:r>
            <a:endParaRPr lang="de-DE" err="1"/>
          </a:p>
          <a:p>
            <a:pPr marL="800100" lvl="1" indent="-342900">
              <a:buFont typeface="Courier New" panose="020B0604020202020204" pitchFamily="34" charset="0"/>
              <a:buChar char="o"/>
            </a:pPr>
            <a:r>
              <a:rPr lang="de-DE">
                <a:latin typeface="Haffer Light"/>
                <a:cs typeface="Haffer Light"/>
              </a:rPr>
              <a:t>Transparency</a:t>
            </a:r>
          </a:p>
          <a:p>
            <a:pPr marL="800100" lvl="1" indent="-342900">
              <a:buFont typeface="Courier New" panose="020B0604020202020204" pitchFamily="34" charset="0"/>
              <a:buChar char="o"/>
            </a:pPr>
            <a:r>
              <a:rPr lang="de-DE">
                <a:latin typeface="Haffer Light"/>
                <a:cs typeface="Haffer Light"/>
              </a:rPr>
              <a:t>Climate </a:t>
            </a:r>
            <a:r>
              <a:rPr lang="de-DE" err="1">
                <a:latin typeface="Haffer Light"/>
                <a:cs typeface="Haffer Light"/>
              </a:rPr>
              <a:t>protection</a:t>
            </a:r>
            <a:r>
              <a:rPr lang="de-DE">
                <a:latin typeface="Haffer Light"/>
                <a:cs typeface="Haffer Light"/>
              </a:rPr>
              <a:t> </a:t>
            </a:r>
            <a:r>
              <a:rPr lang="de-DE" err="1">
                <a:latin typeface="Haffer Light"/>
                <a:cs typeface="Haffer Light"/>
              </a:rPr>
              <a:t>measures</a:t>
            </a:r>
          </a:p>
          <a:p>
            <a:pPr marL="800100" lvl="1" indent="-342900">
              <a:buFont typeface="Courier New" panose="020B0604020202020204" pitchFamily="34" charset="0"/>
              <a:buChar char="o"/>
            </a:pPr>
            <a:r>
              <a:rPr lang="de-DE" err="1">
                <a:latin typeface="Haffer Light"/>
                <a:cs typeface="Haffer Light"/>
              </a:rPr>
              <a:t>Investing</a:t>
            </a:r>
            <a:r>
              <a:rPr lang="de-DE">
                <a:latin typeface="Haffer Light"/>
                <a:cs typeface="Haffer Light"/>
              </a:rPr>
              <a:t> in </a:t>
            </a:r>
            <a:r>
              <a:rPr lang="de-DE" err="1">
                <a:latin typeface="Haffer Light"/>
                <a:cs typeface="Haffer Light"/>
              </a:rPr>
              <a:t>sustainable</a:t>
            </a:r>
            <a:r>
              <a:rPr lang="de-DE">
                <a:latin typeface="Haffer Light"/>
                <a:cs typeface="Haffer Light"/>
              </a:rPr>
              <a:t> </a:t>
            </a:r>
            <a:r>
              <a:rPr lang="de-DE" err="1">
                <a:latin typeface="Haffer Light"/>
                <a:cs typeface="Haffer Light"/>
              </a:rPr>
              <a:t>energy</a:t>
            </a:r>
            <a:endParaRPr lang="de-DE" err="1"/>
          </a:p>
          <a:p>
            <a:pPr marL="800100" lvl="1" indent="-342900">
              <a:buFont typeface="Courier New" panose="020B0604020202020204" pitchFamily="34" charset="0"/>
              <a:buChar char="o"/>
            </a:pPr>
            <a:r>
              <a:rPr lang="de-DE">
                <a:latin typeface="Haffer Light"/>
                <a:cs typeface="Haffer Light"/>
              </a:rPr>
              <a:t>Reporting on environmental </a:t>
            </a:r>
            <a:r>
              <a:rPr lang="de-DE" err="1">
                <a:latin typeface="Haffer Light"/>
                <a:cs typeface="Haffer Light"/>
              </a:rPr>
              <a:t>performance</a:t>
            </a:r>
            <a:endParaRPr lang="de-DE" err="1"/>
          </a:p>
          <a:p>
            <a:pPr marL="0" indent="0">
              <a:buNone/>
            </a:pPr>
            <a:endParaRPr lang="de-DE" b="1"/>
          </a:p>
          <a:p>
            <a:pPr marL="0" indent="0">
              <a:buNone/>
            </a:pPr>
            <a:endParaRPr lang="de-DE" b="1"/>
          </a:p>
        </p:txBody>
      </p:sp>
    </p:spTree>
    <p:extLst>
      <p:ext uri="{BB962C8B-B14F-4D97-AF65-F5344CB8AC3E}">
        <p14:creationId xmlns:p14="http://schemas.microsoft.com/office/powerpoint/2010/main" val="37194907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A92FF065-3C02-4611-B6DF-0BCC1F7A8E16}"/>
              </a:ext>
            </a:extLst>
          </p:cNvPr>
          <p:cNvSpPr>
            <a:spLocks noGrp="1"/>
          </p:cNvSpPr>
          <p:nvPr>
            <p:ph type="body" sz="quarter" idx="10"/>
          </p:nvPr>
        </p:nvSpPr>
        <p:spPr/>
        <p:txBody>
          <a:bodyPr lIns="91440" tIns="45720" rIns="91440" bIns="45720" anchor="b"/>
          <a:lstStyle/>
          <a:p>
            <a:r>
              <a:rPr lang="de-DE">
                <a:latin typeface="Haffer"/>
                <a:cs typeface="Haffer"/>
              </a:rPr>
              <a:t>RE-100 </a:t>
            </a:r>
            <a:r>
              <a:rPr lang="de-DE" err="1">
                <a:latin typeface="Haffer"/>
                <a:cs typeface="Haffer"/>
              </a:rPr>
              <a:t>initative</a:t>
            </a:r>
          </a:p>
        </p:txBody>
      </p:sp>
      <p:sp>
        <p:nvSpPr>
          <p:cNvPr id="2" name="Textplatzhalter 1">
            <a:extLst>
              <a:ext uri="{FF2B5EF4-FFF2-40B4-BE49-F238E27FC236}">
                <a16:creationId xmlns:a16="http://schemas.microsoft.com/office/drawing/2014/main" id="{F698404D-9260-2C36-E4AD-EFD78FB2E926}"/>
              </a:ext>
            </a:extLst>
          </p:cNvPr>
          <p:cNvSpPr>
            <a:spLocks noGrp="1"/>
          </p:cNvSpPr>
          <p:nvPr>
            <p:ph type="body" sz="quarter" idx="11"/>
          </p:nvPr>
        </p:nvSpPr>
        <p:spPr/>
        <p:txBody>
          <a:bodyPr lIns="91440" tIns="45720" rIns="91440" bIns="45720" anchor="b"/>
          <a:lstStyle/>
          <a:p>
            <a:r>
              <a:rPr lang="de-DE">
                <a:latin typeface="Haffer"/>
                <a:cs typeface="Haffer"/>
              </a:rPr>
              <a:t>Corporate </a:t>
            </a:r>
            <a:r>
              <a:rPr lang="de-DE" err="1">
                <a:latin typeface="Haffer"/>
                <a:cs typeface="Haffer"/>
              </a:rPr>
              <a:t>Social</a:t>
            </a:r>
            <a:r>
              <a:rPr lang="de-DE">
                <a:latin typeface="Haffer"/>
                <a:cs typeface="Haffer"/>
              </a:rPr>
              <a:t> </a:t>
            </a:r>
            <a:r>
              <a:rPr lang="de-DE" err="1">
                <a:latin typeface="Haffer"/>
                <a:cs typeface="Haffer"/>
              </a:rPr>
              <a:t>Responsibility</a:t>
            </a:r>
            <a:r>
              <a:rPr lang="de-DE">
                <a:latin typeface="Haffer"/>
                <a:cs typeface="Haffer"/>
              </a:rPr>
              <a:t> </a:t>
            </a:r>
            <a:r>
              <a:rPr lang="de-DE" err="1">
                <a:latin typeface="Haffer"/>
                <a:cs typeface="Haffer"/>
              </a:rPr>
              <a:t>regulation</a:t>
            </a:r>
            <a:r>
              <a:rPr lang="de-DE">
                <a:latin typeface="Haffer"/>
                <a:cs typeface="Haffer"/>
              </a:rPr>
              <a:t> in Europe</a:t>
            </a:r>
            <a:endParaRPr lang="de-DE">
              <a:solidFill>
                <a:srgbClr val="000000"/>
              </a:solidFill>
              <a:latin typeface="Haffer"/>
              <a:cs typeface="Haffer"/>
            </a:endParaRPr>
          </a:p>
        </p:txBody>
      </p:sp>
      <p:sp>
        <p:nvSpPr>
          <p:cNvPr id="5" name="Textplatzhalter 4">
            <a:extLst>
              <a:ext uri="{FF2B5EF4-FFF2-40B4-BE49-F238E27FC236}">
                <a16:creationId xmlns:a16="http://schemas.microsoft.com/office/drawing/2014/main" id="{1BA6003D-3613-AD71-0E7F-50AF754C1B23}"/>
              </a:ext>
            </a:extLst>
          </p:cNvPr>
          <p:cNvSpPr>
            <a:spLocks noGrp="1"/>
          </p:cNvSpPr>
          <p:nvPr>
            <p:ph type="body" sz="quarter" idx="16"/>
          </p:nvPr>
        </p:nvSpPr>
        <p:spPr/>
        <p:txBody>
          <a:bodyPr lIns="91440" tIns="45720" rIns="91440" bIns="45720" anchor="t"/>
          <a:lstStyle/>
          <a:p>
            <a:pPr marL="342900" indent="-342900"/>
            <a:r>
              <a:rPr lang="de-DE">
                <a:latin typeface="Haffer Light"/>
                <a:cs typeface="Haffer Light"/>
              </a:rPr>
              <a:t>Global initiative </a:t>
            </a:r>
            <a:r>
              <a:rPr lang="de-DE" err="1">
                <a:latin typeface="Haffer Light"/>
                <a:cs typeface="Haffer Light"/>
              </a:rPr>
              <a:t>supported</a:t>
            </a:r>
            <a:r>
              <a:rPr lang="de-DE">
                <a:latin typeface="Haffer Light"/>
                <a:cs typeface="Haffer Light"/>
              </a:rPr>
              <a:t> </a:t>
            </a:r>
            <a:r>
              <a:rPr lang="de-DE" err="1">
                <a:latin typeface="Haffer Light"/>
                <a:cs typeface="Haffer Light"/>
              </a:rPr>
              <a:t>by</a:t>
            </a:r>
            <a:r>
              <a:rPr lang="de-DE">
                <a:latin typeface="Haffer Light"/>
                <a:cs typeface="Haffer Light"/>
              </a:rPr>
              <a:t> </a:t>
            </a:r>
            <a:r>
              <a:rPr lang="de-DE" err="1">
                <a:latin typeface="Haffer Light"/>
                <a:cs typeface="Haffer Light"/>
              </a:rPr>
              <a:t>some</a:t>
            </a:r>
            <a:r>
              <a:rPr lang="de-DE">
                <a:latin typeface="Haffer Light"/>
                <a:cs typeface="Haffer Light"/>
              </a:rPr>
              <a:t> </a:t>
            </a:r>
            <a:r>
              <a:rPr lang="de-DE" err="1">
                <a:latin typeface="Haffer Light"/>
                <a:cs typeface="Haffer Light"/>
              </a:rPr>
              <a:t>of</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world’s</a:t>
            </a:r>
            <a:r>
              <a:rPr lang="de-DE">
                <a:latin typeface="Haffer Light"/>
                <a:cs typeface="Haffer Light"/>
              </a:rPr>
              <a:t> </a:t>
            </a:r>
            <a:r>
              <a:rPr lang="de-DE" err="1">
                <a:latin typeface="Haffer Light"/>
                <a:cs typeface="Haffer Light"/>
              </a:rPr>
              <a:t>most</a:t>
            </a:r>
            <a:r>
              <a:rPr lang="de-DE">
                <a:latin typeface="Haffer Light"/>
                <a:cs typeface="Haffer Light"/>
              </a:rPr>
              <a:t> </a:t>
            </a:r>
            <a:r>
              <a:rPr lang="de-DE" err="1">
                <a:latin typeface="Haffer Light"/>
                <a:cs typeface="Haffer Light"/>
              </a:rPr>
              <a:t>influential</a:t>
            </a:r>
            <a:r>
              <a:rPr lang="de-DE">
                <a:latin typeface="Haffer Light"/>
                <a:cs typeface="Haffer Light"/>
              </a:rPr>
              <a:t> </a:t>
            </a:r>
            <a:r>
              <a:rPr lang="de-DE" err="1">
                <a:latin typeface="Haffer Light"/>
                <a:cs typeface="Haffer Light"/>
              </a:rPr>
              <a:t>companies</a:t>
            </a:r>
            <a:r>
              <a:rPr lang="de-DE">
                <a:latin typeface="Haffer Light"/>
                <a:cs typeface="Haffer Light"/>
              </a:rPr>
              <a:t> and </a:t>
            </a:r>
            <a:r>
              <a:rPr lang="de-DE" err="1">
                <a:latin typeface="Haffer Light"/>
                <a:cs typeface="Haffer Light"/>
              </a:rPr>
              <a:t>launched</a:t>
            </a:r>
            <a:r>
              <a:rPr lang="de-DE">
                <a:latin typeface="Haffer Light"/>
                <a:cs typeface="Haffer Light"/>
              </a:rPr>
              <a:t> </a:t>
            </a:r>
            <a:r>
              <a:rPr lang="de-DE" err="1">
                <a:latin typeface="Haffer Light"/>
                <a:cs typeface="Haffer Light"/>
              </a:rPr>
              <a:t>by</a:t>
            </a:r>
            <a:r>
              <a:rPr lang="de-DE">
                <a:latin typeface="Haffer Light"/>
                <a:cs typeface="Haffer Light"/>
              </a:rPr>
              <a:t> </a:t>
            </a:r>
            <a:r>
              <a:rPr lang="de-DE" err="1">
                <a:latin typeface="Haffer Light"/>
                <a:cs typeface="Haffer Light"/>
              </a:rPr>
              <a:t>the</a:t>
            </a:r>
            <a:r>
              <a:rPr lang="de-DE">
                <a:latin typeface="Haffer Light"/>
                <a:cs typeface="Haffer Light"/>
              </a:rPr>
              <a:t> </a:t>
            </a:r>
            <a:r>
              <a:rPr lang="de-DE" err="1">
                <a:latin typeface="Haffer Light"/>
                <a:cs typeface="Haffer Light"/>
              </a:rPr>
              <a:t>nonprofit</a:t>
            </a:r>
            <a:r>
              <a:rPr lang="de-DE">
                <a:latin typeface="Haffer Light"/>
                <a:cs typeface="Haffer Light"/>
              </a:rPr>
              <a:t> Climate Group in </a:t>
            </a:r>
            <a:r>
              <a:rPr lang="de-DE" err="1">
                <a:latin typeface="Haffer Light"/>
                <a:cs typeface="Haffer Light"/>
              </a:rPr>
              <a:t>collaboration</a:t>
            </a:r>
            <a:r>
              <a:rPr lang="de-DE">
                <a:latin typeface="Haffer Light"/>
                <a:cs typeface="Haffer Light"/>
              </a:rPr>
              <a:t> </a:t>
            </a:r>
            <a:r>
              <a:rPr lang="de-DE" err="1">
                <a:latin typeface="Haffer Light"/>
                <a:cs typeface="Haffer Light"/>
              </a:rPr>
              <a:t>with</a:t>
            </a:r>
            <a:r>
              <a:rPr lang="de-DE">
                <a:latin typeface="Haffer Light"/>
                <a:cs typeface="Haffer Light"/>
              </a:rPr>
              <a:t> </a:t>
            </a:r>
            <a:r>
              <a:rPr lang="de-DE" err="1">
                <a:latin typeface="Haffer Light"/>
                <a:cs typeface="Haffer Light"/>
              </a:rPr>
              <a:t>the</a:t>
            </a:r>
            <a:r>
              <a:rPr lang="de-DE">
                <a:latin typeface="Haffer Light"/>
                <a:cs typeface="Haffer Light"/>
              </a:rPr>
              <a:t> Carbon Disclosure Project (CDP) </a:t>
            </a:r>
            <a:endParaRPr lang="de-DE"/>
          </a:p>
          <a:p>
            <a:pPr marL="342900" indent="-342900"/>
            <a:r>
              <a:rPr lang="de-DE">
                <a:latin typeface="Haffer Light"/>
                <a:cs typeface="Haffer Light"/>
              </a:rPr>
              <a:t>Standards in </a:t>
            </a:r>
            <a:r>
              <a:rPr lang="de-DE" err="1">
                <a:latin typeface="Haffer Light"/>
                <a:cs typeface="Haffer Light"/>
              </a:rPr>
              <a:t>relation</a:t>
            </a:r>
            <a:r>
              <a:rPr lang="de-DE">
                <a:latin typeface="Haffer Light"/>
                <a:cs typeface="Haffer Light"/>
              </a:rPr>
              <a:t> </a:t>
            </a:r>
            <a:r>
              <a:rPr lang="de-DE" err="1">
                <a:latin typeface="Haffer Light"/>
                <a:cs typeface="Haffer Light"/>
              </a:rPr>
              <a:t>to</a:t>
            </a:r>
            <a:r>
              <a:rPr lang="de-DE">
                <a:latin typeface="Haffer Light"/>
                <a:cs typeface="Haffer Light"/>
              </a:rPr>
              <a:t> “</a:t>
            </a:r>
            <a:r>
              <a:rPr lang="de-DE" err="1">
                <a:latin typeface="Haffer Light"/>
                <a:cs typeface="Haffer Light"/>
              </a:rPr>
              <a:t>green</a:t>
            </a:r>
            <a:r>
              <a:rPr lang="de-DE">
                <a:latin typeface="Haffer Light"/>
                <a:cs typeface="Haffer Light"/>
              </a:rPr>
              <a:t>” </a:t>
            </a:r>
            <a:r>
              <a:rPr lang="de-DE" err="1">
                <a:latin typeface="Haffer Light"/>
                <a:cs typeface="Haffer Light"/>
              </a:rPr>
              <a:t>energies</a:t>
            </a:r>
            <a:r>
              <a:rPr lang="de-DE">
                <a:latin typeface="Haffer Light"/>
                <a:cs typeface="Haffer Light"/>
              </a:rPr>
              <a:t>:</a:t>
            </a:r>
          </a:p>
          <a:p>
            <a:pPr marL="800100" lvl="1" indent="-342900">
              <a:buFont typeface="Courier New" panose="020B0604020202020204" pitchFamily="34" charset="0"/>
              <a:buChar char="o"/>
            </a:pPr>
            <a:r>
              <a:rPr lang="de-DE" err="1">
                <a:latin typeface="Haffer Light"/>
                <a:cs typeface="Haffer Light"/>
              </a:rPr>
              <a:t>Commitment</a:t>
            </a:r>
            <a:r>
              <a:rPr lang="de-DE">
                <a:latin typeface="Haffer Light"/>
                <a:cs typeface="Haffer Light"/>
              </a:rPr>
              <a:t> </a:t>
            </a:r>
            <a:r>
              <a:rPr lang="de-DE" err="1">
                <a:latin typeface="Haffer Light"/>
                <a:cs typeface="Haffer Light"/>
              </a:rPr>
              <a:t>to</a:t>
            </a:r>
            <a:r>
              <a:rPr lang="de-DE">
                <a:latin typeface="Haffer Light"/>
                <a:cs typeface="Haffer Light"/>
              </a:rPr>
              <a:t> 100% </a:t>
            </a:r>
            <a:r>
              <a:rPr lang="de-DE" err="1">
                <a:latin typeface="Haffer Light"/>
                <a:cs typeface="Haffer Light"/>
              </a:rPr>
              <a:t>renewable</a:t>
            </a:r>
            <a:r>
              <a:rPr lang="de-DE">
                <a:latin typeface="Haffer Light"/>
                <a:cs typeface="Haffer Light"/>
              </a:rPr>
              <a:t> </a:t>
            </a:r>
            <a:r>
              <a:rPr lang="de-DE" err="1">
                <a:latin typeface="Haffer Light"/>
                <a:cs typeface="Haffer Light"/>
              </a:rPr>
              <a:t>energy</a:t>
            </a:r>
            <a:endParaRPr lang="de-DE">
              <a:latin typeface="Haffer Light"/>
              <a:cs typeface="Haffer Light"/>
            </a:endParaRPr>
          </a:p>
          <a:p>
            <a:pPr marL="800100" lvl="1" indent="-342900">
              <a:buFont typeface="Courier New" panose="020B0604020202020204" pitchFamily="34" charset="0"/>
              <a:buChar char="o"/>
            </a:pPr>
            <a:r>
              <a:rPr lang="de-DE">
                <a:latin typeface="Haffer Light"/>
                <a:cs typeface="Haffer Light"/>
              </a:rPr>
              <a:t>Transparent </a:t>
            </a:r>
            <a:r>
              <a:rPr lang="de-DE" err="1">
                <a:latin typeface="Haffer Light"/>
                <a:cs typeface="Haffer Light"/>
              </a:rPr>
              <a:t>reporting</a:t>
            </a:r>
            <a:endParaRPr lang="de-DE">
              <a:latin typeface="Haffer Light"/>
              <a:cs typeface="Haffer Light"/>
            </a:endParaRPr>
          </a:p>
          <a:p>
            <a:pPr marL="800100" lvl="1" indent="-342900">
              <a:buFont typeface="Courier New" panose="020B0604020202020204" pitchFamily="34" charset="0"/>
              <a:buChar char="o"/>
            </a:pPr>
            <a:r>
              <a:rPr lang="de-DE">
                <a:latin typeface="Haffer Light"/>
                <a:cs typeface="Haffer Light"/>
              </a:rPr>
              <a:t>Definition </a:t>
            </a:r>
            <a:r>
              <a:rPr lang="de-DE" err="1">
                <a:latin typeface="Haffer Light"/>
                <a:cs typeface="Haffer Light"/>
              </a:rPr>
              <a:t>of</a:t>
            </a:r>
            <a:r>
              <a:rPr lang="de-DE">
                <a:latin typeface="Haffer Light"/>
                <a:cs typeface="Haffer Light"/>
              </a:rPr>
              <a:t> </a:t>
            </a:r>
            <a:r>
              <a:rPr lang="de-DE" err="1">
                <a:latin typeface="Haffer Light"/>
                <a:cs typeface="Haffer Light"/>
              </a:rPr>
              <a:t>renewable</a:t>
            </a:r>
            <a:r>
              <a:rPr lang="de-DE">
                <a:latin typeface="Haffer Light"/>
                <a:cs typeface="Haffer Light"/>
              </a:rPr>
              <a:t> </a:t>
            </a:r>
            <a:r>
              <a:rPr lang="de-DE" err="1">
                <a:latin typeface="Haffer Light"/>
                <a:cs typeface="Haffer Light"/>
              </a:rPr>
              <a:t>energy</a:t>
            </a:r>
            <a:endParaRPr lang="de-DE">
              <a:latin typeface="Haffer Light"/>
              <a:cs typeface="Haffer Light"/>
            </a:endParaRPr>
          </a:p>
          <a:p>
            <a:pPr marL="800100" lvl="1" indent="-342900">
              <a:buFont typeface="Courier New" panose="020B0604020202020204" pitchFamily="34" charset="0"/>
              <a:buChar char="o"/>
            </a:pPr>
            <a:r>
              <a:rPr lang="de-DE" err="1">
                <a:latin typeface="Haffer Light"/>
                <a:cs typeface="Haffer Light"/>
              </a:rPr>
              <a:t>Credible</a:t>
            </a:r>
            <a:r>
              <a:rPr lang="de-DE">
                <a:latin typeface="Haffer Light"/>
                <a:cs typeface="Haffer Light"/>
              </a:rPr>
              <a:t> </a:t>
            </a:r>
            <a:r>
              <a:rPr lang="de-DE" err="1">
                <a:latin typeface="Haffer Light"/>
                <a:cs typeface="Haffer Light"/>
              </a:rPr>
              <a:t>evidence</a:t>
            </a:r>
            <a:endParaRPr lang="de-DE">
              <a:latin typeface="Haffer Light"/>
              <a:cs typeface="Haffer Light"/>
            </a:endParaRPr>
          </a:p>
          <a:p>
            <a:pPr marL="800100" lvl="1" indent="-342900">
              <a:buFont typeface="Courier New" panose="020B0604020202020204" pitchFamily="34" charset="0"/>
              <a:buChar char="o"/>
            </a:pPr>
            <a:r>
              <a:rPr lang="de-DE">
                <a:latin typeface="Haffer Light"/>
                <a:cs typeface="Haffer Light"/>
              </a:rPr>
              <a:t>Strategic </a:t>
            </a:r>
            <a:r>
              <a:rPr lang="de-DE" err="1">
                <a:latin typeface="Haffer Light"/>
                <a:cs typeface="Haffer Light"/>
              </a:rPr>
              <a:t>planning</a:t>
            </a:r>
            <a:endParaRPr lang="de-DE">
              <a:latin typeface="Haffer Light"/>
              <a:cs typeface="Haffer Light"/>
            </a:endParaRPr>
          </a:p>
          <a:p>
            <a:pPr marL="800100" lvl="1" indent="-342900">
              <a:buFont typeface="Courier New" panose="020B0604020202020204" pitchFamily="34" charset="0"/>
              <a:buChar char="o"/>
            </a:pPr>
            <a:r>
              <a:rPr lang="de-DE">
                <a:latin typeface="Haffer Light"/>
                <a:cs typeface="Haffer Light"/>
              </a:rPr>
              <a:t>Global </a:t>
            </a:r>
            <a:r>
              <a:rPr lang="de-DE" err="1">
                <a:latin typeface="Haffer Light"/>
                <a:cs typeface="Haffer Light"/>
              </a:rPr>
              <a:t>approach</a:t>
            </a:r>
            <a:endParaRPr lang="de-DE">
              <a:latin typeface="Haffer Light"/>
              <a:cs typeface="Haffer Light"/>
            </a:endParaRPr>
          </a:p>
          <a:p>
            <a:pPr marL="342900" indent="-342900"/>
            <a:r>
              <a:rPr lang="de-DE">
                <a:latin typeface="Haffer Light"/>
                <a:cs typeface="Haffer Light"/>
              </a:rPr>
              <a:t>RE-100 initiative </a:t>
            </a:r>
            <a:r>
              <a:rPr lang="de-DE" err="1">
                <a:latin typeface="Haffer Light"/>
                <a:cs typeface="Haffer Light"/>
              </a:rPr>
              <a:t>ensures</a:t>
            </a:r>
            <a:r>
              <a:rPr lang="de-DE">
                <a:latin typeface="Haffer Light"/>
                <a:cs typeface="Haffer Light"/>
              </a:rPr>
              <a:t> </a:t>
            </a:r>
            <a:r>
              <a:rPr lang="de-DE" err="1">
                <a:latin typeface="Haffer Light"/>
                <a:cs typeface="Haffer Light"/>
              </a:rPr>
              <a:t>that</a:t>
            </a:r>
            <a:r>
              <a:rPr lang="de-DE">
                <a:latin typeface="Haffer Light"/>
                <a:cs typeface="Haffer Light"/>
              </a:rPr>
              <a:t> ist </a:t>
            </a:r>
            <a:r>
              <a:rPr lang="de-DE" err="1">
                <a:latin typeface="Haffer Light"/>
                <a:cs typeface="Haffer Light"/>
              </a:rPr>
              <a:t>members</a:t>
            </a:r>
            <a:r>
              <a:rPr lang="de-DE">
                <a:latin typeface="Haffer Light"/>
                <a:cs typeface="Haffer Light"/>
              </a:rPr>
              <a:t> not </a:t>
            </a:r>
            <a:r>
              <a:rPr lang="de-DE" err="1">
                <a:latin typeface="Haffer Light"/>
                <a:cs typeface="Haffer Light"/>
              </a:rPr>
              <a:t>only</a:t>
            </a:r>
            <a:r>
              <a:rPr lang="de-DE">
                <a:latin typeface="Haffer Light"/>
                <a:cs typeface="Haffer Light"/>
              </a:rPr>
              <a:t> </a:t>
            </a:r>
            <a:r>
              <a:rPr lang="de-DE" err="1">
                <a:latin typeface="Haffer Light"/>
                <a:cs typeface="Haffer Light"/>
              </a:rPr>
              <a:t>make</a:t>
            </a:r>
            <a:r>
              <a:rPr lang="de-DE">
                <a:latin typeface="Haffer Light"/>
                <a:cs typeface="Haffer Light"/>
              </a:rPr>
              <a:t> </a:t>
            </a:r>
            <a:r>
              <a:rPr lang="de-DE" err="1">
                <a:latin typeface="Haffer Light"/>
                <a:cs typeface="Haffer Light"/>
              </a:rPr>
              <a:t>symbolic</a:t>
            </a:r>
            <a:r>
              <a:rPr lang="de-DE">
                <a:latin typeface="Haffer Light"/>
                <a:cs typeface="Haffer Light"/>
              </a:rPr>
              <a:t> </a:t>
            </a:r>
            <a:r>
              <a:rPr lang="de-DE" err="1">
                <a:latin typeface="Haffer Light"/>
                <a:cs typeface="Haffer Light"/>
              </a:rPr>
              <a:t>commitments</a:t>
            </a:r>
            <a:r>
              <a:rPr lang="de-DE">
                <a:latin typeface="Haffer Light"/>
                <a:cs typeface="Haffer Light"/>
              </a:rPr>
              <a:t>, but </a:t>
            </a:r>
            <a:r>
              <a:rPr lang="de-DE" err="1">
                <a:latin typeface="Haffer Light"/>
                <a:cs typeface="Haffer Light"/>
              </a:rPr>
              <a:t>take</a:t>
            </a:r>
            <a:r>
              <a:rPr lang="de-DE">
                <a:latin typeface="Haffer Light"/>
                <a:cs typeface="Haffer Light"/>
              </a:rPr>
              <a:t> </a:t>
            </a:r>
            <a:r>
              <a:rPr lang="de-DE" err="1">
                <a:latin typeface="Haffer Light"/>
                <a:cs typeface="Haffer Light"/>
              </a:rPr>
              <a:t>concrete</a:t>
            </a:r>
            <a:r>
              <a:rPr lang="de-DE">
                <a:latin typeface="Haffer Light"/>
                <a:cs typeface="Haffer Light"/>
              </a:rPr>
              <a:t>, </a:t>
            </a:r>
            <a:r>
              <a:rPr lang="de-DE" err="1">
                <a:latin typeface="Haffer Light"/>
                <a:cs typeface="Haffer Light"/>
              </a:rPr>
              <a:t>verifiable</a:t>
            </a:r>
            <a:r>
              <a:rPr lang="de-DE">
                <a:latin typeface="Haffer Light"/>
                <a:cs typeface="Haffer Light"/>
              </a:rPr>
              <a:t> </a:t>
            </a:r>
            <a:r>
              <a:rPr lang="de-DE" err="1">
                <a:latin typeface="Haffer Light"/>
                <a:cs typeface="Haffer Light"/>
              </a:rPr>
              <a:t>steps</a:t>
            </a:r>
            <a:r>
              <a:rPr lang="de-DE">
                <a:latin typeface="Haffer Light"/>
                <a:cs typeface="Haffer Light"/>
              </a:rPr>
              <a:t> </a:t>
            </a:r>
            <a:r>
              <a:rPr lang="de-DE" err="1">
                <a:latin typeface="Haffer Light"/>
                <a:cs typeface="Haffer Light"/>
              </a:rPr>
              <a:t>towards</a:t>
            </a:r>
            <a:r>
              <a:rPr lang="de-DE">
                <a:latin typeface="Haffer Light"/>
                <a:cs typeface="Haffer Light"/>
              </a:rPr>
              <a:t> </a:t>
            </a:r>
            <a:r>
              <a:rPr lang="de-DE" err="1">
                <a:latin typeface="Haffer Light"/>
                <a:cs typeface="Haffer Light"/>
              </a:rPr>
              <a:t>achieving</a:t>
            </a:r>
            <a:r>
              <a:rPr lang="de-DE">
                <a:latin typeface="Haffer Light"/>
                <a:cs typeface="Haffer Light"/>
              </a:rPr>
              <a:t> a </a:t>
            </a:r>
            <a:r>
              <a:rPr lang="de-DE" err="1">
                <a:latin typeface="Haffer Light"/>
                <a:cs typeface="Haffer Light"/>
              </a:rPr>
              <a:t>sustainable</a:t>
            </a:r>
            <a:r>
              <a:rPr lang="de-DE">
                <a:latin typeface="Haffer Light"/>
                <a:cs typeface="Haffer Light"/>
              </a:rPr>
              <a:t> and </a:t>
            </a:r>
            <a:r>
              <a:rPr lang="de-DE" err="1">
                <a:latin typeface="Haffer Light"/>
                <a:cs typeface="Haffer Light"/>
              </a:rPr>
              <a:t>renewable</a:t>
            </a:r>
            <a:r>
              <a:rPr lang="de-DE">
                <a:latin typeface="Haffer Light"/>
                <a:cs typeface="Haffer Light"/>
              </a:rPr>
              <a:t> </a:t>
            </a:r>
            <a:r>
              <a:rPr lang="de-DE" err="1">
                <a:latin typeface="Haffer Light"/>
                <a:cs typeface="Haffer Light"/>
              </a:rPr>
              <a:t>energy</a:t>
            </a:r>
            <a:r>
              <a:rPr lang="de-DE">
                <a:latin typeface="Haffer Light"/>
                <a:cs typeface="Haffer Light"/>
              </a:rPr>
              <a:t> </a:t>
            </a:r>
            <a:r>
              <a:rPr lang="de-DE" err="1">
                <a:latin typeface="Haffer Light"/>
                <a:cs typeface="Haffer Light"/>
              </a:rPr>
              <a:t>future</a:t>
            </a:r>
            <a:r>
              <a:rPr lang="de-DE">
                <a:latin typeface="Haffer Light"/>
                <a:cs typeface="Haffer Light"/>
              </a:rPr>
              <a:t>.</a:t>
            </a:r>
            <a:endParaRPr lang="de-DE"/>
          </a:p>
          <a:p>
            <a:pPr marL="0" indent="0">
              <a:buNone/>
            </a:pPr>
            <a:endParaRPr lang="de-DE" b="1"/>
          </a:p>
        </p:txBody>
      </p:sp>
    </p:spTree>
    <p:extLst>
      <p:ext uri="{BB962C8B-B14F-4D97-AF65-F5344CB8AC3E}">
        <p14:creationId xmlns:p14="http://schemas.microsoft.com/office/powerpoint/2010/main" val="10719198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815F392E-5041-EEEC-B5FF-796166749ACA}"/>
              </a:ext>
            </a:extLst>
          </p:cNvPr>
          <p:cNvSpPr>
            <a:spLocks noGrp="1"/>
          </p:cNvSpPr>
          <p:nvPr>
            <p:ph type="body" sz="quarter" idx="10"/>
          </p:nvPr>
        </p:nvSpPr>
        <p:spPr/>
        <p:txBody>
          <a:bodyPr/>
          <a:lstStyle/>
          <a:p>
            <a:r>
              <a:rPr lang="de-DE" err="1"/>
              <a:t>Types</a:t>
            </a:r>
            <a:r>
              <a:rPr lang="de-DE"/>
              <a:t> </a:t>
            </a:r>
            <a:r>
              <a:rPr lang="de-DE" err="1"/>
              <a:t>of</a:t>
            </a:r>
            <a:r>
              <a:rPr lang="de-DE"/>
              <a:t> </a:t>
            </a:r>
            <a:r>
              <a:rPr lang="de-DE" err="1"/>
              <a:t>green</a:t>
            </a:r>
            <a:r>
              <a:rPr lang="de-DE"/>
              <a:t> PPAs</a:t>
            </a:r>
            <a:endParaRPr lang="nb-NO"/>
          </a:p>
        </p:txBody>
      </p:sp>
      <p:sp>
        <p:nvSpPr>
          <p:cNvPr id="3" name="Plassholder for tekst 2">
            <a:extLst>
              <a:ext uri="{FF2B5EF4-FFF2-40B4-BE49-F238E27FC236}">
                <a16:creationId xmlns:a16="http://schemas.microsoft.com/office/drawing/2014/main" id="{24F55A5E-62E1-90AF-EAF2-17B6BA68CE72}"/>
              </a:ext>
            </a:extLst>
          </p:cNvPr>
          <p:cNvSpPr>
            <a:spLocks noGrp="1"/>
          </p:cNvSpPr>
          <p:nvPr>
            <p:ph type="body" sz="quarter" idx="11"/>
          </p:nvPr>
        </p:nvSpPr>
        <p:spPr/>
        <p:txBody>
          <a:bodyPr lIns="91440" tIns="45720" rIns="91440" bIns="45720" anchor="b"/>
          <a:lstStyle/>
          <a:p>
            <a:r>
              <a:rPr lang="en-US">
                <a:latin typeface="Haffer"/>
                <a:cs typeface="Haffer"/>
              </a:rPr>
              <a:t>Importance of the CSR regulation for the purchase of electricity by companies through PPAs</a:t>
            </a:r>
          </a:p>
        </p:txBody>
      </p:sp>
      <p:sp>
        <p:nvSpPr>
          <p:cNvPr id="6" name="Textplatzhalter 3">
            <a:extLst>
              <a:ext uri="{FF2B5EF4-FFF2-40B4-BE49-F238E27FC236}">
                <a16:creationId xmlns:a16="http://schemas.microsoft.com/office/drawing/2014/main" id="{462575C7-06A6-5224-EFA8-8868CE8BFC1E}"/>
              </a:ext>
            </a:extLst>
          </p:cNvPr>
          <p:cNvSpPr txBox="1">
            <a:spLocks/>
          </p:cNvSpPr>
          <p:nvPr/>
        </p:nvSpPr>
        <p:spPr bwMode="auto">
          <a:xfrm rot="16200000">
            <a:off x="5042274" y="4119748"/>
            <a:ext cx="4604830" cy="318716"/>
          </a:xfrm>
          <a:prstGeom prst="roundRect">
            <a:avLst/>
          </a:prstGeom>
          <a:solidFill>
            <a:srgbClr val="022E33"/>
          </a:solidFill>
          <a:ln>
            <a:solidFill>
              <a:srgbClr val="022E33"/>
            </a:solidFill>
          </a:ln>
        </p:spPr>
        <p:txBody>
          <a:bodyPr vert="horz" wrap="square" lIns="90000" tIns="45720" rIns="0" bIns="45720" numCol="1" anchor="ctr" anchorCtr="0" compatLnSpc="1">
            <a:prstTxWarp prst="textNoShape">
              <a:avLst/>
            </a:prstTxWarp>
          </a:bodyPr>
          <a:lstStyle>
            <a:lvl1pPr marL="285750" indent="-285750" algn="l" rtl="0" eaLnBrk="1" fontAlgn="base" hangingPunct="1">
              <a:spcBef>
                <a:spcPct val="20000"/>
              </a:spcBef>
              <a:spcAft>
                <a:spcPct val="0"/>
              </a:spcAft>
              <a:buFont typeface="Wingdings" pitchFamily="2" charset="2"/>
              <a:buNone/>
              <a:defRPr lang="de-DE" kern="1200" dirty="0">
                <a:solidFill>
                  <a:schemeClr val="bg1"/>
                </a:solidFill>
                <a:latin typeface="PT Sans" panose="020B0503020203020204" pitchFamily="34" charset="0"/>
                <a:ea typeface="PT Sans" panose="020B0503020203020204" pitchFamily="34" charset="0"/>
                <a:cs typeface="PT Sans" pitchFamily="34" charset="0"/>
              </a:defRPr>
            </a:lvl1pPr>
            <a:lvl2pPr marL="539750" indent="-285750" algn="l" rtl="0" eaLnBrk="1" fontAlgn="base" hangingPunct="1">
              <a:spcBef>
                <a:spcPct val="20000"/>
              </a:spcBef>
              <a:spcAft>
                <a:spcPct val="0"/>
              </a:spcAft>
              <a:buFont typeface="Wingdings" pitchFamily="2" charset="2"/>
              <a:buChar char="§"/>
              <a:defRPr kern="1200">
                <a:solidFill>
                  <a:schemeClr val="tx1"/>
                </a:solidFill>
                <a:latin typeface="PT Sans" panose="020B0503020203020204" pitchFamily="34" charset="0"/>
                <a:ea typeface="PT Sans" panose="020B0503020203020204" pitchFamily="34" charset="0"/>
                <a:cs typeface="PT Sans" pitchFamily="34" charset="0"/>
              </a:defRPr>
            </a:lvl2pPr>
            <a:lvl3pPr marL="806450" indent="-228600" algn="l" rtl="0" eaLnBrk="1" fontAlgn="base" hangingPunct="1">
              <a:spcBef>
                <a:spcPct val="20000"/>
              </a:spcBef>
              <a:spcAft>
                <a:spcPct val="0"/>
              </a:spcAft>
              <a:buFont typeface="Wingdings" pitchFamily="2" charset="2"/>
              <a:buChar char="§"/>
              <a:defRPr sz="1600" kern="1200">
                <a:solidFill>
                  <a:schemeClr val="tx1"/>
                </a:solidFill>
                <a:latin typeface="PT Sans" panose="020B0503020203020204" pitchFamily="34" charset="0"/>
                <a:ea typeface="PT Sans" panose="020B0503020203020204" pitchFamily="34" charset="0"/>
                <a:cs typeface="PT Sans" pitchFamily="34" charset="0"/>
              </a:defRPr>
            </a:lvl3pPr>
            <a:lvl4pPr marL="1168400" indent="-228600" algn="l" rtl="0" eaLnBrk="1" fontAlgn="base" hangingPunct="1">
              <a:spcBef>
                <a:spcPct val="20000"/>
              </a:spcBef>
              <a:spcAft>
                <a:spcPct val="0"/>
              </a:spcAft>
              <a:buFont typeface="Wingdings" pitchFamily="2" charset="2"/>
              <a:buChar char="§"/>
              <a:defRPr sz="1600" kern="1200">
                <a:solidFill>
                  <a:schemeClr val="tx1"/>
                </a:solidFill>
                <a:latin typeface="PT Sans" panose="020B0503020203020204" pitchFamily="34" charset="0"/>
                <a:ea typeface="PT Sans" panose="020B0503020203020204" pitchFamily="34" charset="0"/>
                <a:cs typeface="PT Sans" pitchFamily="34" charset="0"/>
              </a:defRPr>
            </a:lvl4pPr>
            <a:lvl5pPr marL="1612900" indent="-228600" algn="l" rtl="0" eaLnBrk="1" fontAlgn="base" hangingPunct="1">
              <a:spcBef>
                <a:spcPct val="20000"/>
              </a:spcBef>
              <a:spcAft>
                <a:spcPct val="0"/>
              </a:spcAft>
              <a:buFont typeface="Wingdings" pitchFamily="2" charset="2"/>
              <a:buChar char="§"/>
              <a:defRPr sz="1600" kern="1200">
                <a:solidFill>
                  <a:schemeClr val="tx1"/>
                </a:solidFill>
                <a:latin typeface="PT Sans" panose="020B0503020203020204" pitchFamily="34" charset="0"/>
                <a:ea typeface="PT Sans" panose="020B0503020203020204" pitchFamily="34" charset="0"/>
                <a:cs typeface="PT Sans"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tLang="de-DE" sz="1600" err="1">
                <a:latin typeface="Haffer" pitchFamily="50" charset="0"/>
                <a:cs typeface="Haffer" pitchFamily="50" charset="0"/>
              </a:rPr>
              <a:t>How</a:t>
            </a:r>
            <a:r>
              <a:rPr lang="de-DE" altLang="de-DE" sz="1600">
                <a:latin typeface="Haffer" pitchFamily="50" charset="0"/>
                <a:cs typeface="Haffer" pitchFamily="50" charset="0"/>
              </a:rPr>
              <a:t>?</a:t>
            </a:r>
          </a:p>
        </p:txBody>
      </p:sp>
      <p:sp>
        <p:nvSpPr>
          <p:cNvPr id="7" name="Textfeld 13">
            <a:extLst>
              <a:ext uri="{FF2B5EF4-FFF2-40B4-BE49-F238E27FC236}">
                <a16:creationId xmlns:a16="http://schemas.microsoft.com/office/drawing/2014/main" id="{8EA6561C-F007-0CDF-FEA8-6271F16321DB}"/>
              </a:ext>
            </a:extLst>
          </p:cNvPr>
          <p:cNvSpPr txBox="1"/>
          <p:nvPr/>
        </p:nvSpPr>
        <p:spPr>
          <a:xfrm rot="16200000">
            <a:off x="6902698" y="5602383"/>
            <a:ext cx="1639515" cy="318759"/>
          </a:xfrm>
          <a:prstGeom prst="roundRect">
            <a:avLst/>
          </a:prstGeom>
          <a:solidFill>
            <a:srgbClr val="022E33"/>
          </a:solidFill>
          <a:ln>
            <a:solidFill>
              <a:srgbClr val="022E33"/>
            </a:solidFill>
          </a:ln>
        </p:spPr>
        <p:txBody>
          <a:bodyPr vert="horz" wrap="square" lIns="90000" tIns="45720" rIns="0" bIns="45720" numCol="1" anchor="ctr" anchorCtr="0" compatLnSpc="1">
            <a:prstTxWarp prst="textNoShape">
              <a:avLst/>
            </a:prstTxWarp>
          </a:bodyPr>
          <a:lstStyle>
            <a:defPPr>
              <a:defRPr lang="de-DE"/>
            </a:defPPr>
            <a:lvl1pPr marL="285750" indent="-285750" algn="ctr" eaLnBrk="1" hangingPunct="1">
              <a:spcBef>
                <a:spcPct val="20000"/>
              </a:spcBef>
              <a:buFont typeface="Wingdings" pitchFamily="2" charset="2"/>
              <a:buNone/>
              <a:defRPr>
                <a:solidFill>
                  <a:schemeClr val="bg1"/>
                </a:solidFill>
                <a:latin typeface="PT Sans" panose="020B0503020203020204" pitchFamily="34" charset="0"/>
                <a:ea typeface="PT Sans" panose="020B0503020203020204" pitchFamily="34" charset="0"/>
                <a:cs typeface="PT Sans" pitchFamily="34" charset="0"/>
              </a:defRPr>
            </a:lvl1pPr>
            <a:lvl2pPr marL="539750" indent="-285750" eaLnBrk="1" hangingPunct="1">
              <a:spcBef>
                <a:spcPct val="20000"/>
              </a:spcBef>
              <a:buFont typeface="Wingdings" pitchFamily="2" charset="2"/>
              <a:buChar char="§"/>
              <a:defRPr>
                <a:latin typeface="PT Sans" panose="020B0503020203020204" pitchFamily="34" charset="0"/>
                <a:ea typeface="PT Sans" panose="020B0503020203020204" pitchFamily="34" charset="0"/>
                <a:cs typeface="PT Sans" pitchFamily="34" charset="0"/>
              </a:defRPr>
            </a:lvl2pPr>
            <a:lvl3pPr marL="80645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3pPr>
            <a:lvl4pPr marL="116840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4pPr>
            <a:lvl5pPr marL="161290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5pPr>
            <a:lvl6pPr marL="2514600" indent="-228600">
              <a:spcBef>
                <a:spcPct val="20000"/>
              </a:spcBef>
              <a:buFont typeface="Arial" panose="020B0604020202020204" pitchFamily="34" charset="0"/>
              <a:buChar char="•"/>
              <a:defRPr sz="2000">
                <a:latin typeface="+mn-lt"/>
                <a:cs typeface="+mn-cs"/>
              </a:defRPr>
            </a:lvl6pPr>
            <a:lvl7pPr marL="2971800" indent="-228600">
              <a:spcBef>
                <a:spcPct val="20000"/>
              </a:spcBef>
              <a:buFont typeface="Arial" panose="020B0604020202020204" pitchFamily="34" charset="0"/>
              <a:buChar char="•"/>
              <a:defRPr sz="2000">
                <a:latin typeface="+mn-lt"/>
                <a:cs typeface="+mn-cs"/>
              </a:defRPr>
            </a:lvl7pPr>
            <a:lvl8pPr marL="3429000" indent="-228600">
              <a:spcBef>
                <a:spcPct val="20000"/>
              </a:spcBef>
              <a:buFont typeface="Arial" panose="020B0604020202020204" pitchFamily="34" charset="0"/>
              <a:buChar char="•"/>
              <a:defRPr sz="2000">
                <a:latin typeface="+mn-lt"/>
                <a:cs typeface="+mn-cs"/>
              </a:defRPr>
            </a:lvl8pPr>
            <a:lvl9pPr marL="3886200" indent="-228600">
              <a:spcBef>
                <a:spcPct val="20000"/>
              </a:spcBef>
              <a:buFont typeface="Arial" panose="020B0604020202020204" pitchFamily="34" charset="0"/>
              <a:buChar char="•"/>
              <a:defRPr sz="2000">
                <a:latin typeface="+mn-lt"/>
                <a:cs typeface="+mn-cs"/>
              </a:defRPr>
            </a:lvl9pPr>
          </a:lstStyle>
          <a:p>
            <a:r>
              <a:rPr lang="de-DE" sz="1200" err="1">
                <a:latin typeface="Haffer" pitchFamily="50" charset="0"/>
                <a:cs typeface="Haffer" pitchFamily="50" charset="0"/>
              </a:rPr>
              <a:t>virtual</a:t>
            </a:r>
            <a:endParaRPr lang="de-DE" sz="1200">
              <a:latin typeface="Haffer" pitchFamily="50" charset="0"/>
              <a:cs typeface="Haffer" pitchFamily="50" charset="0"/>
            </a:endParaRPr>
          </a:p>
        </p:txBody>
      </p:sp>
      <p:pic>
        <p:nvPicPr>
          <p:cNvPr id="46" name="Picture 8" descr="U:\Powerpoint_Folien\Grafiken_für_Foliensätze\Icons\Icon7.emf">
            <a:extLst>
              <a:ext uri="{FF2B5EF4-FFF2-40B4-BE49-F238E27FC236}">
                <a16:creationId xmlns:a16="http://schemas.microsoft.com/office/drawing/2014/main" id="{61FCC801-872D-A20D-B1AC-F5B35EF91510}"/>
              </a:ext>
            </a:extLst>
          </p:cNvPr>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85092" y="5199609"/>
            <a:ext cx="216691" cy="190242"/>
          </a:xfrm>
          <a:prstGeom prst="rect">
            <a:avLst/>
          </a:prstGeom>
          <a:noFill/>
          <a:ln>
            <a:noFill/>
          </a:ln>
        </p:spPr>
      </p:pic>
      <p:pic>
        <p:nvPicPr>
          <p:cNvPr id="47" name="Picture 2" descr="C:\Users\rahel\Desktop\factory.png">
            <a:extLst>
              <a:ext uri="{FF2B5EF4-FFF2-40B4-BE49-F238E27FC236}">
                <a16:creationId xmlns:a16="http://schemas.microsoft.com/office/drawing/2014/main" id="{1319DAEC-01C9-6607-FE52-1E79F7841CFD}"/>
              </a:ext>
            </a:extLst>
          </p:cNvPr>
          <p:cNvPicPr>
            <a:picLocks noChangeAspect="1" noChangeArrowheads="1"/>
          </p:cNvPicPr>
          <p:nvPr/>
        </p:nvPicPr>
        <p:blipFill rotWithShape="1">
          <a:blip r:embed="rId4" cstate="print">
            <a:duotone>
              <a:prstClr val="black"/>
              <a:srgbClr val="022E33">
                <a:tint val="45000"/>
                <a:satMod val="400000"/>
              </a:srgbClr>
            </a:duotone>
            <a:extLst>
              <a:ext uri="{28A0092B-C50C-407E-A947-70E740481C1C}">
                <a14:useLocalDpi xmlns:a14="http://schemas.microsoft.com/office/drawing/2010/main" val="0"/>
              </a:ext>
            </a:extLst>
          </a:blip>
          <a:srcRect b="8375"/>
          <a:stretch/>
        </p:blipFill>
        <p:spPr bwMode="auto">
          <a:xfrm>
            <a:off x="10127256" y="5416651"/>
            <a:ext cx="478086" cy="457186"/>
          </a:xfrm>
          <a:prstGeom prst="rect">
            <a:avLst/>
          </a:prstGeom>
          <a:noFill/>
          <a:ln w="0">
            <a:noFill/>
            <a:miter lim="800000"/>
            <a:headEnd/>
            <a:tailEnd/>
          </a:ln>
          <a:extLst>
            <a:ext uri="{909E8E84-426E-40DD-AFC4-6F175D3DCCD1}">
              <a14:hiddenFill xmlns:a14="http://schemas.microsoft.com/office/drawing/2010/main">
                <a:solidFill>
                  <a:srgbClr val="FFFFFF"/>
                </a:solidFill>
              </a14:hiddenFill>
            </a:ext>
          </a:extLst>
        </p:spPr>
      </p:pic>
      <p:grpSp>
        <p:nvGrpSpPr>
          <p:cNvPr id="48" name="Gruppieren 17">
            <a:extLst>
              <a:ext uri="{FF2B5EF4-FFF2-40B4-BE49-F238E27FC236}">
                <a16:creationId xmlns:a16="http://schemas.microsoft.com/office/drawing/2014/main" id="{CB36B19E-90FF-9E8A-FE94-DE0475008147}"/>
              </a:ext>
            </a:extLst>
          </p:cNvPr>
          <p:cNvGrpSpPr/>
          <p:nvPr/>
        </p:nvGrpSpPr>
        <p:grpSpPr>
          <a:xfrm>
            <a:off x="8041214" y="5348610"/>
            <a:ext cx="422309" cy="520414"/>
            <a:chOff x="4109305" y="4797152"/>
            <a:chExt cx="496123" cy="616537"/>
          </a:xfrm>
        </p:grpSpPr>
        <p:pic>
          <p:nvPicPr>
            <p:cNvPr id="62" name="Picture 3" descr="U:\Powerpoint_Folien\Grafiken_für_Foliensätze\Icons\Icon2.emf">
              <a:extLst>
                <a:ext uri="{FF2B5EF4-FFF2-40B4-BE49-F238E27FC236}">
                  <a16:creationId xmlns:a16="http://schemas.microsoft.com/office/drawing/2014/main" id="{07629705-0689-ABCB-BDC0-549D7C902590}"/>
                </a:ext>
              </a:extLst>
            </p:cNvPr>
            <p:cNvPicPr>
              <a:picLocks noChangeAspect="1" noChangeArrowheads="1"/>
            </p:cNvPicPr>
            <p:nvPr/>
          </p:nvPicPr>
          <p:blipFill>
            <a:blip r:embed="rId5">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4326674" y="5120160"/>
              <a:ext cx="278754" cy="29352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3" name="Picture 15" descr="U:\Powerpoint_Folien\Grafiken_für_Foliensätze\Icons\Icon34.emf">
              <a:extLst>
                <a:ext uri="{FF2B5EF4-FFF2-40B4-BE49-F238E27FC236}">
                  <a16:creationId xmlns:a16="http://schemas.microsoft.com/office/drawing/2014/main" id="{6D5A1DDB-6EC0-E33C-425A-22ED93E9B8AF}"/>
                </a:ext>
              </a:extLst>
            </p:cNvPr>
            <p:cNvPicPr>
              <a:picLocks noChangeAspect="1" noChangeArrowheads="1"/>
            </p:cNvPicPr>
            <p:nvPr/>
          </p:nvPicPr>
          <p:blipFill>
            <a:blip r:embed="rId6">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4109305" y="4797152"/>
              <a:ext cx="434737" cy="616536"/>
            </a:xfrm>
            <a:prstGeom prst="rect">
              <a:avLst/>
            </a:prstGeom>
            <a:noFill/>
            <a:ln w="0">
              <a:noFill/>
              <a:miter lim="800000"/>
              <a:headEnd/>
              <a:tailEnd/>
            </a:ln>
            <a:extLst>
              <a:ext uri="{909E8E84-426E-40DD-AFC4-6F175D3DCCD1}">
                <a14:hiddenFill xmlns:a14="http://schemas.microsoft.com/office/drawing/2010/main">
                  <a:solidFill>
                    <a:srgbClr val="FFFFFF"/>
                  </a:solidFill>
                </a14:hiddenFill>
              </a:ext>
            </a:extLst>
          </p:spPr>
        </p:pic>
      </p:grpSp>
      <p:pic>
        <p:nvPicPr>
          <p:cNvPr id="49" name="Picture 8" descr="U:\Powerpoint_Folien\Grafiken_für_Foliensätze\Icons\Icon7.emf">
            <a:extLst>
              <a:ext uri="{FF2B5EF4-FFF2-40B4-BE49-F238E27FC236}">
                <a16:creationId xmlns:a16="http://schemas.microsoft.com/office/drawing/2014/main" id="{5997B5A3-D3FE-E666-9905-EC52C3F00F3B}"/>
              </a:ext>
            </a:extLst>
          </p:cNvPr>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20806" y="5199609"/>
            <a:ext cx="216691" cy="190242"/>
          </a:xfrm>
          <a:prstGeom prst="rect">
            <a:avLst/>
          </a:prstGeom>
          <a:noFill/>
          <a:ln>
            <a:noFill/>
          </a:ln>
        </p:spPr>
      </p:pic>
      <p:pic>
        <p:nvPicPr>
          <p:cNvPr id="50" name="Picture 2" descr="C:\Program Files (x86)\Microsoft Office\MEDIA\CAGCAT10\j0222021.wmf">
            <a:extLst>
              <a:ext uri="{FF2B5EF4-FFF2-40B4-BE49-F238E27FC236}">
                <a16:creationId xmlns:a16="http://schemas.microsoft.com/office/drawing/2014/main" id="{4FFDF541-2AC7-61CA-72CC-0DD42989F299}"/>
              </a:ext>
            </a:extLst>
          </p:cNvPr>
          <p:cNvPicPr>
            <a:picLocks noChangeAspect="1" noChangeArrowheads="1"/>
          </p:cNvPicPr>
          <p:nvPr/>
        </p:nvPicPr>
        <p:blipFill rotWithShape="1">
          <a:blip r:embed="rId7" cstate="print">
            <a:duotone>
              <a:prstClr val="black"/>
              <a:schemeClr val="accent6">
                <a:tint val="45000"/>
                <a:satMod val="400000"/>
              </a:schemeClr>
            </a:duotone>
            <a:extLst>
              <a:ext uri="{28A0092B-C50C-407E-A947-70E740481C1C}">
                <a14:useLocalDpi xmlns:a14="http://schemas.microsoft.com/office/drawing/2010/main" val="0"/>
              </a:ext>
            </a:extLst>
          </a:blip>
          <a:srcRect l="37714" t="21673" r="-456" b="16697"/>
          <a:stretch/>
        </p:blipFill>
        <p:spPr bwMode="auto">
          <a:xfrm>
            <a:off x="9740877" y="5613112"/>
            <a:ext cx="215170" cy="221383"/>
          </a:xfrm>
          <a:prstGeom prst="ellipse">
            <a:avLst/>
          </a:prstGeom>
          <a:noFill/>
          <a:extLst>
            <a:ext uri="{909E8E84-426E-40DD-AFC4-6F175D3DCCD1}">
              <a14:hiddenFill xmlns:a14="http://schemas.microsoft.com/office/drawing/2010/main">
                <a:solidFill>
                  <a:srgbClr val="FFFFFF"/>
                </a:solidFill>
              </a14:hiddenFill>
            </a:ext>
          </a:extLst>
        </p:spPr>
      </p:pic>
      <p:cxnSp>
        <p:nvCxnSpPr>
          <p:cNvPr id="51" name="Gerade Verbindung mit Pfeil 20">
            <a:extLst>
              <a:ext uri="{FF2B5EF4-FFF2-40B4-BE49-F238E27FC236}">
                <a16:creationId xmlns:a16="http://schemas.microsoft.com/office/drawing/2014/main" id="{A9EEB4B0-D659-C17A-B370-FFFE0161A974}"/>
              </a:ext>
            </a:extLst>
          </p:cNvPr>
          <p:cNvCxnSpPr/>
          <p:nvPr/>
        </p:nvCxnSpPr>
        <p:spPr>
          <a:xfrm>
            <a:off x="8473395" y="5488123"/>
            <a:ext cx="433764" cy="0"/>
          </a:xfrm>
          <a:prstGeom prst="straightConnector1">
            <a:avLst/>
          </a:prstGeom>
          <a:ln w="190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52" name="Gerade Verbindung mit Pfeil 21">
            <a:extLst>
              <a:ext uri="{FF2B5EF4-FFF2-40B4-BE49-F238E27FC236}">
                <a16:creationId xmlns:a16="http://schemas.microsoft.com/office/drawing/2014/main" id="{91C217AC-DC2C-4FFE-7915-9386C0445600}"/>
              </a:ext>
            </a:extLst>
          </p:cNvPr>
          <p:cNvCxnSpPr/>
          <p:nvPr/>
        </p:nvCxnSpPr>
        <p:spPr>
          <a:xfrm>
            <a:off x="9632395" y="5488123"/>
            <a:ext cx="433764" cy="0"/>
          </a:xfrm>
          <a:prstGeom prst="straightConnector1">
            <a:avLst/>
          </a:prstGeom>
          <a:ln w="190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53" name="Gerade Verbindung mit Pfeil 22">
            <a:extLst>
              <a:ext uri="{FF2B5EF4-FFF2-40B4-BE49-F238E27FC236}">
                <a16:creationId xmlns:a16="http://schemas.microsoft.com/office/drawing/2014/main" id="{32830562-7765-7B09-5EB4-D54D4F06CDF2}"/>
              </a:ext>
            </a:extLst>
          </p:cNvPr>
          <p:cNvCxnSpPr/>
          <p:nvPr/>
        </p:nvCxnSpPr>
        <p:spPr>
          <a:xfrm flipH="1">
            <a:off x="9628542" y="5849364"/>
            <a:ext cx="400176" cy="0"/>
          </a:xfrm>
          <a:prstGeom prst="straightConnector1">
            <a:avLst/>
          </a:prstGeom>
          <a:ln w="190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54" name="Gewinkelte Verbindung 23">
            <a:extLst>
              <a:ext uri="{FF2B5EF4-FFF2-40B4-BE49-F238E27FC236}">
                <a16:creationId xmlns:a16="http://schemas.microsoft.com/office/drawing/2014/main" id="{8A959A01-5E9D-BC8A-C047-49470EEF4D9F}"/>
              </a:ext>
            </a:extLst>
          </p:cNvPr>
          <p:cNvCxnSpPr/>
          <p:nvPr/>
        </p:nvCxnSpPr>
        <p:spPr>
          <a:xfrm rot="5400000">
            <a:off x="9360988" y="4933695"/>
            <a:ext cx="21591" cy="2183000"/>
          </a:xfrm>
          <a:prstGeom prst="bentConnector3">
            <a:avLst>
              <a:gd name="adj1" fmla="val 1322918"/>
            </a:avLst>
          </a:prstGeom>
          <a:ln w="19050">
            <a:solidFill>
              <a:srgbClr val="0070C0"/>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55" name="Picture 2" descr="C:\Program Files (x86)\Microsoft Office\MEDIA\CAGCAT10\j0222021.wmf">
            <a:extLst>
              <a:ext uri="{FF2B5EF4-FFF2-40B4-BE49-F238E27FC236}">
                <a16:creationId xmlns:a16="http://schemas.microsoft.com/office/drawing/2014/main" id="{AEA21503-393B-4C1B-F945-B6E29A797115}"/>
              </a:ext>
            </a:extLst>
          </p:cNvPr>
          <p:cNvPicPr>
            <a:picLocks noChangeAspect="1" noChangeArrowheads="1"/>
          </p:cNvPicPr>
          <p:nvPr/>
        </p:nvPicPr>
        <p:blipFill rotWithShape="1">
          <a:blip r:embed="rId7" cstate="print">
            <a:duotone>
              <a:prstClr val="black"/>
              <a:schemeClr val="accent6">
                <a:tint val="45000"/>
                <a:satMod val="400000"/>
              </a:schemeClr>
            </a:duotone>
            <a:extLst>
              <a:ext uri="{28A0092B-C50C-407E-A947-70E740481C1C}">
                <a14:useLocalDpi xmlns:a14="http://schemas.microsoft.com/office/drawing/2010/main" val="0"/>
              </a:ext>
            </a:extLst>
          </a:blip>
          <a:srcRect l="37714" t="21673" r="-456" b="16697"/>
          <a:stretch/>
        </p:blipFill>
        <p:spPr bwMode="auto">
          <a:xfrm>
            <a:off x="8614877" y="5613112"/>
            <a:ext cx="215170" cy="221383"/>
          </a:xfrm>
          <a:prstGeom prst="ellipse">
            <a:avLst/>
          </a:prstGeom>
          <a:noFill/>
          <a:extLst>
            <a:ext uri="{909E8E84-426E-40DD-AFC4-6F175D3DCCD1}">
              <a14:hiddenFill xmlns:a14="http://schemas.microsoft.com/office/drawing/2010/main">
                <a:solidFill>
                  <a:srgbClr val="FFFFFF"/>
                </a:solidFill>
              </a14:hiddenFill>
            </a:ext>
          </a:extLst>
        </p:spPr>
      </p:pic>
      <p:cxnSp>
        <p:nvCxnSpPr>
          <p:cNvPr id="56" name="Gerade Verbindung mit Pfeil 25">
            <a:extLst>
              <a:ext uri="{FF2B5EF4-FFF2-40B4-BE49-F238E27FC236}">
                <a16:creationId xmlns:a16="http://schemas.microsoft.com/office/drawing/2014/main" id="{6704D913-9E7F-6EB4-6C5F-5BB3A2187AB8}"/>
              </a:ext>
            </a:extLst>
          </p:cNvPr>
          <p:cNvCxnSpPr/>
          <p:nvPr/>
        </p:nvCxnSpPr>
        <p:spPr>
          <a:xfrm flipH="1">
            <a:off x="8502542" y="5849364"/>
            <a:ext cx="400176" cy="0"/>
          </a:xfrm>
          <a:prstGeom prst="straightConnector1">
            <a:avLst/>
          </a:prstGeom>
          <a:ln w="19050">
            <a:solidFill>
              <a:schemeClr val="bg2"/>
            </a:solidFill>
            <a:tailEnd type="arrow"/>
          </a:ln>
        </p:spPr>
        <p:style>
          <a:lnRef idx="1">
            <a:schemeClr val="accent1"/>
          </a:lnRef>
          <a:fillRef idx="0">
            <a:schemeClr val="accent1"/>
          </a:fillRef>
          <a:effectRef idx="0">
            <a:schemeClr val="accent1"/>
          </a:effectRef>
          <a:fontRef idx="minor">
            <a:schemeClr val="tx1"/>
          </a:fontRef>
        </p:style>
      </p:cxnSp>
      <p:pic>
        <p:nvPicPr>
          <p:cNvPr id="57" name="Picture 2" descr="Bildergebnis für epexspot logo">
            <a:extLst>
              <a:ext uri="{FF2B5EF4-FFF2-40B4-BE49-F238E27FC236}">
                <a16:creationId xmlns:a16="http://schemas.microsoft.com/office/drawing/2014/main" id="{6ABA5E59-3660-F217-C48B-F3CBE72AF6F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934667" y="5560974"/>
            <a:ext cx="721153" cy="133841"/>
          </a:xfrm>
          <a:prstGeom prst="rect">
            <a:avLst/>
          </a:prstGeom>
          <a:noFill/>
          <a:extLst>
            <a:ext uri="{909E8E84-426E-40DD-AFC4-6F175D3DCCD1}">
              <a14:hiddenFill xmlns:a14="http://schemas.microsoft.com/office/drawing/2010/main">
                <a:solidFill>
                  <a:srgbClr val="FFFFFF"/>
                </a:solidFill>
              </a14:hiddenFill>
            </a:ext>
          </a:extLst>
        </p:spPr>
      </p:pic>
      <p:sp>
        <p:nvSpPr>
          <p:cNvPr id="58" name="Textfeld 27">
            <a:extLst>
              <a:ext uri="{FF2B5EF4-FFF2-40B4-BE49-F238E27FC236}">
                <a16:creationId xmlns:a16="http://schemas.microsoft.com/office/drawing/2014/main" id="{3756ACC3-7F86-56D0-55E4-59021B09665F}"/>
              </a:ext>
            </a:extLst>
          </p:cNvPr>
          <p:cNvSpPr txBox="1"/>
          <p:nvPr/>
        </p:nvSpPr>
        <p:spPr>
          <a:xfrm>
            <a:off x="8176371" y="6313589"/>
            <a:ext cx="1903332" cy="226591"/>
          </a:xfrm>
          <a:prstGeom prst="rect">
            <a:avLst/>
          </a:prstGeom>
          <a:noFill/>
        </p:spPr>
        <p:txBody>
          <a:bodyPr wrap="none" lIns="36000" tIns="36000" rIns="36000" bIns="36000" rtlCol="0">
            <a:spAutoFit/>
          </a:bodyPr>
          <a:lstStyle/>
          <a:p>
            <a:r>
              <a:rPr lang="de-DE" sz="1000" b="1" err="1">
                <a:latin typeface="Haffer" pitchFamily="50" charset="0"/>
                <a:cs typeface="Haffer" pitchFamily="50" charset="0"/>
              </a:rPr>
              <a:t>Compensation</a:t>
            </a:r>
            <a:r>
              <a:rPr lang="de-DE" sz="1000" b="1">
                <a:latin typeface="Haffer" pitchFamily="50" charset="0"/>
                <a:cs typeface="Haffer" pitchFamily="50" charset="0"/>
              </a:rPr>
              <a:t> (     </a:t>
            </a:r>
            <a:r>
              <a:rPr lang="de-DE" sz="1000" b="1" err="1">
                <a:latin typeface="Haffer" pitchFamily="50" charset="0"/>
                <a:cs typeface="Haffer" pitchFamily="50" charset="0"/>
              </a:rPr>
              <a:t>spot</a:t>
            </a:r>
            <a:r>
              <a:rPr lang="de-DE" sz="1000" b="1">
                <a:latin typeface="Haffer" pitchFamily="50" charset="0"/>
                <a:cs typeface="Haffer" pitchFamily="50" charset="0"/>
              </a:rPr>
              <a:t> / PPA) </a:t>
            </a:r>
          </a:p>
        </p:txBody>
      </p:sp>
      <p:pic>
        <p:nvPicPr>
          <p:cNvPr id="59" name="Picture 2" descr="C:\Program Files (x86)\Microsoft Office\MEDIA\CAGCAT10\j0222021.wmf">
            <a:extLst>
              <a:ext uri="{FF2B5EF4-FFF2-40B4-BE49-F238E27FC236}">
                <a16:creationId xmlns:a16="http://schemas.microsoft.com/office/drawing/2014/main" id="{B97D0481-8EC4-7F99-17F9-1610913ACE87}"/>
              </a:ext>
            </a:extLst>
          </p:cNvPr>
          <p:cNvPicPr>
            <a:picLocks noChangeAspect="1" noChangeArrowheads="1"/>
          </p:cNvPicPr>
          <p:nvPr/>
        </p:nvPicPr>
        <p:blipFill rotWithShape="1">
          <a:blip r:embed="rId7" cstate="print">
            <a:duotone>
              <a:prstClr val="black"/>
              <a:schemeClr val="accent1">
                <a:lumMod val="75000"/>
                <a:lumOff val="25000"/>
                <a:tint val="45000"/>
                <a:satMod val="400000"/>
              </a:schemeClr>
            </a:duotone>
            <a:extLst>
              <a:ext uri="{28A0092B-C50C-407E-A947-70E740481C1C}">
                <a14:useLocalDpi xmlns:a14="http://schemas.microsoft.com/office/drawing/2010/main" val="0"/>
              </a:ext>
            </a:extLst>
          </a:blip>
          <a:srcRect l="37714" t="21673" r="-456" b="16697"/>
          <a:stretch/>
        </p:blipFill>
        <p:spPr bwMode="auto">
          <a:xfrm>
            <a:off x="9027398" y="6097178"/>
            <a:ext cx="161659" cy="166326"/>
          </a:xfrm>
          <a:prstGeom prst="ellipse">
            <a:avLst/>
          </a:prstGeom>
          <a:noFill/>
          <a:extLst>
            <a:ext uri="{909E8E84-426E-40DD-AFC4-6F175D3DCCD1}">
              <a14:hiddenFill xmlns:a14="http://schemas.microsoft.com/office/drawing/2010/main">
                <a:solidFill>
                  <a:srgbClr val="FFFFFF"/>
                </a:solidFill>
              </a14:hiddenFill>
            </a:ext>
          </a:extLst>
        </p:spPr>
      </p:pic>
      <p:pic>
        <p:nvPicPr>
          <p:cNvPr id="60" name="Picture 2" descr="C:\Program Files (x86)\Microsoft Office\MEDIA\CAGCAT10\j0222021.wmf">
            <a:extLst>
              <a:ext uri="{FF2B5EF4-FFF2-40B4-BE49-F238E27FC236}">
                <a16:creationId xmlns:a16="http://schemas.microsoft.com/office/drawing/2014/main" id="{793B7AE3-EEC4-ED93-0B67-1FFAFB766078}"/>
              </a:ext>
            </a:extLst>
          </p:cNvPr>
          <p:cNvPicPr>
            <a:picLocks noChangeAspect="1" noChangeArrowheads="1"/>
          </p:cNvPicPr>
          <p:nvPr/>
        </p:nvPicPr>
        <p:blipFill rotWithShape="1">
          <a:blip r:embed="rId7" cstate="print">
            <a:duotone>
              <a:prstClr val="black"/>
              <a:schemeClr val="accent1">
                <a:lumMod val="75000"/>
                <a:lumOff val="25000"/>
                <a:tint val="45000"/>
                <a:satMod val="400000"/>
              </a:schemeClr>
            </a:duotone>
            <a:extLst>
              <a:ext uri="{28A0092B-C50C-407E-A947-70E740481C1C}">
                <a14:useLocalDpi xmlns:a14="http://schemas.microsoft.com/office/drawing/2010/main" val="0"/>
              </a:ext>
            </a:extLst>
          </a:blip>
          <a:srcRect l="37714" t="21673" r="-456" b="16697"/>
          <a:stretch/>
        </p:blipFill>
        <p:spPr bwMode="auto">
          <a:xfrm>
            <a:off x="9356706" y="6080016"/>
            <a:ext cx="161659" cy="166326"/>
          </a:xfrm>
          <a:prstGeom prst="ellipse">
            <a:avLst/>
          </a:prstGeom>
          <a:noFill/>
          <a:extLst>
            <a:ext uri="{909E8E84-426E-40DD-AFC4-6F175D3DCCD1}">
              <a14:hiddenFill xmlns:a14="http://schemas.microsoft.com/office/drawing/2010/main">
                <a:solidFill>
                  <a:srgbClr val="FFFFFF"/>
                </a:solidFill>
              </a14:hiddenFill>
            </a:ext>
          </a:extLst>
        </p:spPr>
      </p:pic>
      <p:pic>
        <p:nvPicPr>
          <p:cNvPr id="61" name="Picture 2" descr="C:\Program Files (x86)\Microsoft Office\MEDIA\CAGCAT10\j0222021.wmf">
            <a:extLst>
              <a:ext uri="{FF2B5EF4-FFF2-40B4-BE49-F238E27FC236}">
                <a16:creationId xmlns:a16="http://schemas.microsoft.com/office/drawing/2014/main" id="{C6D80442-DD08-1913-7691-5DB3CE54C348}"/>
              </a:ext>
            </a:extLst>
          </p:cNvPr>
          <p:cNvPicPr>
            <a:picLocks noChangeAspect="1" noChangeArrowheads="1"/>
          </p:cNvPicPr>
          <p:nvPr/>
        </p:nvPicPr>
        <p:blipFill rotWithShape="1">
          <a:blip r:embed="rId7" cstate="print">
            <a:duotone>
              <a:prstClr val="black"/>
              <a:schemeClr val="accent1">
                <a:lumMod val="75000"/>
                <a:lumOff val="25000"/>
                <a:tint val="45000"/>
                <a:satMod val="400000"/>
              </a:schemeClr>
            </a:duotone>
            <a:extLst>
              <a:ext uri="{28A0092B-C50C-407E-A947-70E740481C1C}">
                <a14:useLocalDpi xmlns:a14="http://schemas.microsoft.com/office/drawing/2010/main" val="0"/>
              </a:ext>
            </a:extLst>
          </a:blip>
          <a:srcRect l="37714" t="21673" r="-456" b="16697"/>
          <a:stretch/>
        </p:blipFill>
        <p:spPr bwMode="auto">
          <a:xfrm>
            <a:off x="9188020" y="6057994"/>
            <a:ext cx="161659" cy="166326"/>
          </a:xfrm>
          <a:prstGeom prst="ellipse">
            <a:avLst/>
          </a:prstGeom>
          <a:noFill/>
          <a:extLst>
            <a:ext uri="{909E8E84-426E-40DD-AFC4-6F175D3DCCD1}">
              <a14:hiddenFill xmlns:a14="http://schemas.microsoft.com/office/drawing/2010/main">
                <a:solidFill>
                  <a:srgbClr val="FFFFFF"/>
                </a:solidFill>
              </a14:hiddenFill>
            </a:ext>
          </a:extLst>
        </p:spPr>
      </p:pic>
      <p:cxnSp>
        <p:nvCxnSpPr>
          <p:cNvPr id="9" name="Gerade Verbindung 33">
            <a:extLst>
              <a:ext uri="{FF2B5EF4-FFF2-40B4-BE49-F238E27FC236}">
                <a16:creationId xmlns:a16="http://schemas.microsoft.com/office/drawing/2014/main" id="{56B84E22-B677-5140-F703-63BE04A7C686}"/>
              </a:ext>
            </a:extLst>
          </p:cNvPr>
          <p:cNvCxnSpPr/>
          <p:nvPr/>
        </p:nvCxnSpPr>
        <p:spPr>
          <a:xfrm>
            <a:off x="7555494" y="4896880"/>
            <a:ext cx="3093760" cy="0"/>
          </a:xfrm>
          <a:prstGeom prst="line">
            <a:avLst/>
          </a:prstGeom>
          <a:ln w="12700">
            <a:solidFill>
              <a:srgbClr val="FFA826"/>
            </a:solidFill>
            <a:prstDash val="sysDash"/>
          </a:ln>
        </p:spPr>
        <p:style>
          <a:lnRef idx="1">
            <a:schemeClr val="accent1"/>
          </a:lnRef>
          <a:fillRef idx="0">
            <a:schemeClr val="accent1"/>
          </a:fillRef>
          <a:effectRef idx="0">
            <a:schemeClr val="accent1"/>
          </a:effectRef>
          <a:fontRef idx="minor">
            <a:schemeClr val="tx1"/>
          </a:fontRef>
        </p:style>
      </p:cxnSp>
      <p:pic>
        <p:nvPicPr>
          <p:cNvPr id="30" name="Picture 8" descr="U:\Powerpoint_Folien\Grafiken_für_Foliensätze\Icons\Icon7.emf">
            <a:extLst>
              <a:ext uri="{FF2B5EF4-FFF2-40B4-BE49-F238E27FC236}">
                <a16:creationId xmlns:a16="http://schemas.microsoft.com/office/drawing/2014/main" id="{5D9EDC7E-F32F-C92B-035B-CA2A63293C36}"/>
              </a:ext>
            </a:extLst>
          </p:cNvPr>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90637" y="3551035"/>
            <a:ext cx="211155" cy="185981"/>
          </a:xfrm>
          <a:prstGeom prst="rect">
            <a:avLst/>
          </a:prstGeom>
          <a:noFill/>
          <a:ln>
            <a:noFill/>
          </a:ln>
        </p:spPr>
      </p:pic>
      <p:cxnSp>
        <p:nvCxnSpPr>
          <p:cNvPr id="31" name="Gerade Verbindung mit Pfeil 37">
            <a:extLst>
              <a:ext uri="{FF2B5EF4-FFF2-40B4-BE49-F238E27FC236}">
                <a16:creationId xmlns:a16="http://schemas.microsoft.com/office/drawing/2014/main" id="{DF097198-DC96-4263-2AC9-0A2E5C96F9EB}"/>
              </a:ext>
            </a:extLst>
          </p:cNvPr>
          <p:cNvCxnSpPr/>
          <p:nvPr/>
        </p:nvCxnSpPr>
        <p:spPr>
          <a:xfrm>
            <a:off x="8504525" y="3818683"/>
            <a:ext cx="434261" cy="0"/>
          </a:xfrm>
          <a:prstGeom prst="straightConnector1">
            <a:avLst/>
          </a:prstGeom>
          <a:ln w="19050">
            <a:solidFill>
              <a:schemeClr val="accent4"/>
            </a:solidFill>
            <a:tailEnd type="arrow"/>
          </a:ln>
        </p:spPr>
        <p:style>
          <a:lnRef idx="1">
            <a:schemeClr val="accent1"/>
          </a:lnRef>
          <a:fillRef idx="0">
            <a:schemeClr val="accent1"/>
          </a:fillRef>
          <a:effectRef idx="0">
            <a:schemeClr val="accent1"/>
          </a:effectRef>
          <a:fontRef idx="minor">
            <a:schemeClr val="tx1"/>
          </a:fontRef>
        </p:style>
      </p:cxnSp>
      <p:grpSp>
        <p:nvGrpSpPr>
          <p:cNvPr id="32" name="Gruppieren 38">
            <a:extLst>
              <a:ext uri="{FF2B5EF4-FFF2-40B4-BE49-F238E27FC236}">
                <a16:creationId xmlns:a16="http://schemas.microsoft.com/office/drawing/2014/main" id="{41A7FCDB-B99A-A89F-6573-62A35FE769F5}"/>
              </a:ext>
            </a:extLst>
          </p:cNvPr>
          <p:cNvGrpSpPr/>
          <p:nvPr/>
        </p:nvGrpSpPr>
        <p:grpSpPr>
          <a:xfrm>
            <a:off x="8061824" y="3712887"/>
            <a:ext cx="420575" cy="504086"/>
            <a:chOff x="3948464" y="3430912"/>
            <a:chExt cx="520030" cy="597193"/>
          </a:xfrm>
        </p:grpSpPr>
        <p:pic>
          <p:nvPicPr>
            <p:cNvPr id="44" name="Picture 3" descr="U:\Powerpoint_Folien\Grafiken_für_Foliensätze\Icons\Icon2.emf">
              <a:extLst>
                <a:ext uri="{FF2B5EF4-FFF2-40B4-BE49-F238E27FC236}">
                  <a16:creationId xmlns:a16="http://schemas.microsoft.com/office/drawing/2014/main" id="{9A1EDBFA-9E22-AEAD-4D56-DD8BED972C1F}"/>
                </a:ext>
              </a:extLst>
            </p:cNvPr>
            <p:cNvPicPr>
              <a:picLocks noChangeAspect="1" noChangeArrowheads="1"/>
            </p:cNvPicPr>
            <p:nvPr/>
          </p:nvPicPr>
          <p:blipFill>
            <a:blip r:embed="rId5">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4163139" y="3706565"/>
              <a:ext cx="305355" cy="32154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5" name="Picture 15" descr="U:\Powerpoint_Folien\Grafiken_für_Foliensätze\Icons\Icon34.emf">
              <a:extLst>
                <a:ext uri="{FF2B5EF4-FFF2-40B4-BE49-F238E27FC236}">
                  <a16:creationId xmlns:a16="http://schemas.microsoft.com/office/drawing/2014/main" id="{5BC46CAC-2E94-62F6-69FA-F1BAB0C4029B}"/>
                </a:ext>
              </a:extLst>
            </p:cNvPr>
            <p:cNvPicPr>
              <a:picLocks noChangeAspect="1" noChangeArrowheads="1"/>
            </p:cNvPicPr>
            <p:nvPr/>
          </p:nvPicPr>
          <p:blipFill>
            <a:blip r:embed="rId6">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3948464" y="3430912"/>
              <a:ext cx="421097" cy="597192"/>
            </a:xfrm>
            <a:prstGeom prst="rect">
              <a:avLst/>
            </a:prstGeom>
            <a:noFill/>
            <a:ln w="0">
              <a:noFill/>
              <a:miter lim="800000"/>
              <a:headEnd/>
              <a:tailEnd/>
            </a:ln>
            <a:extLst>
              <a:ext uri="{909E8E84-426E-40DD-AFC4-6F175D3DCCD1}">
                <a14:hiddenFill xmlns:a14="http://schemas.microsoft.com/office/drawing/2010/main">
                  <a:solidFill>
                    <a:srgbClr val="FFFFFF"/>
                  </a:solidFill>
                </a14:hiddenFill>
              </a:ext>
            </a:extLst>
          </p:spPr>
        </p:pic>
      </p:grpSp>
      <p:pic>
        <p:nvPicPr>
          <p:cNvPr id="33" name="Picture 2" descr="C:\Users\rahel\Desktop\factory.png">
            <a:extLst>
              <a:ext uri="{FF2B5EF4-FFF2-40B4-BE49-F238E27FC236}">
                <a16:creationId xmlns:a16="http://schemas.microsoft.com/office/drawing/2014/main" id="{EE43D52D-C337-2421-DE94-59D1D982AFFC}"/>
              </a:ext>
            </a:extLst>
          </p:cNvPr>
          <p:cNvPicPr>
            <a:picLocks noChangeAspect="1" noChangeArrowheads="1"/>
          </p:cNvPicPr>
          <p:nvPr/>
        </p:nvPicPr>
        <p:blipFill rotWithShape="1">
          <a:blip r:embed="rId4" cstate="print">
            <a:duotone>
              <a:prstClr val="black"/>
              <a:srgbClr val="022E33">
                <a:tint val="45000"/>
                <a:satMod val="400000"/>
              </a:srgbClr>
            </a:duotone>
            <a:extLst>
              <a:ext uri="{28A0092B-C50C-407E-A947-70E740481C1C}">
                <a14:useLocalDpi xmlns:a14="http://schemas.microsoft.com/office/drawing/2010/main" val="0"/>
              </a:ext>
            </a:extLst>
          </a:blip>
          <a:srcRect b="8375"/>
          <a:stretch/>
        </p:blipFill>
        <p:spPr bwMode="auto">
          <a:xfrm>
            <a:off x="10127257" y="3759788"/>
            <a:ext cx="478086" cy="457186"/>
          </a:xfrm>
          <a:prstGeom prst="rect">
            <a:avLst/>
          </a:prstGeom>
          <a:noFill/>
          <a:ln w="0">
            <a:noFill/>
            <a:miter lim="800000"/>
            <a:headEnd/>
            <a:tailEnd/>
          </a:ln>
          <a:extLst>
            <a:ext uri="{909E8E84-426E-40DD-AFC4-6F175D3DCCD1}">
              <a14:hiddenFill xmlns:a14="http://schemas.microsoft.com/office/drawing/2010/main">
                <a:solidFill>
                  <a:srgbClr val="FFFFFF"/>
                </a:solidFill>
              </a14:hiddenFill>
            </a:ext>
          </a:extLst>
        </p:spPr>
      </p:pic>
      <p:pic>
        <p:nvPicPr>
          <p:cNvPr id="34" name="Picture 64" descr="U:\Powerpoint_Folien\Grafiken_für_Foliensätze\Icons\Icon82.emf">
            <a:extLst>
              <a:ext uri="{FF2B5EF4-FFF2-40B4-BE49-F238E27FC236}">
                <a16:creationId xmlns:a16="http://schemas.microsoft.com/office/drawing/2014/main" id="{1F093D9B-CA9E-A05A-27FF-2107594BEC8A}"/>
              </a:ext>
            </a:extLst>
          </p:cNvPr>
          <p:cNvPicPr>
            <a:picLocks noChangeAspect="1" noChangeArrowheads="1"/>
          </p:cNvPicPr>
          <p:nvPr/>
        </p:nvPicPr>
        <p:blipFill>
          <a:blip r:embed="rId9">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9007962" y="3663109"/>
            <a:ext cx="505974" cy="5280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5" name="Picture 8" descr="U:\Powerpoint_Folien\Grafiken_für_Foliensätze\Icons\Icon7.emf">
            <a:extLst>
              <a:ext uri="{FF2B5EF4-FFF2-40B4-BE49-F238E27FC236}">
                <a16:creationId xmlns:a16="http://schemas.microsoft.com/office/drawing/2014/main" id="{C88AAF8A-C62A-FEBB-A42B-E29401D5089B}"/>
              </a:ext>
            </a:extLst>
          </p:cNvPr>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10848" y="3551035"/>
            <a:ext cx="211155" cy="185981"/>
          </a:xfrm>
          <a:prstGeom prst="rect">
            <a:avLst/>
          </a:prstGeom>
          <a:noFill/>
          <a:ln>
            <a:noFill/>
          </a:ln>
        </p:spPr>
      </p:pic>
      <p:cxnSp>
        <p:nvCxnSpPr>
          <p:cNvPr id="36" name="Gerade Verbindung mit Pfeil 42">
            <a:extLst>
              <a:ext uri="{FF2B5EF4-FFF2-40B4-BE49-F238E27FC236}">
                <a16:creationId xmlns:a16="http://schemas.microsoft.com/office/drawing/2014/main" id="{1165DB39-0E43-51B6-EEA6-A34993FD1E21}"/>
              </a:ext>
            </a:extLst>
          </p:cNvPr>
          <p:cNvCxnSpPr/>
          <p:nvPr/>
        </p:nvCxnSpPr>
        <p:spPr>
          <a:xfrm>
            <a:off x="9599198" y="3818683"/>
            <a:ext cx="434261" cy="0"/>
          </a:xfrm>
          <a:prstGeom prst="straightConnector1">
            <a:avLst/>
          </a:prstGeom>
          <a:ln w="19050">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37" name="Gewinkelte Verbindung 43">
            <a:extLst>
              <a:ext uri="{FF2B5EF4-FFF2-40B4-BE49-F238E27FC236}">
                <a16:creationId xmlns:a16="http://schemas.microsoft.com/office/drawing/2014/main" id="{B5326D65-F28C-9FCF-4C41-F46D26B32C1D}"/>
              </a:ext>
            </a:extLst>
          </p:cNvPr>
          <p:cNvCxnSpPr/>
          <p:nvPr/>
        </p:nvCxnSpPr>
        <p:spPr>
          <a:xfrm>
            <a:off x="8280245" y="3434681"/>
            <a:ext cx="2191226" cy="393361"/>
          </a:xfrm>
          <a:prstGeom prst="bentConnector2">
            <a:avLst/>
          </a:prstGeom>
          <a:ln w="19050">
            <a:solidFill>
              <a:schemeClr val="accent4">
                <a:lumMod val="90000"/>
                <a:lumOff val="1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38" name="Picture 2" descr="C:\Program Files (x86)\Microsoft Office\MEDIA\CAGCAT10\j0222021.wmf">
            <a:extLst>
              <a:ext uri="{FF2B5EF4-FFF2-40B4-BE49-F238E27FC236}">
                <a16:creationId xmlns:a16="http://schemas.microsoft.com/office/drawing/2014/main" id="{6F00208D-EDE0-1459-97CA-C6799AF23C0C}"/>
              </a:ext>
            </a:extLst>
          </p:cNvPr>
          <p:cNvPicPr>
            <a:picLocks noChangeAspect="1" noChangeArrowheads="1"/>
          </p:cNvPicPr>
          <p:nvPr/>
        </p:nvPicPr>
        <p:blipFill rotWithShape="1">
          <a:blip r:embed="rId7" cstate="print">
            <a:duotone>
              <a:prstClr val="black"/>
              <a:schemeClr val="accent1">
                <a:lumMod val="75000"/>
                <a:lumOff val="25000"/>
                <a:tint val="45000"/>
                <a:satMod val="400000"/>
              </a:schemeClr>
            </a:duotone>
            <a:extLst>
              <a:ext uri="{28A0092B-C50C-407E-A947-70E740481C1C}">
                <a14:useLocalDpi xmlns:a14="http://schemas.microsoft.com/office/drawing/2010/main" val="0"/>
              </a:ext>
            </a:extLst>
          </a:blip>
          <a:srcRect l="37714" t="21673" r="-456" b="16697"/>
          <a:stretch/>
        </p:blipFill>
        <p:spPr bwMode="auto">
          <a:xfrm>
            <a:off x="9177776" y="4308626"/>
            <a:ext cx="214197" cy="220382"/>
          </a:xfrm>
          <a:prstGeom prst="ellipse">
            <a:avLst/>
          </a:prstGeom>
          <a:noFill/>
          <a:extLst>
            <a:ext uri="{909E8E84-426E-40DD-AFC4-6F175D3DCCD1}">
              <a14:hiddenFill xmlns:a14="http://schemas.microsoft.com/office/drawing/2010/main">
                <a:solidFill>
                  <a:srgbClr val="FFFFFF"/>
                </a:solidFill>
              </a14:hiddenFill>
            </a:ext>
          </a:extLst>
        </p:spPr>
      </p:pic>
      <p:cxnSp>
        <p:nvCxnSpPr>
          <p:cNvPr id="39" name="Gewinkelte Verbindung 45">
            <a:extLst>
              <a:ext uri="{FF2B5EF4-FFF2-40B4-BE49-F238E27FC236}">
                <a16:creationId xmlns:a16="http://schemas.microsoft.com/office/drawing/2014/main" id="{63F9F393-AC17-D2A2-EBD6-E89B312764DF}"/>
              </a:ext>
            </a:extLst>
          </p:cNvPr>
          <p:cNvCxnSpPr/>
          <p:nvPr/>
        </p:nvCxnSpPr>
        <p:spPr>
          <a:xfrm rot="5400000">
            <a:off x="9368206" y="3208758"/>
            <a:ext cx="21591" cy="2183000"/>
          </a:xfrm>
          <a:prstGeom prst="bentConnector3">
            <a:avLst>
              <a:gd name="adj1" fmla="val 1322918"/>
            </a:avLst>
          </a:prstGeom>
          <a:ln w="19050">
            <a:solidFill>
              <a:srgbClr val="0070C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40" name="Textfeld 46">
            <a:extLst>
              <a:ext uri="{FF2B5EF4-FFF2-40B4-BE49-F238E27FC236}">
                <a16:creationId xmlns:a16="http://schemas.microsoft.com/office/drawing/2014/main" id="{6008EF8D-1ABA-53A1-FAE9-CA687C0DCEE4}"/>
              </a:ext>
            </a:extLst>
          </p:cNvPr>
          <p:cNvSpPr txBox="1"/>
          <p:nvPr/>
        </p:nvSpPr>
        <p:spPr>
          <a:xfrm>
            <a:off x="8725717" y="4595747"/>
            <a:ext cx="1173967" cy="226591"/>
          </a:xfrm>
          <a:prstGeom prst="rect">
            <a:avLst/>
          </a:prstGeom>
          <a:noFill/>
        </p:spPr>
        <p:txBody>
          <a:bodyPr wrap="none" lIns="36000" tIns="36000" rIns="36000" bIns="36000" rtlCol="0">
            <a:spAutoFit/>
          </a:bodyPr>
          <a:lstStyle/>
          <a:p>
            <a:r>
              <a:rPr lang="de-DE" sz="1000" b="1" err="1">
                <a:latin typeface="Haffer" pitchFamily="50" charset="0"/>
                <a:cs typeface="Haffer" pitchFamily="50" charset="0"/>
              </a:rPr>
              <a:t>Agreed</a:t>
            </a:r>
            <a:r>
              <a:rPr lang="de-DE" sz="1000" b="1">
                <a:latin typeface="Haffer" pitchFamily="50" charset="0"/>
                <a:cs typeface="Haffer" pitchFamily="50" charset="0"/>
              </a:rPr>
              <a:t> PPA-</a:t>
            </a:r>
            <a:r>
              <a:rPr lang="de-DE" sz="1000" b="1" err="1">
                <a:latin typeface="Haffer" pitchFamily="50" charset="0"/>
                <a:cs typeface="Haffer" pitchFamily="50" charset="0"/>
              </a:rPr>
              <a:t>price</a:t>
            </a:r>
            <a:endParaRPr lang="de-DE" sz="1000" b="1">
              <a:latin typeface="Haffer" pitchFamily="50" charset="0"/>
              <a:cs typeface="Haffer" pitchFamily="50" charset="0"/>
            </a:endParaRPr>
          </a:p>
        </p:txBody>
      </p:sp>
      <p:cxnSp>
        <p:nvCxnSpPr>
          <p:cNvPr id="41" name="Gerade Verbindung 47">
            <a:extLst>
              <a:ext uri="{FF2B5EF4-FFF2-40B4-BE49-F238E27FC236}">
                <a16:creationId xmlns:a16="http://schemas.microsoft.com/office/drawing/2014/main" id="{AC3B6B1D-486D-D9CF-9BB6-40C73A748843}"/>
              </a:ext>
            </a:extLst>
          </p:cNvPr>
          <p:cNvCxnSpPr/>
          <p:nvPr/>
        </p:nvCxnSpPr>
        <p:spPr>
          <a:xfrm flipH="1" flipV="1">
            <a:off x="8287501" y="3425879"/>
            <a:ext cx="8453" cy="173451"/>
          </a:xfrm>
          <a:prstGeom prst="line">
            <a:avLst/>
          </a:prstGeom>
          <a:ln w="19050">
            <a:solidFill>
              <a:schemeClr val="accent4">
                <a:lumMod val="90000"/>
                <a:lumOff val="10000"/>
              </a:schemeClr>
            </a:solidFill>
            <a:tailEnd type="none"/>
          </a:ln>
        </p:spPr>
        <p:style>
          <a:lnRef idx="1">
            <a:schemeClr val="accent1"/>
          </a:lnRef>
          <a:fillRef idx="0">
            <a:schemeClr val="accent1"/>
          </a:fillRef>
          <a:effectRef idx="0">
            <a:schemeClr val="accent1"/>
          </a:effectRef>
          <a:fontRef idx="minor">
            <a:schemeClr val="tx1"/>
          </a:fontRef>
        </p:style>
      </p:cxnSp>
      <p:sp>
        <p:nvSpPr>
          <p:cNvPr id="42" name="Textfeld 48">
            <a:extLst>
              <a:ext uri="{FF2B5EF4-FFF2-40B4-BE49-F238E27FC236}">
                <a16:creationId xmlns:a16="http://schemas.microsoft.com/office/drawing/2014/main" id="{D55A9478-73FA-D27D-B03B-8AA960DAE6C2}"/>
              </a:ext>
            </a:extLst>
          </p:cNvPr>
          <p:cNvSpPr txBox="1"/>
          <p:nvPr/>
        </p:nvSpPr>
        <p:spPr>
          <a:xfrm>
            <a:off x="8149920" y="3162664"/>
            <a:ext cx="2576594" cy="226591"/>
          </a:xfrm>
          <a:prstGeom prst="rect">
            <a:avLst/>
          </a:prstGeom>
          <a:noFill/>
        </p:spPr>
        <p:txBody>
          <a:bodyPr wrap="none" lIns="36000" tIns="36000" rIns="36000" bIns="36000" rtlCol="0">
            <a:spAutoFit/>
          </a:bodyPr>
          <a:lstStyle/>
          <a:p>
            <a:r>
              <a:rPr lang="de-DE" sz="1000" b="1" err="1">
                <a:latin typeface="Haffer" pitchFamily="50" charset="0"/>
                <a:cs typeface="Haffer" pitchFamily="50" charset="0"/>
              </a:rPr>
              <a:t>production</a:t>
            </a:r>
            <a:r>
              <a:rPr lang="de-DE" sz="1000" b="1">
                <a:latin typeface="Haffer" pitchFamily="50" charset="0"/>
                <a:cs typeface="Haffer" pitchFamily="50" charset="0"/>
              </a:rPr>
              <a:t> </a:t>
            </a:r>
            <a:r>
              <a:rPr lang="de-DE" sz="1000" b="1" u="sng" err="1">
                <a:latin typeface="Haffer" pitchFamily="50" charset="0"/>
                <a:cs typeface="Haffer" pitchFamily="50" charset="0"/>
              </a:rPr>
              <a:t>schedule</a:t>
            </a:r>
            <a:r>
              <a:rPr lang="de-DE" sz="1000" b="1">
                <a:latin typeface="Haffer" pitchFamily="50" charset="0"/>
                <a:cs typeface="Haffer" pitchFamily="50" charset="0"/>
              </a:rPr>
              <a:t> </a:t>
            </a:r>
            <a:r>
              <a:rPr lang="de-DE" sz="1000" b="1" err="1">
                <a:latin typeface="Haffer" pitchFamily="50" charset="0"/>
                <a:cs typeface="Haffer" pitchFamily="50" charset="0"/>
              </a:rPr>
              <a:t>for</a:t>
            </a:r>
            <a:r>
              <a:rPr lang="de-DE" sz="1000" b="1">
                <a:latin typeface="Haffer" pitchFamily="50" charset="0"/>
                <a:cs typeface="Haffer" pitchFamily="50" charset="0"/>
              </a:rPr>
              <a:t> </a:t>
            </a:r>
            <a:r>
              <a:rPr lang="de-DE" sz="1000" b="1" err="1">
                <a:latin typeface="Haffer" pitchFamily="50" charset="0"/>
                <a:cs typeface="Haffer" pitchFamily="50" charset="0"/>
              </a:rPr>
              <a:t>balancing</a:t>
            </a:r>
            <a:r>
              <a:rPr lang="de-DE" sz="1000" b="1">
                <a:latin typeface="Haffer" pitchFamily="50" charset="0"/>
                <a:cs typeface="Haffer" pitchFamily="50" charset="0"/>
              </a:rPr>
              <a:t> </a:t>
            </a:r>
            <a:r>
              <a:rPr lang="de-DE" sz="1000" b="1" err="1">
                <a:latin typeface="Haffer" pitchFamily="50" charset="0"/>
                <a:cs typeface="Haffer" pitchFamily="50" charset="0"/>
              </a:rPr>
              <a:t>group</a:t>
            </a:r>
            <a:endParaRPr lang="de-DE" sz="1000" b="1">
              <a:latin typeface="Haffer" pitchFamily="50" charset="0"/>
              <a:cs typeface="Haffer" pitchFamily="50" charset="0"/>
            </a:endParaRPr>
          </a:p>
        </p:txBody>
      </p:sp>
      <p:cxnSp>
        <p:nvCxnSpPr>
          <p:cNvPr id="43" name="Gerade Verbindung mit Pfeil 49">
            <a:extLst>
              <a:ext uri="{FF2B5EF4-FFF2-40B4-BE49-F238E27FC236}">
                <a16:creationId xmlns:a16="http://schemas.microsoft.com/office/drawing/2014/main" id="{A95EDCDE-332E-08E3-75B1-C4C7C29324FF}"/>
              </a:ext>
            </a:extLst>
          </p:cNvPr>
          <p:cNvCxnSpPr/>
          <p:nvPr/>
        </p:nvCxnSpPr>
        <p:spPr>
          <a:xfrm flipH="1">
            <a:off x="9627229" y="4086359"/>
            <a:ext cx="400177" cy="0"/>
          </a:xfrm>
          <a:prstGeom prst="straightConnector1">
            <a:avLst/>
          </a:prstGeom>
          <a:ln w="19050">
            <a:solidFill>
              <a:schemeClr val="bg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1" name="Textfeld 52">
            <a:extLst>
              <a:ext uri="{FF2B5EF4-FFF2-40B4-BE49-F238E27FC236}">
                <a16:creationId xmlns:a16="http://schemas.microsoft.com/office/drawing/2014/main" id="{C273D9A0-C66A-F9D8-E5FB-0E7901326E1A}"/>
              </a:ext>
            </a:extLst>
          </p:cNvPr>
          <p:cNvSpPr txBox="1"/>
          <p:nvPr/>
        </p:nvSpPr>
        <p:spPr>
          <a:xfrm rot="16200000">
            <a:off x="6841262" y="3801306"/>
            <a:ext cx="1762389" cy="318759"/>
          </a:xfrm>
          <a:prstGeom prst="roundRect">
            <a:avLst/>
          </a:prstGeom>
          <a:solidFill>
            <a:srgbClr val="022E33"/>
          </a:solidFill>
          <a:ln>
            <a:solidFill>
              <a:srgbClr val="022E33"/>
            </a:solidFill>
          </a:ln>
        </p:spPr>
        <p:txBody>
          <a:bodyPr vert="horz" wrap="square" lIns="90000" tIns="45720" rIns="0" bIns="45720" numCol="1" anchor="ctr" anchorCtr="0" compatLnSpc="1">
            <a:prstTxWarp prst="textNoShape">
              <a:avLst/>
            </a:prstTxWarp>
          </a:bodyPr>
          <a:lstStyle>
            <a:defPPr>
              <a:defRPr lang="de-DE"/>
            </a:defPPr>
            <a:lvl1pPr marL="285750" indent="-285750" algn="ctr" eaLnBrk="1" hangingPunct="1">
              <a:spcBef>
                <a:spcPct val="20000"/>
              </a:spcBef>
              <a:buFont typeface="Wingdings" pitchFamily="2" charset="2"/>
              <a:buNone/>
              <a:defRPr>
                <a:solidFill>
                  <a:schemeClr val="bg1"/>
                </a:solidFill>
                <a:latin typeface="PT Sans" panose="020B0503020203020204" pitchFamily="34" charset="0"/>
                <a:ea typeface="PT Sans" panose="020B0503020203020204" pitchFamily="34" charset="0"/>
                <a:cs typeface="PT Sans" pitchFamily="34" charset="0"/>
              </a:defRPr>
            </a:lvl1pPr>
            <a:lvl2pPr marL="539750" indent="-285750" eaLnBrk="1" hangingPunct="1">
              <a:spcBef>
                <a:spcPct val="20000"/>
              </a:spcBef>
              <a:buFont typeface="Wingdings" pitchFamily="2" charset="2"/>
              <a:buChar char="§"/>
              <a:defRPr>
                <a:latin typeface="PT Sans" panose="020B0503020203020204" pitchFamily="34" charset="0"/>
                <a:ea typeface="PT Sans" panose="020B0503020203020204" pitchFamily="34" charset="0"/>
                <a:cs typeface="PT Sans" pitchFamily="34" charset="0"/>
              </a:defRPr>
            </a:lvl2pPr>
            <a:lvl3pPr marL="80645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3pPr>
            <a:lvl4pPr marL="116840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4pPr>
            <a:lvl5pPr marL="161290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5pPr>
            <a:lvl6pPr marL="2514600" indent="-228600">
              <a:spcBef>
                <a:spcPct val="20000"/>
              </a:spcBef>
              <a:buFont typeface="Arial" panose="020B0604020202020204" pitchFamily="34" charset="0"/>
              <a:buChar char="•"/>
              <a:defRPr sz="2000">
                <a:latin typeface="+mn-lt"/>
                <a:cs typeface="+mn-cs"/>
              </a:defRPr>
            </a:lvl6pPr>
            <a:lvl7pPr marL="2971800" indent="-228600">
              <a:spcBef>
                <a:spcPct val="20000"/>
              </a:spcBef>
              <a:buFont typeface="Arial" panose="020B0604020202020204" pitchFamily="34" charset="0"/>
              <a:buChar char="•"/>
              <a:defRPr sz="2000">
                <a:latin typeface="+mn-lt"/>
                <a:cs typeface="+mn-cs"/>
              </a:defRPr>
            </a:lvl7pPr>
            <a:lvl8pPr marL="3429000" indent="-228600">
              <a:spcBef>
                <a:spcPct val="20000"/>
              </a:spcBef>
              <a:buFont typeface="Arial" panose="020B0604020202020204" pitchFamily="34" charset="0"/>
              <a:buChar char="•"/>
              <a:defRPr sz="2000">
                <a:latin typeface="+mn-lt"/>
                <a:cs typeface="+mn-cs"/>
              </a:defRPr>
            </a:lvl8pPr>
            <a:lvl9pPr marL="3886200" indent="-228600">
              <a:spcBef>
                <a:spcPct val="20000"/>
              </a:spcBef>
              <a:buFont typeface="Arial" panose="020B0604020202020204" pitchFamily="34" charset="0"/>
              <a:buChar char="•"/>
              <a:defRPr sz="2000">
                <a:latin typeface="+mn-lt"/>
                <a:cs typeface="+mn-cs"/>
              </a:defRPr>
            </a:lvl9pPr>
          </a:lstStyle>
          <a:p>
            <a:r>
              <a:rPr lang="de-DE" sz="1200" err="1">
                <a:latin typeface="Haffer" pitchFamily="50" charset="0"/>
                <a:cs typeface="Haffer" pitchFamily="50" charset="0"/>
              </a:rPr>
              <a:t>physical</a:t>
            </a:r>
            <a:endParaRPr lang="de-DE" sz="1200">
              <a:latin typeface="Haffer" pitchFamily="50" charset="0"/>
              <a:cs typeface="Haffer" pitchFamily="50" charset="0"/>
            </a:endParaRPr>
          </a:p>
        </p:txBody>
      </p:sp>
      <p:sp>
        <p:nvSpPr>
          <p:cNvPr id="12" name="Textfeld 53">
            <a:extLst>
              <a:ext uri="{FF2B5EF4-FFF2-40B4-BE49-F238E27FC236}">
                <a16:creationId xmlns:a16="http://schemas.microsoft.com/office/drawing/2014/main" id="{EC2C5484-BA13-00DA-8B05-7DC0F53BEDB1}"/>
              </a:ext>
            </a:extLst>
          </p:cNvPr>
          <p:cNvSpPr txBox="1"/>
          <p:nvPr/>
        </p:nvSpPr>
        <p:spPr>
          <a:xfrm rot="16200000">
            <a:off x="7223157" y="2316610"/>
            <a:ext cx="998596" cy="318759"/>
          </a:xfrm>
          <a:prstGeom prst="roundRect">
            <a:avLst/>
          </a:prstGeom>
          <a:solidFill>
            <a:srgbClr val="022E33"/>
          </a:solidFill>
          <a:ln>
            <a:solidFill>
              <a:srgbClr val="022E33"/>
            </a:solidFill>
          </a:ln>
        </p:spPr>
        <p:txBody>
          <a:bodyPr vert="horz" wrap="square" lIns="90000" tIns="45720" rIns="0" bIns="45720" numCol="1" anchor="ctr" anchorCtr="0" compatLnSpc="1">
            <a:prstTxWarp prst="textNoShape">
              <a:avLst/>
            </a:prstTxWarp>
          </a:bodyPr>
          <a:lstStyle>
            <a:defPPr>
              <a:defRPr lang="de-DE"/>
            </a:defPPr>
            <a:lvl1pPr marL="285750" indent="-285750" algn="ctr" eaLnBrk="1" hangingPunct="1">
              <a:spcBef>
                <a:spcPct val="20000"/>
              </a:spcBef>
              <a:buFont typeface="Wingdings" pitchFamily="2" charset="2"/>
              <a:buNone/>
              <a:defRPr>
                <a:solidFill>
                  <a:schemeClr val="bg1"/>
                </a:solidFill>
                <a:latin typeface="PT Sans" panose="020B0503020203020204" pitchFamily="34" charset="0"/>
                <a:ea typeface="PT Sans" panose="020B0503020203020204" pitchFamily="34" charset="0"/>
                <a:cs typeface="PT Sans" pitchFamily="34" charset="0"/>
              </a:defRPr>
            </a:lvl1pPr>
            <a:lvl2pPr marL="539750" indent="-285750" eaLnBrk="1" hangingPunct="1">
              <a:spcBef>
                <a:spcPct val="20000"/>
              </a:spcBef>
              <a:buFont typeface="Wingdings" pitchFamily="2" charset="2"/>
              <a:buChar char="§"/>
              <a:defRPr>
                <a:latin typeface="PT Sans" panose="020B0503020203020204" pitchFamily="34" charset="0"/>
                <a:ea typeface="PT Sans" panose="020B0503020203020204" pitchFamily="34" charset="0"/>
                <a:cs typeface="PT Sans" pitchFamily="34" charset="0"/>
              </a:defRPr>
            </a:lvl2pPr>
            <a:lvl3pPr marL="80645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3pPr>
            <a:lvl4pPr marL="116840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4pPr>
            <a:lvl5pPr marL="161290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5pPr>
            <a:lvl6pPr marL="2514600" indent="-228600">
              <a:spcBef>
                <a:spcPct val="20000"/>
              </a:spcBef>
              <a:buFont typeface="Arial" panose="020B0604020202020204" pitchFamily="34" charset="0"/>
              <a:buChar char="•"/>
              <a:defRPr sz="2000">
                <a:latin typeface="+mn-lt"/>
                <a:cs typeface="+mn-cs"/>
              </a:defRPr>
            </a:lvl6pPr>
            <a:lvl7pPr marL="2971800" indent="-228600">
              <a:spcBef>
                <a:spcPct val="20000"/>
              </a:spcBef>
              <a:buFont typeface="Arial" panose="020B0604020202020204" pitchFamily="34" charset="0"/>
              <a:buChar char="•"/>
              <a:defRPr sz="2000">
                <a:latin typeface="+mn-lt"/>
                <a:cs typeface="+mn-cs"/>
              </a:defRPr>
            </a:lvl7pPr>
            <a:lvl8pPr marL="3429000" indent="-228600">
              <a:spcBef>
                <a:spcPct val="20000"/>
              </a:spcBef>
              <a:buFont typeface="Arial" panose="020B0604020202020204" pitchFamily="34" charset="0"/>
              <a:buChar char="•"/>
              <a:defRPr sz="2000">
                <a:latin typeface="+mn-lt"/>
                <a:cs typeface="+mn-cs"/>
              </a:defRPr>
            </a:lvl8pPr>
            <a:lvl9pPr marL="3886200" indent="-228600">
              <a:spcBef>
                <a:spcPct val="20000"/>
              </a:spcBef>
              <a:buFont typeface="Arial" panose="020B0604020202020204" pitchFamily="34" charset="0"/>
              <a:buChar char="•"/>
              <a:defRPr sz="2000">
                <a:latin typeface="+mn-lt"/>
                <a:cs typeface="+mn-cs"/>
              </a:defRPr>
            </a:lvl9pPr>
          </a:lstStyle>
          <a:p>
            <a:r>
              <a:rPr lang="de-DE" sz="1200">
                <a:latin typeface="Haffer" pitchFamily="50" charset="0"/>
                <a:cs typeface="Haffer" pitchFamily="50" charset="0"/>
              </a:rPr>
              <a:t>on-site</a:t>
            </a:r>
          </a:p>
        </p:txBody>
      </p:sp>
      <p:cxnSp>
        <p:nvCxnSpPr>
          <p:cNvPr id="13" name="Gerade Verbindung 54">
            <a:extLst>
              <a:ext uri="{FF2B5EF4-FFF2-40B4-BE49-F238E27FC236}">
                <a16:creationId xmlns:a16="http://schemas.microsoft.com/office/drawing/2014/main" id="{DA94284A-E473-C4FA-06F3-7B36AD57864D}"/>
              </a:ext>
            </a:extLst>
          </p:cNvPr>
          <p:cNvCxnSpPr/>
          <p:nvPr/>
        </p:nvCxnSpPr>
        <p:spPr>
          <a:xfrm>
            <a:off x="7577217" y="3031525"/>
            <a:ext cx="3093760" cy="0"/>
          </a:xfrm>
          <a:prstGeom prst="line">
            <a:avLst/>
          </a:prstGeom>
          <a:ln w="12700">
            <a:solidFill>
              <a:srgbClr val="FFA826"/>
            </a:solidFill>
            <a:prstDash val="sysDash"/>
          </a:ln>
        </p:spPr>
        <p:style>
          <a:lnRef idx="1">
            <a:schemeClr val="accent1"/>
          </a:lnRef>
          <a:fillRef idx="0">
            <a:schemeClr val="accent1"/>
          </a:fillRef>
          <a:effectRef idx="0">
            <a:schemeClr val="accent1"/>
          </a:effectRef>
          <a:fontRef idx="minor">
            <a:schemeClr val="tx1"/>
          </a:fontRef>
        </p:style>
      </p:cxnSp>
      <p:pic>
        <p:nvPicPr>
          <p:cNvPr id="20" name="Picture 8" descr="U:\Powerpoint_Folien\Grafiken_für_Foliensätze\Icons\Icon7.emf">
            <a:extLst>
              <a:ext uri="{FF2B5EF4-FFF2-40B4-BE49-F238E27FC236}">
                <a16:creationId xmlns:a16="http://schemas.microsoft.com/office/drawing/2014/main" id="{F133F4DF-A7EE-5B6E-3DBD-85237C1AB9D7}"/>
              </a:ext>
            </a:extLst>
          </p:cNvPr>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669069" y="2146995"/>
            <a:ext cx="211154" cy="184127"/>
          </a:xfrm>
          <a:prstGeom prst="rect">
            <a:avLst/>
          </a:prstGeom>
          <a:noFill/>
          <a:ln>
            <a:noFill/>
          </a:ln>
        </p:spPr>
      </p:pic>
      <p:cxnSp>
        <p:nvCxnSpPr>
          <p:cNvPr id="21" name="Gerade Verbindung mit Pfeil 57">
            <a:extLst>
              <a:ext uri="{FF2B5EF4-FFF2-40B4-BE49-F238E27FC236}">
                <a16:creationId xmlns:a16="http://schemas.microsoft.com/office/drawing/2014/main" id="{0D7EA074-B43B-B0EA-6FC3-22BD7A7486F7}"/>
              </a:ext>
            </a:extLst>
          </p:cNvPr>
          <p:cNvCxnSpPr/>
          <p:nvPr/>
        </p:nvCxnSpPr>
        <p:spPr>
          <a:xfrm>
            <a:off x="8538555" y="2389680"/>
            <a:ext cx="434261" cy="0"/>
          </a:xfrm>
          <a:prstGeom prst="straightConnector1">
            <a:avLst/>
          </a:prstGeom>
          <a:ln w="19050">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22" name="Gerade Verbindung 58">
            <a:extLst>
              <a:ext uri="{FF2B5EF4-FFF2-40B4-BE49-F238E27FC236}">
                <a16:creationId xmlns:a16="http://schemas.microsoft.com/office/drawing/2014/main" id="{7FAEB18D-C4DD-3AE5-B343-14EFAD364E60}"/>
              </a:ext>
            </a:extLst>
          </p:cNvPr>
          <p:cNvCxnSpPr/>
          <p:nvPr/>
        </p:nvCxnSpPr>
        <p:spPr>
          <a:xfrm flipH="1">
            <a:off x="8545392" y="2549076"/>
            <a:ext cx="434261" cy="0"/>
          </a:xfrm>
          <a:prstGeom prst="line">
            <a:avLst/>
          </a:prstGeom>
          <a:ln w="19050">
            <a:solidFill>
              <a:srgbClr val="0070C0"/>
            </a:solidFill>
            <a:tailEnd type="arrow"/>
          </a:ln>
        </p:spPr>
        <p:style>
          <a:lnRef idx="1">
            <a:schemeClr val="accent1"/>
          </a:lnRef>
          <a:fillRef idx="0">
            <a:schemeClr val="accent1"/>
          </a:fillRef>
          <a:effectRef idx="0">
            <a:schemeClr val="accent1"/>
          </a:effectRef>
          <a:fontRef idx="minor">
            <a:schemeClr val="tx1"/>
          </a:fontRef>
        </p:style>
      </p:cxnSp>
      <p:grpSp>
        <p:nvGrpSpPr>
          <p:cNvPr id="23" name="Gruppieren 59">
            <a:extLst>
              <a:ext uri="{FF2B5EF4-FFF2-40B4-BE49-F238E27FC236}">
                <a16:creationId xmlns:a16="http://schemas.microsoft.com/office/drawing/2014/main" id="{3E205CC4-84CC-E98D-EE6D-0A5043255213}"/>
              </a:ext>
            </a:extLst>
          </p:cNvPr>
          <p:cNvGrpSpPr/>
          <p:nvPr/>
        </p:nvGrpSpPr>
        <p:grpSpPr>
          <a:xfrm>
            <a:off x="8061824" y="2285063"/>
            <a:ext cx="420575" cy="504087"/>
            <a:chOff x="3891959" y="2170194"/>
            <a:chExt cx="520030" cy="597194"/>
          </a:xfrm>
        </p:grpSpPr>
        <p:pic>
          <p:nvPicPr>
            <p:cNvPr id="28" name="Picture 3" descr="U:\Powerpoint_Folien\Grafiken_für_Foliensätze\Icons\Icon2.emf">
              <a:extLst>
                <a:ext uri="{FF2B5EF4-FFF2-40B4-BE49-F238E27FC236}">
                  <a16:creationId xmlns:a16="http://schemas.microsoft.com/office/drawing/2014/main" id="{5AB25453-A11E-B0C0-7E29-5DB955B7505F}"/>
                </a:ext>
              </a:extLst>
            </p:cNvPr>
            <p:cNvPicPr>
              <a:picLocks noChangeAspect="1" noChangeArrowheads="1"/>
            </p:cNvPicPr>
            <p:nvPr/>
          </p:nvPicPr>
          <p:blipFill>
            <a:blip r:embed="rId5">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4106633" y="2445848"/>
              <a:ext cx="305356" cy="32154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29" name="Picture 15" descr="U:\Powerpoint_Folien\Grafiken_für_Foliensätze\Icons\Icon34.emf">
              <a:extLst>
                <a:ext uri="{FF2B5EF4-FFF2-40B4-BE49-F238E27FC236}">
                  <a16:creationId xmlns:a16="http://schemas.microsoft.com/office/drawing/2014/main" id="{94215B01-1FE0-A4B2-458E-779CEB1C32E1}"/>
                </a:ext>
              </a:extLst>
            </p:cNvPr>
            <p:cNvPicPr>
              <a:picLocks noChangeAspect="1" noChangeArrowheads="1"/>
            </p:cNvPicPr>
            <p:nvPr/>
          </p:nvPicPr>
          <p:blipFill>
            <a:blip r:embed="rId6">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3891959" y="2170194"/>
              <a:ext cx="421097" cy="597192"/>
            </a:xfrm>
            <a:prstGeom prst="rect">
              <a:avLst/>
            </a:prstGeom>
            <a:noFill/>
            <a:ln w="0">
              <a:noFill/>
              <a:miter lim="800000"/>
              <a:headEnd/>
              <a:tailEnd/>
            </a:ln>
            <a:extLst>
              <a:ext uri="{909E8E84-426E-40DD-AFC4-6F175D3DCCD1}">
                <a14:hiddenFill xmlns:a14="http://schemas.microsoft.com/office/drawing/2010/main">
                  <a:solidFill>
                    <a:srgbClr val="FFFFFF"/>
                  </a:solidFill>
                </a14:hiddenFill>
              </a:ext>
            </a:extLst>
          </p:spPr>
        </p:pic>
      </p:grpSp>
      <p:pic>
        <p:nvPicPr>
          <p:cNvPr id="24" name="Picture 2" descr="C:\Program Files (x86)\Microsoft Office\MEDIA\CAGCAT10\j0222021.wmf">
            <a:extLst>
              <a:ext uri="{FF2B5EF4-FFF2-40B4-BE49-F238E27FC236}">
                <a16:creationId xmlns:a16="http://schemas.microsoft.com/office/drawing/2014/main" id="{7003A83D-8037-88C5-762C-0DA05D0A2094}"/>
              </a:ext>
            </a:extLst>
          </p:cNvPr>
          <p:cNvPicPr>
            <a:picLocks noChangeAspect="1" noChangeArrowheads="1"/>
          </p:cNvPicPr>
          <p:nvPr/>
        </p:nvPicPr>
        <p:blipFill rotWithShape="1">
          <a:blip r:embed="rId7" cstate="print">
            <a:duotone>
              <a:prstClr val="black"/>
              <a:schemeClr val="accent1">
                <a:lumMod val="75000"/>
                <a:lumOff val="25000"/>
                <a:tint val="45000"/>
                <a:satMod val="400000"/>
              </a:schemeClr>
            </a:duotone>
            <a:extLst>
              <a:ext uri="{28A0092B-C50C-407E-A947-70E740481C1C}">
                <a14:useLocalDpi xmlns:a14="http://schemas.microsoft.com/office/drawing/2010/main" val="0"/>
              </a:ext>
            </a:extLst>
          </a:blip>
          <a:srcRect l="37714" t="21673" r="-456" b="16697"/>
          <a:stretch/>
        </p:blipFill>
        <p:spPr bwMode="auto">
          <a:xfrm>
            <a:off x="8681917" y="2620161"/>
            <a:ext cx="214197" cy="220382"/>
          </a:xfrm>
          <a:prstGeom prst="ellipse">
            <a:avLst/>
          </a:prstGeom>
          <a:noFill/>
          <a:extLst>
            <a:ext uri="{909E8E84-426E-40DD-AFC4-6F175D3DCCD1}">
              <a14:hiddenFill xmlns:a14="http://schemas.microsoft.com/office/drawing/2010/main">
                <a:solidFill>
                  <a:srgbClr val="FFFFFF"/>
                </a:solidFill>
              </a14:hiddenFill>
            </a:ext>
          </a:extLst>
        </p:spPr>
      </p:pic>
      <p:pic>
        <p:nvPicPr>
          <p:cNvPr id="25" name="Picture 2" descr="C:\Users\rahel\Desktop\factory.png">
            <a:extLst>
              <a:ext uri="{FF2B5EF4-FFF2-40B4-BE49-F238E27FC236}">
                <a16:creationId xmlns:a16="http://schemas.microsoft.com/office/drawing/2014/main" id="{DCBD68F2-0572-CFE7-D471-A2E8926FB896}"/>
              </a:ext>
            </a:extLst>
          </p:cNvPr>
          <p:cNvPicPr>
            <a:picLocks noChangeAspect="1" noChangeArrowheads="1"/>
          </p:cNvPicPr>
          <p:nvPr/>
        </p:nvPicPr>
        <p:blipFill rotWithShape="1">
          <a:blip r:embed="rId4" cstate="print">
            <a:duotone>
              <a:prstClr val="black"/>
              <a:srgbClr val="022E33">
                <a:tint val="45000"/>
                <a:satMod val="400000"/>
              </a:srgbClr>
            </a:duotone>
            <a:extLst>
              <a:ext uri="{28A0092B-C50C-407E-A947-70E740481C1C}">
                <a14:useLocalDpi xmlns:a14="http://schemas.microsoft.com/office/drawing/2010/main" val="0"/>
              </a:ext>
            </a:extLst>
          </a:blip>
          <a:srcRect b="8375"/>
          <a:stretch/>
        </p:blipFill>
        <p:spPr bwMode="auto">
          <a:xfrm>
            <a:off x="9040227" y="2331966"/>
            <a:ext cx="478086" cy="457186"/>
          </a:xfrm>
          <a:prstGeom prst="rect">
            <a:avLst/>
          </a:prstGeom>
          <a:noFill/>
          <a:ln w="0">
            <a:noFill/>
            <a:miter lim="800000"/>
            <a:headEnd/>
            <a:tailEnd/>
          </a:ln>
          <a:extLst>
            <a:ext uri="{909E8E84-426E-40DD-AFC4-6F175D3DCCD1}">
              <a14:hiddenFill xmlns:a14="http://schemas.microsoft.com/office/drawing/2010/main">
                <a:solidFill>
                  <a:srgbClr val="FFFFFF"/>
                </a:solidFill>
              </a14:hiddenFill>
            </a:ext>
          </a:extLst>
        </p:spPr>
      </p:pic>
      <p:pic>
        <p:nvPicPr>
          <p:cNvPr id="26" name="Picture 64" descr="U:\Powerpoint_Folien\Grafiken_für_Foliensätze\Icons\Icon82.emf">
            <a:extLst>
              <a:ext uri="{FF2B5EF4-FFF2-40B4-BE49-F238E27FC236}">
                <a16:creationId xmlns:a16="http://schemas.microsoft.com/office/drawing/2014/main" id="{F9FAFDDF-E69D-2BE8-E57E-08BB8357F564}"/>
              </a:ext>
            </a:extLst>
          </p:cNvPr>
          <p:cNvPicPr>
            <a:picLocks noChangeAspect="1" noChangeArrowheads="1"/>
          </p:cNvPicPr>
          <p:nvPr/>
        </p:nvPicPr>
        <p:blipFill>
          <a:blip r:embed="rId9">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10113149" y="2261067"/>
            <a:ext cx="505974" cy="52808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27" name="Gerade Verbindung mit Pfeil 63">
            <a:extLst>
              <a:ext uri="{FF2B5EF4-FFF2-40B4-BE49-F238E27FC236}">
                <a16:creationId xmlns:a16="http://schemas.microsoft.com/office/drawing/2014/main" id="{6A7132DE-C773-FC55-D040-F8E6004D273D}"/>
              </a:ext>
            </a:extLst>
          </p:cNvPr>
          <p:cNvCxnSpPr>
            <a:stCxn id="26" idx="1"/>
          </p:cNvCxnSpPr>
          <p:nvPr/>
        </p:nvCxnSpPr>
        <p:spPr>
          <a:xfrm flipH="1" flipV="1">
            <a:off x="9604860" y="2485583"/>
            <a:ext cx="508289" cy="0"/>
          </a:xfrm>
          <a:prstGeom prst="straightConnector1">
            <a:avLst/>
          </a:prstGeom>
          <a:ln w="19050">
            <a:solidFill>
              <a:schemeClr val="bg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5" name="Gerade Verbindung 80">
            <a:extLst>
              <a:ext uri="{FF2B5EF4-FFF2-40B4-BE49-F238E27FC236}">
                <a16:creationId xmlns:a16="http://schemas.microsoft.com/office/drawing/2014/main" id="{0F9B87FD-2ECD-058B-4CBD-DFE78B3834BD}"/>
              </a:ext>
            </a:extLst>
          </p:cNvPr>
          <p:cNvCxnSpPr/>
          <p:nvPr/>
        </p:nvCxnSpPr>
        <p:spPr>
          <a:xfrm>
            <a:off x="7181492" y="1988380"/>
            <a:ext cx="3489513"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6" name="Rechteck 81">
            <a:extLst>
              <a:ext uri="{FF2B5EF4-FFF2-40B4-BE49-F238E27FC236}">
                <a16:creationId xmlns:a16="http://schemas.microsoft.com/office/drawing/2014/main" id="{DDA284A2-7A5D-0933-1047-30998081043B}"/>
              </a:ext>
            </a:extLst>
          </p:cNvPr>
          <p:cNvSpPr/>
          <p:nvPr/>
        </p:nvSpPr>
        <p:spPr>
          <a:xfrm>
            <a:off x="7181492" y="1988380"/>
            <a:ext cx="3545022" cy="4593140"/>
          </a:xfrm>
          <a:prstGeom prst="rect">
            <a:avLst/>
          </a:prstGeom>
          <a:noFill/>
          <a:ln>
            <a:solidFill>
              <a:srgbClr val="022E33"/>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err="1"/>
          </a:p>
        </p:txBody>
      </p:sp>
      <p:pic>
        <p:nvPicPr>
          <p:cNvPr id="17" name="Picture 4" descr="Bildergebnis für delta symbol transparent">
            <a:extLst>
              <a:ext uri="{FF2B5EF4-FFF2-40B4-BE49-F238E27FC236}">
                <a16:creationId xmlns:a16="http://schemas.microsoft.com/office/drawing/2014/main" id="{0AD6D51D-151C-E485-6835-5A200588B7C8}"/>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193179" y="6369383"/>
            <a:ext cx="119521" cy="124744"/>
          </a:xfrm>
          <a:prstGeom prst="rect">
            <a:avLst/>
          </a:prstGeom>
          <a:noFill/>
          <a:extLst>
            <a:ext uri="{909E8E84-426E-40DD-AFC4-6F175D3DCCD1}">
              <a14:hiddenFill xmlns:a14="http://schemas.microsoft.com/office/drawing/2010/main">
                <a:solidFill>
                  <a:srgbClr val="FFFFFF"/>
                </a:solidFill>
              </a14:hiddenFill>
            </a:ext>
          </a:extLst>
        </p:spPr>
      </p:pic>
      <p:sp>
        <p:nvSpPr>
          <p:cNvPr id="18" name="Textfeld 84">
            <a:extLst>
              <a:ext uri="{FF2B5EF4-FFF2-40B4-BE49-F238E27FC236}">
                <a16:creationId xmlns:a16="http://schemas.microsoft.com/office/drawing/2014/main" id="{631F220B-D7E4-A386-7A07-B4EAE0433557}"/>
              </a:ext>
            </a:extLst>
          </p:cNvPr>
          <p:cNvSpPr txBox="1"/>
          <p:nvPr/>
        </p:nvSpPr>
        <p:spPr>
          <a:xfrm>
            <a:off x="9450639" y="4203779"/>
            <a:ext cx="838604" cy="239416"/>
          </a:xfrm>
          <a:prstGeom prst="rect">
            <a:avLst/>
          </a:prstGeom>
          <a:noFill/>
        </p:spPr>
        <p:txBody>
          <a:bodyPr wrap="none" lIns="36000" tIns="36000" rIns="36000" bIns="36000" rtlCol="0">
            <a:spAutoFit/>
          </a:bodyPr>
          <a:lstStyle/>
          <a:p>
            <a:r>
              <a:rPr lang="de-DE" sz="1000" b="1">
                <a:solidFill>
                  <a:schemeClr val="bg2"/>
                </a:solidFill>
              </a:rPr>
              <a:t>Residual </a:t>
            </a:r>
            <a:r>
              <a:rPr lang="de-DE" sz="1000" b="1" err="1">
                <a:solidFill>
                  <a:schemeClr val="bg2"/>
                </a:solidFill>
              </a:rPr>
              <a:t>load</a:t>
            </a:r>
            <a:endParaRPr lang="de-DE" sz="1000" b="1">
              <a:solidFill>
                <a:schemeClr val="bg2"/>
              </a:solidFill>
            </a:endParaRPr>
          </a:p>
        </p:txBody>
      </p:sp>
      <p:sp>
        <p:nvSpPr>
          <p:cNvPr id="19" name="Textfeld 85">
            <a:extLst>
              <a:ext uri="{FF2B5EF4-FFF2-40B4-BE49-F238E27FC236}">
                <a16:creationId xmlns:a16="http://schemas.microsoft.com/office/drawing/2014/main" id="{9DA53D4C-337D-0125-EB64-C8411596604B}"/>
              </a:ext>
            </a:extLst>
          </p:cNvPr>
          <p:cNvSpPr txBox="1"/>
          <p:nvPr/>
        </p:nvSpPr>
        <p:spPr>
          <a:xfrm>
            <a:off x="9344623" y="2164598"/>
            <a:ext cx="880617" cy="226591"/>
          </a:xfrm>
          <a:prstGeom prst="rect">
            <a:avLst/>
          </a:prstGeom>
          <a:noFill/>
        </p:spPr>
        <p:txBody>
          <a:bodyPr wrap="none" lIns="36000" tIns="36000" rIns="36000" bIns="36000" rtlCol="0">
            <a:spAutoFit/>
          </a:bodyPr>
          <a:lstStyle/>
          <a:p>
            <a:r>
              <a:rPr lang="de-DE" sz="1000" b="1">
                <a:solidFill>
                  <a:srgbClr val="022E33"/>
                </a:solidFill>
                <a:latin typeface="Haffer" pitchFamily="50" charset="0"/>
                <a:cs typeface="Haffer" pitchFamily="50" charset="0"/>
              </a:rPr>
              <a:t>Residual </a:t>
            </a:r>
            <a:r>
              <a:rPr lang="de-DE" sz="1000" b="1" err="1">
                <a:solidFill>
                  <a:srgbClr val="022E33"/>
                </a:solidFill>
                <a:latin typeface="Haffer" pitchFamily="50" charset="0"/>
                <a:cs typeface="Haffer" pitchFamily="50" charset="0"/>
              </a:rPr>
              <a:t>load</a:t>
            </a:r>
            <a:endParaRPr lang="de-DE" sz="1000" b="1">
              <a:solidFill>
                <a:srgbClr val="022E33"/>
              </a:solidFill>
              <a:latin typeface="Haffer" pitchFamily="50" charset="0"/>
              <a:cs typeface="Haffer" pitchFamily="50" charset="0"/>
            </a:endParaRPr>
          </a:p>
        </p:txBody>
      </p:sp>
      <p:pic>
        <p:nvPicPr>
          <p:cNvPr id="65" name="Picture 3" descr="U:\Powerpoint_Folien\Grafiken_für_Foliensätze\Icons\Icon2.emf">
            <a:extLst>
              <a:ext uri="{FF2B5EF4-FFF2-40B4-BE49-F238E27FC236}">
                <a16:creationId xmlns:a16="http://schemas.microsoft.com/office/drawing/2014/main" id="{1F84F17E-CA76-B2D1-10FE-C3D2DE32E89A}"/>
              </a:ext>
            </a:extLst>
          </p:cNvPr>
          <p:cNvPicPr>
            <a:picLocks noChangeAspect="1" noChangeArrowheads="1"/>
          </p:cNvPicPr>
          <p:nvPr/>
        </p:nvPicPr>
        <p:blipFill>
          <a:blip r:embed="rId5">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2120879" y="4036623"/>
            <a:ext cx="229533" cy="2618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6" name="Picture 15" descr="U:\Powerpoint_Folien\Grafiken_für_Foliensätze\Icons\Icon34.emf">
            <a:extLst>
              <a:ext uri="{FF2B5EF4-FFF2-40B4-BE49-F238E27FC236}">
                <a16:creationId xmlns:a16="http://schemas.microsoft.com/office/drawing/2014/main" id="{F7C374AD-D2A5-3D80-F362-438359B9D94A}"/>
              </a:ext>
            </a:extLst>
          </p:cNvPr>
          <p:cNvPicPr>
            <a:picLocks noChangeAspect="1" noChangeArrowheads="1"/>
          </p:cNvPicPr>
          <p:nvPr/>
        </p:nvPicPr>
        <p:blipFill>
          <a:blip r:embed="rId6">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1959508" y="3789688"/>
            <a:ext cx="316537" cy="486422"/>
          </a:xfrm>
          <a:prstGeom prst="rect">
            <a:avLst/>
          </a:prstGeom>
          <a:noFill/>
          <a:ln w="0">
            <a:noFill/>
            <a:miter lim="800000"/>
            <a:headEnd/>
            <a:tailEnd/>
          </a:ln>
          <a:extLst>
            <a:ext uri="{909E8E84-426E-40DD-AFC4-6F175D3DCCD1}">
              <a14:hiddenFill xmlns:a14="http://schemas.microsoft.com/office/drawing/2010/main">
                <a:solidFill>
                  <a:srgbClr val="FFFFFF"/>
                </a:solidFill>
              </a14:hiddenFill>
            </a:ext>
          </a:extLst>
        </p:spPr>
      </p:pic>
      <p:pic>
        <p:nvPicPr>
          <p:cNvPr id="67" name="Picture 2" descr="C:\Users\rahel\Desktop\factory.png">
            <a:extLst>
              <a:ext uri="{FF2B5EF4-FFF2-40B4-BE49-F238E27FC236}">
                <a16:creationId xmlns:a16="http://schemas.microsoft.com/office/drawing/2014/main" id="{F5FAA23B-3A68-366D-CC75-23E718FD43CA}"/>
              </a:ext>
            </a:extLst>
          </p:cNvPr>
          <p:cNvPicPr>
            <a:picLocks noChangeAspect="1" noChangeArrowheads="1"/>
          </p:cNvPicPr>
          <p:nvPr/>
        </p:nvPicPr>
        <p:blipFill rotWithShape="1">
          <a:blip r:embed="rId4" cstate="print">
            <a:duotone>
              <a:prstClr val="black"/>
              <a:srgbClr val="022E33">
                <a:tint val="45000"/>
                <a:satMod val="400000"/>
              </a:srgbClr>
            </a:duotone>
            <a:extLst>
              <a:ext uri="{28A0092B-C50C-407E-A947-70E740481C1C}">
                <a14:useLocalDpi xmlns:a14="http://schemas.microsoft.com/office/drawing/2010/main" val="0"/>
              </a:ext>
            </a:extLst>
          </a:blip>
          <a:srcRect b="8375"/>
          <a:stretch/>
        </p:blipFill>
        <p:spPr bwMode="auto">
          <a:xfrm>
            <a:off x="3866161" y="3857356"/>
            <a:ext cx="444357" cy="441166"/>
          </a:xfrm>
          <a:prstGeom prst="rect">
            <a:avLst/>
          </a:prstGeom>
          <a:noFill/>
          <a:ln w="0">
            <a:noFill/>
            <a:miter lim="800000"/>
            <a:headEnd/>
            <a:tailEnd/>
          </a:ln>
          <a:extLst>
            <a:ext uri="{909E8E84-426E-40DD-AFC4-6F175D3DCCD1}">
              <a14:hiddenFill xmlns:a14="http://schemas.microsoft.com/office/drawing/2010/main">
                <a:solidFill>
                  <a:srgbClr val="FFFFFF"/>
                </a:solidFill>
              </a14:hiddenFill>
            </a:ext>
          </a:extLst>
        </p:spPr>
      </p:pic>
      <p:cxnSp>
        <p:nvCxnSpPr>
          <p:cNvPr id="68" name="Gewinkelte Verbindung 9">
            <a:extLst>
              <a:ext uri="{FF2B5EF4-FFF2-40B4-BE49-F238E27FC236}">
                <a16:creationId xmlns:a16="http://schemas.microsoft.com/office/drawing/2014/main" id="{370E4BA8-3BBD-7FB0-C129-2CD922783A09}"/>
              </a:ext>
            </a:extLst>
          </p:cNvPr>
          <p:cNvCxnSpPr/>
          <p:nvPr/>
        </p:nvCxnSpPr>
        <p:spPr>
          <a:xfrm rot="10800000" flipV="1">
            <a:off x="2506074" y="4212931"/>
            <a:ext cx="1147921" cy="1"/>
          </a:xfrm>
          <a:prstGeom prst="bentConnector3">
            <a:avLst>
              <a:gd name="adj1" fmla="val 49592"/>
            </a:avLst>
          </a:prstGeom>
          <a:ln w="19050">
            <a:solidFill>
              <a:schemeClr val="bg1">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69" name="Textplatzhalter 3">
            <a:extLst>
              <a:ext uri="{FF2B5EF4-FFF2-40B4-BE49-F238E27FC236}">
                <a16:creationId xmlns:a16="http://schemas.microsoft.com/office/drawing/2014/main" id="{91DE27CF-DD71-2A70-1AC6-ABF0E14BF2E7}"/>
              </a:ext>
            </a:extLst>
          </p:cNvPr>
          <p:cNvSpPr txBox="1">
            <a:spLocks/>
          </p:cNvSpPr>
          <p:nvPr/>
        </p:nvSpPr>
        <p:spPr bwMode="auto">
          <a:xfrm rot="16200000">
            <a:off x="583957" y="3599520"/>
            <a:ext cx="1417946" cy="296238"/>
          </a:xfrm>
          <a:prstGeom prst="roundRect">
            <a:avLst/>
          </a:prstGeom>
          <a:solidFill>
            <a:srgbClr val="022E33"/>
          </a:solidFill>
          <a:ln>
            <a:solidFill>
              <a:srgbClr val="C00000"/>
            </a:solidFill>
          </a:ln>
        </p:spPr>
        <p:txBody>
          <a:bodyPr vert="horz" wrap="square" lIns="90000" tIns="45720" rIns="0" bIns="45720" numCol="1" anchor="ctr" anchorCtr="0" compatLnSpc="1">
            <a:prstTxWarp prst="textNoShape">
              <a:avLst/>
            </a:prstTxWarp>
          </a:bodyPr>
          <a:lstStyle>
            <a:lvl1pPr marL="285750" indent="-285750" algn="l" rtl="0" eaLnBrk="1" fontAlgn="base" hangingPunct="1">
              <a:spcBef>
                <a:spcPct val="20000"/>
              </a:spcBef>
              <a:spcAft>
                <a:spcPct val="0"/>
              </a:spcAft>
              <a:buFont typeface="Wingdings" pitchFamily="2" charset="2"/>
              <a:buNone/>
              <a:defRPr lang="de-DE" kern="1200" dirty="0">
                <a:solidFill>
                  <a:schemeClr val="bg1"/>
                </a:solidFill>
                <a:latin typeface="PT Sans" panose="020B0503020203020204" pitchFamily="34" charset="0"/>
                <a:ea typeface="PT Sans" panose="020B0503020203020204" pitchFamily="34" charset="0"/>
                <a:cs typeface="PT Sans" pitchFamily="34" charset="0"/>
              </a:defRPr>
            </a:lvl1pPr>
            <a:lvl2pPr marL="539750" indent="-285750" algn="l" rtl="0" eaLnBrk="1" fontAlgn="base" hangingPunct="1">
              <a:spcBef>
                <a:spcPct val="20000"/>
              </a:spcBef>
              <a:spcAft>
                <a:spcPct val="0"/>
              </a:spcAft>
              <a:buFont typeface="Wingdings" pitchFamily="2" charset="2"/>
              <a:buChar char="§"/>
              <a:defRPr kern="1200">
                <a:solidFill>
                  <a:schemeClr val="tx1"/>
                </a:solidFill>
                <a:latin typeface="PT Sans" panose="020B0503020203020204" pitchFamily="34" charset="0"/>
                <a:ea typeface="PT Sans" panose="020B0503020203020204" pitchFamily="34" charset="0"/>
                <a:cs typeface="PT Sans" pitchFamily="34" charset="0"/>
              </a:defRPr>
            </a:lvl2pPr>
            <a:lvl3pPr marL="806450" indent="-228600" algn="l" rtl="0" eaLnBrk="1" fontAlgn="base" hangingPunct="1">
              <a:spcBef>
                <a:spcPct val="20000"/>
              </a:spcBef>
              <a:spcAft>
                <a:spcPct val="0"/>
              </a:spcAft>
              <a:buFont typeface="Wingdings" pitchFamily="2" charset="2"/>
              <a:buChar char="§"/>
              <a:defRPr sz="1600" kern="1200">
                <a:solidFill>
                  <a:schemeClr val="tx1"/>
                </a:solidFill>
                <a:latin typeface="PT Sans" panose="020B0503020203020204" pitchFamily="34" charset="0"/>
                <a:ea typeface="PT Sans" panose="020B0503020203020204" pitchFamily="34" charset="0"/>
                <a:cs typeface="PT Sans" pitchFamily="34" charset="0"/>
              </a:defRPr>
            </a:lvl3pPr>
            <a:lvl4pPr marL="1168400" indent="-228600" algn="l" rtl="0" eaLnBrk="1" fontAlgn="base" hangingPunct="1">
              <a:spcBef>
                <a:spcPct val="20000"/>
              </a:spcBef>
              <a:spcAft>
                <a:spcPct val="0"/>
              </a:spcAft>
              <a:buFont typeface="Wingdings" pitchFamily="2" charset="2"/>
              <a:buChar char="§"/>
              <a:defRPr sz="1600" kern="1200">
                <a:solidFill>
                  <a:schemeClr val="tx1"/>
                </a:solidFill>
                <a:latin typeface="PT Sans" panose="020B0503020203020204" pitchFamily="34" charset="0"/>
                <a:ea typeface="PT Sans" panose="020B0503020203020204" pitchFamily="34" charset="0"/>
                <a:cs typeface="PT Sans" pitchFamily="34" charset="0"/>
              </a:defRPr>
            </a:lvl4pPr>
            <a:lvl5pPr marL="1612900" indent="-228600" algn="l" rtl="0" eaLnBrk="1" fontAlgn="base" hangingPunct="1">
              <a:spcBef>
                <a:spcPct val="20000"/>
              </a:spcBef>
              <a:spcAft>
                <a:spcPct val="0"/>
              </a:spcAft>
              <a:buFont typeface="Wingdings" pitchFamily="2" charset="2"/>
              <a:buChar char="§"/>
              <a:defRPr sz="1600" kern="1200">
                <a:solidFill>
                  <a:schemeClr val="tx1"/>
                </a:solidFill>
                <a:latin typeface="PT Sans" panose="020B0503020203020204" pitchFamily="34" charset="0"/>
                <a:ea typeface="PT Sans" panose="020B0503020203020204" pitchFamily="34" charset="0"/>
                <a:cs typeface="PT Sans"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altLang="de-DE" sz="1600">
                <a:latin typeface="Haffer" pitchFamily="50" charset="0"/>
                <a:cs typeface="Haffer" pitchFamily="50" charset="0"/>
              </a:rPr>
              <a:t>Who?</a:t>
            </a:r>
          </a:p>
        </p:txBody>
      </p:sp>
      <p:sp>
        <p:nvSpPr>
          <p:cNvPr id="70" name="Textfeld 108">
            <a:extLst>
              <a:ext uri="{FF2B5EF4-FFF2-40B4-BE49-F238E27FC236}">
                <a16:creationId xmlns:a16="http://schemas.microsoft.com/office/drawing/2014/main" id="{5AEE10F2-8BB8-152D-FDBD-E8BAC87B917D}"/>
              </a:ext>
            </a:extLst>
          </p:cNvPr>
          <p:cNvSpPr txBox="1"/>
          <p:nvPr/>
        </p:nvSpPr>
        <p:spPr>
          <a:xfrm rot="16200000">
            <a:off x="1262886" y="3929747"/>
            <a:ext cx="762364" cy="296238"/>
          </a:xfrm>
          <a:prstGeom prst="roundRect">
            <a:avLst/>
          </a:prstGeom>
          <a:solidFill>
            <a:srgbClr val="022E33"/>
          </a:solidFill>
          <a:ln>
            <a:solidFill>
              <a:srgbClr val="C00000"/>
            </a:solidFill>
          </a:ln>
        </p:spPr>
        <p:txBody>
          <a:bodyPr vert="horz" wrap="square" lIns="36000" tIns="36000" rIns="0" bIns="45720" numCol="1" anchor="ctr" anchorCtr="0" compatLnSpc="1">
            <a:prstTxWarp prst="textNoShape">
              <a:avLst/>
            </a:prstTxWarp>
          </a:bodyPr>
          <a:lstStyle>
            <a:defPPr>
              <a:defRPr lang="de-DE"/>
            </a:defPPr>
            <a:lvl1pPr marL="285750" indent="-285750" algn="ctr" eaLnBrk="1" hangingPunct="1">
              <a:spcBef>
                <a:spcPct val="20000"/>
              </a:spcBef>
              <a:buFont typeface="Wingdings" pitchFamily="2" charset="2"/>
              <a:buNone/>
              <a:defRPr>
                <a:solidFill>
                  <a:schemeClr val="bg1"/>
                </a:solidFill>
                <a:latin typeface="PT Sans" panose="020B0503020203020204" pitchFamily="34" charset="0"/>
                <a:ea typeface="PT Sans" panose="020B0503020203020204" pitchFamily="34" charset="0"/>
                <a:cs typeface="PT Sans" pitchFamily="34" charset="0"/>
              </a:defRPr>
            </a:lvl1pPr>
            <a:lvl2pPr marL="539750" indent="-285750" eaLnBrk="1" hangingPunct="1">
              <a:spcBef>
                <a:spcPct val="20000"/>
              </a:spcBef>
              <a:buFont typeface="Wingdings" pitchFamily="2" charset="2"/>
              <a:buChar char="§"/>
              <a:defRPr>
                <a:latin typeface="PT Sans" panose="020B0503020203020204" pitchFamily="34" charset="0"/>
                <a:ea typeface="PT Sans" panose="020B0503020203020204" pitchFamily="34" charset="0"/>
                <a:cs typeface="PT Sans" pitchFamily="34" charset="0"/>
              </a:defRPr>
            </a:lvl2pPr>
            <a:lvl3pPr marL="80645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3pPr>
            <a:lvl4pPr marL="116840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4pPr>
            <a:lvl5pPr marL="161290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5pPr>
            <a:lvl6pPr marL="2514600" indent="-228600">
              <a:spcBef>
                <a:spcPct val="20000"/>
              </a:spcBef>
              <a:buFont typeface="Arial" panose="020B0604020202020204" pitchFamily="34" charset="0"/>
              <a:buChar char="•"/>
              <a:defRPr sz="2000">
                <a:latin typeface="+mn-lt"/>
                <a:cs typeface="+mn-cs"/>
              </a:defRPr>
            </a:lvl6pPr>
            <a:lvl7pPr marL="2971800" indent="-228600">
              <a:spcBef>
                <a:spcPct val="20000"/>
              </a:spcBef>
              <a:buFont typeface="Arial" panose="020B0604020202020204" pitchFamily="34" charset="0"/>
              <a:buChar char="•"/>
              <a:defRPr sz="2000">
                <a:latin typeface="+mn-lt"/>
                <a:cs typeface="+mn-cs"/>
              </a:defRPr>
            </a:lvl7pPr>
            <a:lvl8pPr marL="3429000" indent="-228600">
              <a:spcBef>
                <a:spcPct val="20000"/>
              </a:spcBef>
              <a:buFont typeface="Arial" panose="020B0604020202020204" pitchFamily="34" charset="0"/>
              <a:buChar char="•"/>
              <a:defRPr sz="2000">
                <a:latin typeface="+mn-lt"/>
                <a:cs typeface="+mn-cs"/>
              </a:defRPr>
            </a:lvl8pPr>
            <a:lvl9pPr marL="3886200" indent="-228600">
              <a:spcBef>
                <a:spcPct val="20000"/>
              </a:spcBef>
              <a:buFont typeface="Arial" panose="020B0604020202020204" pitchFamily="34" charset="0"/>
              <a:buChar char="•"/>
              <a:defRPr sz="2000">
                <a:latin typeface="+mn-lt"/>
                <a:cs typeface="+mn-cs"/>
              </a:defRPr>
            </a:lvl9pPr>
          </a:lstStyle>
          <a:p>
            <a:pPr marL="0" indent="0" algn="l">
              <a:spcBef>
                <a:spcPts val="0"/>
              </a:spcBef>
            </a:pPr>
            <a:r>
              <a:rPr lang="de-DE" sz="1000" b="1">
                <a:latin typeface="Haffer" pitchFamily="50" charset="0"/>
                <a:cs typeface="Haffer" pitchFamily="50" charset="0"/>
              </a:rPr>
              <a:t>Corporate</a:t>
            </a:r>
          </a:p>
        </p:txBody>
      </p:sp>
      <p:sp>
        <p:nvSpPr>
          <p:cNvPr id="71" name="Textfeld 109">
            <a:extLst>
              <a:ext uri="{FF2B5EF4-FFF2-40B4-BE49-F238E27FC236}">
                <a16:creationId xmlns:a16="http://schemas.microsoft.com/office/drawing/2014/main" id="{5C524626-F3EC-080F-66F3-429B9C98EC20}"/>
              </a:ext>
            </a:extLst>
          </p:cNvPr>
          <p:cNvSpPr txBox="1"/>
          <p:nvPr/>
        </p:nvSpPr>
        <p:spPr>
          <a:xfrm rot="16200000">
            <a:off x="1352028" y="3178919"/>
            <a:ext cx="584107" cy="296271"/>
          </a:xfrm>
          <a:prstGeom prst="roundRect">
            <a:avLst/>
          </a:prstGeom>
          <a:solidFill>
            <a:srgbClr val="022E33"/>
          </a:solidFill>
          <a:ln>
            <a:solidFill>
              <a:srgbClr val="C00000"/>
            </a:solidFill>
          </a:ln>
        </p:spPr>
        <p:txBody>
          <a:bodyPr vert="horz" wrap="square" lIns="90000" tIns="45720" rIns="0" bIns="45720" numCol="1" anchor="ctr" anchorCtr="0" compatLnSpc="1">
            <a:prstTxWarp prst="textNoShape">
              <a:avLst/>
            </a:prstTxWarp>
          </a:bodyPr>
          <a:lstStyle>
            <a:defPPr>
              <a:defRPr lang="de-DE"/>
            </a:defPPr>
            <a:lvl1pPr marL="285750" indent="-285750" algn="ctr" eaLnBrk="1" hangingPunct="1">
              <a:spcBef>
                <a:spcPct val="20000"/>
              </a:spcBef>
              <a:buFont typeface="Wingdings" pitchFamily="2" charset="2"/>
              <a:buNone/>
              <a:defRPr>
                <a:solidFill>
                  <a:schemeClr val="bg1"/>
                </a:solidFill>
                <a:latin typeface="PT Sans" panose="020B0503020203020204" pitchFamily="34" charset="0"/>
                <a:ea typeface="PT Sans" panose="020B0503020203020204" pitchFamily="34" charset="0"/>
                <a:cs typeface="PT Sans" pitchFamily="34" charset="0"/>
              </a:defRPr>
            </a:lvl1pPr>
            <a:lvl2pPr marL="539750" indent="-285750" eaLnBrk="1" hangingPunct="1">
              <a:spcBef>
                <a:spcPct val="20000"/>
              </a:spcBef>
              <a:buFont typeface="Wingdings" pitchFamily="2" charset="2"/>
              <a:buChar char="§"/>
              <a:defRPr>
                <a:latin typeface="PT Sans" panose="020B0503020203020204" pitchFamily="34" charset="0"/>
                <a:ea typeface="PT Sans" panose="020B0503020203020204" pitchFamily="34" charset="0"/>
                <a:cs typeface="PT Sans" pitchFamily="34" charset="0"/>
              </a:defRPr>
            </a:lvl2pPr>
            <a:lvl3pPr marL="80645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3pPr>
            <a:lvl4pPr marL="116840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4pPr>
            <a:lvl5pPr marL="1612900" indent="-228600" eaLnBrk="1" hangingPunct="1">
              <a:spcBef>
                <a:spcPct val="20000"/>
              </a:spcBef>
              <a:buFont typeface="Wingdings" pitchFamily="2" charset="2"/>
              <a:buChar char="§"/>
              <a:defRPr sz="1600">
                <a:latin typeface="PT Sans" panose="020B0503020203020204" pitchFamily="34" charset="0"/>
                <a:ea typeface="PT Sans" panose="020B0503020203020204" pitchFamily="34" charset="0"/>
                <a:cs typeface="PT Sans" pitchFamily="34" charset="0"/>
              </a:defRPr>
            </a:lvl5pPr>
            <a:lvl6pPr marL="2514600" indent="-228600">
              <a:spcBef>
                <a:spcPct val="20000"/>
              </a:spcBef>
              <a:buFont typeface="Arial" panose="020B0604020202020204" pitchFamily="34" charset="0"/>
              <a:buChar char="•"/>
              <a:defRPr sz="2000">
                <a:latin typeface="+mn-lt"/>
                <a:cs typeface="+mn-cs"/>
              </a:defRPr>
            </a:lvl6pPr>
            <a:lvl7pPr marL="2971800" indent="-228600">
              <a:spcBef>
                <a:spcPct val="20000"/>
              </a:spcBef>
              <a:buFont typeface="Arial" panose="020B0604020202020204" pitchFamily="34" charset="0"/>
              <a:buChar char="•"/>
              <a:defRPr sz="2000">
                <a:latin typeface="+mn-lt"/>
                <a:cs typeface="+mn-cs"/>
              </a:defRPr>
            </a:lvl7pPr>
            <a:lvl8pPr marL="3429000" indent="-228600">
              <a:spcBef>
                <a:spcPct val="20000"/>
              </a:spcBef>
              <a:buFont typeface="Arial" panose="020B0604020202020204" pitchFamily="34" charset="0"/>
              <a:buChar char="•"/>
              <a:defRPr sz="2000">
                <a:latin typeface="+mn-lt"/>
                <a:cs typeface="+mn-cs"/>
              </a:defRPr>
            </a:lvl8pPr>
            <a:lvl9pPr marL="3886200" indent="-228600">
              <a:spcBef>
                <a:spcPct val="20000"/>
              </a:spcBef>
              <a:buFont typeface="Arial" panose="020B0604020202020204" pitchFamily="34" charset="0"/>
              <a:buChar char="•"/>
              <a:defRPr sz="2000">
                <a:latin typeface="+mn-lt"/>
                <a:cs typeface="+mn-cs"/>
              </a:defRPr>
            </a:lvl9pPr>
          </a:lstStyle>
          <a:p>
            <a:pPr algn="l"/>
            <a:r>
              <a:rPr lang="de-DE" sz="1050" b="1">
                <a:latin typeface="Haffer" pitchFamily="50" charset="0"/>
                <a:cs typeface="Haffer" pitchFamily="50" charset="0"/>
              </a:rPr>
              <a:t>Utility</a:t>
            </a:r>
          </a:p>
        </p:txBody>
      </p:sp>
      <p:cxnSp>
        <p:nvCxnSpPr>
          <p:cNvPr id="72" name="Gerade Verbindung mit Pfeil 110">
            <a:extLst>
              <a:ext uri="{FF2B5EF4-FFF2-40B4-BE49-F238E27FC236}">
                <a16:creationId xmlns:a16="http://schemas.microsoft.com/office/drawing/2014/main" id="{9836E505-FA2B-FFCE-6177-D445FD45F506}"/>
              </a:ext>
            </a:extLst>
          </p:cNvPr>
          <p:cNvCxnSpPr/>
          <p:nvPr/>
        </p:nvCxnSpPr>
        <p:spPr>
          <a:xfrm flipV="1">
            <a:off x="2439192" y="2257960"/>
            <a:ext cx="345178" cy="1"/>
          </a:xfrm>
          <a:prstGeom prst="straightConnector1">
            <a:avLst/>
          </a:prstGeom>
          <a:ln w="19050">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73" name="Textfeld 111">
            <a:extLst>
              <a:ext uri="{FF2B5EF4-FFF2-40B4-BE49-F238E27FC236}">
                <a16:creationId xmlns:a16="http://schemas.microsoft.com/office/drawing/2014/main" id="{B72AF257-DD58-1965-7C8D-FD89765E7C96}"/>
              </a:ext>
            </a:extLst>
          </p:cNvPr>
          <p:cNvSpPr txBox="1"/>
          <p:nvPr/>
        </p:nvSpPr>
        <p:spPr>
          <a:xfrm>
            <a:off x="2770101" y="3163010"/>
            <a:ext cx="558414" cy="288147"/>
          </a:xfrm>
          <a:prstGeom prst="rect">
            <a:avLst/>
          </a:prstGeom>
          <a:noFill/>
        </p:spPr>
        <p:txBody>
          <a:bodyPr wrap="square" lIns="36000" tIns="36000" rIns="36000" bIns="36000" rtlCol="0">
            <a:spAutoFit/>
          </a:bodyPr>
          <a:lstStyle/>
          <a:p>
            <a:r>
              <a:rPr lang="de-DE" sz="1400" b="1">
                <a:solidFill>
                  <a:schemeClr val="bg1">
                    <a:lumMod val="50000"/>
                  </a:schemeClr>
                </a:solidFill>
                <a:latin typeface="Haffer" pitchFamily="50" charset="0"/>
                <a:cs typeface="Haffer" pitchFamily="50" charset="0"/>
              </a:rPr>
              <a:t>Utility</a:t>
            </a:r>
          </a:p>
        </p:txBody>
      </p:sp>
      <p:cxnSp>
        <p:nvCxnSpPr>
          <p:cNvPr id="74" name="Gerade Verbindung mit Pfeil 112">
            <a:extLst>
              <a:ext uri="{FF2B5EF4-FFF2-40B4-BE49-F238E27FC236}">
                <a16:creationId xmlns:a16="http://schemas.microsoft.com/office/drawing/2014/main" id="{C6689AC3-1AC6-BD28-EEA0-8F19411EF398}"/>
              </a:ext>
            </a:extLst>
          </p:cNvPr>
          <p:cNvCxnSpPr/>
          <p:nvPr/>
        </p:nvCxnSpPr>
        <p:spPr>
          <a:xfrm>
            <a:off x="3386168" y="2302540"/>
            <a:ext cx="371529" cy="114689"/>
          </a:xfrm>
          <a:prstGeom prst="straightConnector1">
            <a:avLst/>
          </a:prstGeom>
          <a:ln w="19050">
            <a:solidFill>
              <a:schemeClr val="bg2"/>
            </a:solidFill>
            <a:prstDash val="sysDash"/>
            <a:tailEnd type="arrow"/>
          </a:ln>
        </p:spPr>
        <p:style>
          <a:lnRef idx="1">
            <a:schemeClr val="accent1"/>
          </a:lnRef>
          <a:fillRef idx="0">
            <a:schemeClr val="accent1"/>
          </a:fillRef>
          <a:effectRef idx="0">
            <a:schemeClr val="accent1"/>
          </a:effectRef>
          <a:fontRef idx="minor">
            <a:schemeClr val="tx1"/>
          </a:fontRef>
        </p:style>
      </p:cxnSp>
      <p:pic>
        <p:nvPicPr>
          <p:cNvPr id="75" name="Picture 15" descr="U:\Powerpoint_Folien\Grafiken_für_Foliensätze\Icons\Icon34.emf">
            <a:extLst>
              <a:ext uri="{FF2B5EF4-FFF2-40B4-BE49-F238E27FC236}">
                <a16:creationId xmlns:a16="http://schemas.microsoft.com/office/drawing/2014/main" id="{9CDBF757-E37C-CF38-2C55-59C67CE9DDD3}"/>
              </a:ext>
            </a:extLst>
          </p:cNvPr>
          <p:cNvPicPr>
            <a:picLocks noChangeAspect="1" noChangeArrowheads="1"/>
          </p:cNvPicPr>
          <p:nvPr/>
        </p:nvPicPr>
        <p:blipFill>
          <a:blip r:embed="rId6">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1959508" y="3068101"/>
            <a:ext cx="316537" cy="486422"/>
          </a:xfrm>
          <a:prstGeom prst="rect">
            <a:avLst/>
          </a:prstGeom>
          <a:noFill/>
          <a:ln w="0">
            <a:noFill/>
            <a:miter lim="800000"/>
            <a:headEnd/>
            <a:tailEnd/>
          </a:ln>
          <a:extLst>
            <a:ext uri="{909E8E84-426E-40DD-AFC4-6F175D3DCCD1}">
              <a14:hiddenFill xmlns:a14="http://schemas.microsoft.com/office/drawing/2010/main">
                <a:solidFill>
                  <a:srgbClr val="FFFFFF"/>
                </a:solidFill>
              </a14:hiddenFill>
            </a:ext>
          </a:extLst>
        </p:spPr>
      </p:pic>
      <p:pic>
        <p:nvPicPr>
          <p:cNvPr id="76" name="Picture 2" descr="C:\Users\rahel\Desktop\factory.png">
            <a:extLst>
              <a:ext uri="{FF2B5EF4-FFF2-40B4-BE49-F238E27FC236}">
                <a16:creationId xmlns:a16="http://schemas.microsoft.com/office/drawing/2014/main" id="{2AAA084E-7BF9-5E26-D05C-5ADE52CA5F1C}"/>
              </a:ext>
            </a:extLst>
          </p:cNvPr>
          <p:cNvPicPr>
            <a:picLocks noChangeAspect="1" noChangeArrowheads="1"/>
          </p:cNvPicPr>
          <p:nvPr/>
        </p:nvPicPr>
        <p:blipFill rotWithShape="1">
          <a:blip r:embed="rId12" cstate="print">
            <a:duotone>
              <a:prstClr val="black"/>
              <a:srgbClr val="022E33">
                <a:tint val="45000"/>
                <a:satMod val="400000"/>
              </a:srgbClr>
            </a:duotone>
            <a:extLst>
              <a:ext uri="{28A0092B-C50C-407E-A947-70E740481C1C}">
                <a14:useLocalDpi xmlns:a14="http://schemas.microsoft.com/office/drawing/2010/main" val="0"/>
              </a:ext>
            </a:extLst>
          </a:blip>
          <a:srcRect b="8375"/>
          <a:stretch/>
        </p:blipFill>
        <p:spPr bwMode="auto">
          <a:xfrm>
            <a:off x="3917878" y="3215848"/>
            <a:ext cx="346237" cy="343750"/>
          </a:xfrm>
          <a:prstGeom prst="rect">
            <a:avLst/>
          </a:prstGeom>
          <a:noFill/>
          <a:ln w="0">
            <a:noFill/>
            <a:miter lim="800000"/>
            <a:headEnd/>
            <a:tailEnd/>
          </a:ln>
          <a:extLst>
            <a:ext uri="{909E8E84-426E-40DD-AFC4-6F175D3DCCD1}">
              <a14:hiddenFill xmlns:a14="http://schemas.microsoft.com/office/drawing/2010/main">
                <a:solidFill>
                  <a:srgbClr val="FFFFFF"/>
                </a:solidFill>
              </a14:hiddenFill>
            </a:ext>
          </a:extLst>
        </p:spPr>
      </p:pic>
      <p:pic>
        <p:nvPicPr>
          <p:cNvPr id="77" name="Grafik 115">
            <a:extLst>
              <a:ext uri="{FF2B5EF4-FFF2-40B4-BE49-F238E27FC236}">
                <a16:creationId xmlns:a16="http://schemas.microsoft.com/office/drawing/2014/main" id="{466B7582-90CC-9069-38ED-41EF49A6CB89}"/>
              </a:ext>
            </a:extLst>
          </p:cNvPr>
          <p:cNvPicPr>
            <a:picLocks noChangeAspect="1"/>
          </p:cNvPicPr>
          <p:nvPr/>
        </p:nvPicPr>
        <p:blipFill>
          <a:blip r:embed="rId13" cstate="print">
            <a:duotone>
              <a:prstClr val="black"/>
              <a:srgbClr val="022E33">
                <a:tint val="45000"/>
                <a:satMod val="400000"/>
              </a:srgbClr>
            </a:duotone>
            <a:extLst>
              <a:ext uri="{28A0092B-C50C-407E-A947-70E740481C1C}">
                <a14:useLocalDpi xmlns:a14="http://schemas.microsoft.com/office/drawing/2010/main" val="0"/>
              </a:ext>
            </a:extLst>
          </a:blip>
          <a:stretch>
            <a:fillRect/>
          </a:stretch>
        </p:blipFill>
        <p:spPr>
          <a:xfrm>
            <a:off x="3903080" y="3041733"/>
            <a:ext cx="166564" cy="180484"/>
          </a:xfrm>
          <a:prstGeom prst="rect">
            <a:avLst/>
          </a:prstGeom>
        </p:spPr>
      </p:pic>
      <p:pic>
        <p:nvPicPr>
          <p:cNvPr id="78" name="Grafik 116">
            <a:extLst>
              <a:ext uri="{FF2B5EF4-FFF2-40B4-BE49-F238E27FC236}">
                <a16:creationId xmlns:a16="http://schemas.microsoft.com/office/drawing/2014/main" id="{6E81E22C-FAD0-B12F-BDA0-306534FDE2E0}"/>
              </a:ext>
            </a:extLst>
          </p:cNvPr>
          <p:cNvPicPr>
            <a:picLocks noChangeAspect="1"/>
          </p:cNvPicPr>
          <p:nvPr/>
        </p:nvPicPr>
        <p:blipFill>
          <a:blip r:embed="rId14" cstate="print">
            <a:duotone>
              <a:prstClr val="black"/>
              <a:srgbClr val="022E33">
                <a:tint val="45000"/>
                <a:satMod val="400000"/>
              </a:srgbClr>
            </a:duotone>
            <a:extLst>
              <a:ext uri="{28A0092B-C50C-407E-A947-70E740481C1C}">
                <a14:useLocalDpi xmlns:a14="http://schemas.microsoft.com/office/drawing/2010/main" val="0"/>
              </a:ext>
            </a:extLst>
          </a:blip>
          <a:stretch>
            <a:fillRect/>
          </a:stretch>
        </p:blipFill>
        <p:spPr>
          <a:xfrm>
            <a:off x="4068872" y="3086060"/>
            <a:ext cx="156745" cy="169845"/>
          </a:xfrm>
          <a:prstGeom prst="rect">
            <a:avLst/>
          </a:prstGeom>
        </p:spPr>
      </p:pic>
      <p:cxnSp>
        <p:nvCxnSpPr>
          <p:cNvPr id="79" name="Gerade Verbindung mit Pfeil 117">
            <a:extLst>
              <a:ext uri="{FF2B5EF4-FFF2-40B4-BE49-F238E27FC236}">
                <a16:creationId xmlns:a16="http://schemas.microsoft.com/office/drawing/2014/main" id="{3ED75F42-B2F3-7A9B-F03C-92116D920495}"/>
              </a:ext>
            </a:extLst>
          </p:cNvPr>
          <p:cNvCxnSpPr/>
          <p:nvPr/>
        </p:nvCxnSpPr>
        <p:spPr>
          <a:xfrm flipV="1">
            <a:off x="3386168" y="2096873"/>
            <a:ext cx="371529" cy="116579"/>
          </a:xfrm>
          <a:prstGeom prst="straightConnector1">
            <a:avLst/>
          </a:prstGeom>
          <a:ln w="19050">
            <a:solidFill>
              <a:schemeClr val="bg2"/>
            </a:solidFill>
            <a:prstDash val="sysDash"/>
            <a:tailEnd type="arrow"/>
          </a:ln>
        </p:spPr>
        <p:style>
          <a:lnRef idx="1">
            <a:schemeClr val="accent1"/>
          </a:lnRef>
          <a:fillRef idx="0">
            <a:schemeClr val="accent1"/>
          </a:fillRef>
          <a:effectRef idx="0">
            <a:schemeClr val="accent1"/>
          </a:effectRef>
          <a:fontRef idx="minor">
            <a:schemeClr val="tx1"/>
          </a:fontRef>
        </p:style>
      </p:cxnSp>
      <p:pic>
        <p:nvPicPr>
          <p:cNvPr id="80" name="Picture 3" descr="U:\Powerpoint_Folien\Grafiken_für_Foliensätze\Icons\Icon2.emf">
            <a:extLst>
              <a:ext uri="{FF2B5EF4-FFF2-40B4-BE49-F238E27FC236}">
                <a16:creationId xmlns:a16="http://schemas.microsoft.com/office/drawing/2014/main" id="{7432FA85-4C38-4405-B6A9-7F43CA3EA359}"/>
              </a:ext>
            </a:extLst>
          </p:cNvPr>
          <p:cNvPicPr>
            <a:picLocks noChangeAspect="1" noChangeArrowheads="1"/>
          </p:cNvPicPr>
          <p:nvPr/>
        </p:nvPicPr>
        <p:blipFill>
          <a:blip r:embed="rId5">
            <a:duotone>
              <a:prstClr val="black"/>
              <a:srgbClr val="022E33">
                <a:tint val="45000"/>
                <a:satMod val="400000"/>
              </a:srgbClr>
            </a:duotone>
            <a:extLst>
              <a:ext uri="{28A0092B-C50C-407E-A947-70E740481C1C}">
                <a14:useLocalDpi xmlns:a14="http://schemas.microsoft.com/office/drawing/2010/main" val="0"/>
              </a:ext>
            </a:extLst>
          </a:blip>
          <a:srcRect/>
          <a:stretch>
            <a:fillRect/>
          </a:stretch>
        </p:blipFill>
        <p:spPr bwMode="auto">
          <a:xfrm>
            <a:off x="2138095" y="3292622"/>
            <a:ext cx="229533" cy="2618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81" name="Gerade Verbindung 79">
            <a:extLst>
              <a:ext uri="{FF2B5EF4-FFF2-40B4-BE49-F238E27FC236}">
                <a16:creationId xmlns:a16="http://schemas.microsoft.com/office/drawing/2014/main" id="{275E98AF-0DCD-A263-1089-957AF1E6850D}"/>
              </a:ext>
            </a:extLst>
          </p:cNvPr>
          <p:cNvCxnSpPr/>
          <p:nvPr/>
        </p:nvCxnSpPr>
        <p:spPr>
          <a:xfrm>
            <a:off x="1520995" y="3660212"/>
            <a:ext cx="2875494" cy="0"/>
          </a:xfrm>
          <a:prstGeom prst="line">
            <a:avLst/>
          </a:prstGeom>
          <a:ln w="12700">
            <a:solidFill>
              <a:srgbClr val="FFA826"/>
            </a:solidFill>
            <a:prstDash val="sysDash"/>
          </a:ln>
        </p:spPr>
        <p:style>
          <a:lnRef idx="1">
            <a:schemeClr val="accent1"/>
          </a:lnRef>
          <a:fillRef idx="0">
            <a:schemeClr val="accent1"/>
          </a:fillRef>
          <a:effectRef idx="0">
            <a:schemeClr val="accent1"/>
          </a:effectRef>
          <a:fontRef idx="minor">
            <a:schemeClr val="tx1"/>
          </a:fontRef>
        </p:style>
      </p:cxnSp>
      <p:sp>
        <p:nvSpPr>
          <p:cNvPr id="82" name="Rechteck 120">
            <a:extLst>
              <a:ext uri="{FF2B5EF4-FFF2-40B4-BE49-F238E27FC236}">
                <a16:creationId xmlns:a16="http://schemas.microsoft.com/office/drawing/2014/main" id="{51A33FC3-D322-2AFB-660B-50A1F0A978CB}"/>
              </a:ext>
            </a:extLst>
          </p:cNvPr>
          <p:cNvSpPr/>
          <p:nvPr/>
        </p:nvSpPr>
        <p:spPr>
          <a:xfrm>
            <a:off x="1125698" y="3011645"/>
            <a:ext cx="3266623" cy="1489998"/>
          </a:xfrm>
          <a:prstGeom prst="rect">
            <a:avLst/>
          </a:prstGeom>
          <a:noFill/>
          <a:ln>
            <a:solidFill>
              <a:srgbClr val="FFA826"/>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err="1">
              <a:latin typeface="Haffer" pitchFamily="50" charset="0"/>
              <a:cs typeface="Haffer" pitchFamily="50" charset="0"/>
            </a:endParaRPr>
          </a:p>
        </p:txBody>
      </p:sp>
      <p:grpSp>
        <p:nvGrpSpPr>
          <p:cNvPr id="84" name="Gruppieren 89">
            <a:extLst>
              <a:ext uri="{FF2B5EF4-FFF2-40B4-BE49-F238E27FC236}">
                <a16:creationId xmlns:a16="http://schemas.microsoft.com/office/drawing/2014/main" id="{1035F7FB-B6AF-928F-7504-6A725518A19E}"/>
              </a:ext>
            </a:extLst>
          </p:cNvPr>
          <p:cNvGrpSpPr/>
          <p:nvPr/>
        </p:nvGrpSpPr>
        <p:grpSpPr>
          <a:xfrm>
            <a:off x="905768" y="6263815"/>
            <a:ext cx="6066005" cy="328840"/>
            <a:chOff x="425030" y="5066548"/>
            <a:chExt cx="8683929" cy="809319"/>
          </a:xfrm>
          <a:solidFill>
            <a:srgbClr val="022E33"/>
          </a:solidFill>
        </p:grpSpPr>
        <p:sp>
          <p:nvSpPr>
            <p:cNvPr id="85" name="Rechteck 90">
              <a:extLst>
                <a:ext uri="{FF2B5EF4-FFF2-40B4-BE49-F238E27FC236}">
                  <a16:creationId xmlns:a16="http://schemas.microsoft.com/office/drawing/2014/main" id="{11C8DED6-042A-94C8-7D9A-50B828321123}"/>
                </a:ext>
              </a:extLst>
            </p:cNvPr>
            <p:cNvSpPr/>
            <p:nvPr/>
          </p:nvSpPr>
          <p:spPr>
            <a:xfrm>
              <a:off x="425030" y="5066548"/>
              <a:ext cx="8683929" cy="781968"/>
            </a:xfrm>
            <a:prstGeom prst="roundRect">
              <a:avLst/>
            </a:prstGeom>
            <a:grpFill/>
            <a:ln>
              <a:solidFill>
                <a:srgbClr val="022E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r>
                <a:rPr lang="en-US" sz="1200">
                  <a:latin typeface="Haffer" pitchFamily="50" charset="0"/>
                  <a:cs typeface="Haffer" pitchFamily="50" charset="0"/>
                </a:rPr>
                <a:t>Physical vs virtual PPA: Main difference is balancing group management!</a:t>
              </a:r>
            </a:p>
          </p:txBody>
        </p:sp>
        <p:sp>
          <p:nvSpPr>
            <p:cNvPr id="86" name="Gleichschenkliges Dreieck 91">
              <a:extLst>
                <a:ext uri="{FF2B5EF4-FFF2-40B4-BE49-F238E27FC236}">
                  <a16:creationId xmlns:a16="http://schemas.microsoft.com/office/drawing/2014/main" id="{049B951F-F701-99C1-6599-13333288701F}"/>
                </a:ext>
              </a:extLst>
            </p:cNvPr>
            <p:cNvSpPr/>
            <p:nvPr/>
          </p:nvSpPr>
          <p:spPr>
            <a:xfrm rot="5400000">
              <a:off x="173032" y="5335867"/>
              <a:ext cx="792000" cy="288000"/>
            </a:xfrm>
            <a:prstGeom prst="roundRect">
              <a:avLst/>
            </a:prstGeom>
            <a:grpFill/>
            <a:ln>
              <a:solidFill>
                <a:srgbClr val="022E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a:latin typeface="Haffer" pitchFamily="50" charset="0"/>
                <a:cs typeface="Haffer" pitchFamily="50" charset="0"/>
              </a:endParaRPr>
            </a:p>
          </p:txBody>
        </p:sp>
      </p:grpSp>
      <p:sp>
        <p:nvSpPr>
          <p:cNvPr id="87" name="Textfeld 88">
            <a:extLst>
              <a:ext uri="{FF2B5EF4-FFF2-40B4-BE49-F238E27FC236}">
                <a16:creationId xmlns:a16="http://schemas.microsoft.com/office/drawing/2014/main" id="{8B57CE74-22FD-0AF0-D6FE-15D21F0EDB4E}"/>
              </a:ext>
            </a:extLst>
          </p:cNvPr>
          <p:cNvSpPr txBox="1"/>
          <p:nvPr/>
        </p:nvSpPr>
        <p:spPr>
          <a:xfrm>
            <a:off x="2413570" y="3704023"/>
            <a:ext cx="1334267" cy="411257"/>
          </a:xfrm>
          <a:prstGeom prst="rect">
            <a:avLst/>
          </a:prstGeom>
          <a:noFill/>
        </p:spPr>
        <p:txBody>
          <a:bodyPr wrap="square" lIns="36000" tIns="36000" rIns="36000" bIns="36000" rtlCol="0">
            <a:spAutoFit/>
          </a:bodyPr>
          <a:lstStyle/>
          <a:p>
            <a:pPr algn="ctr"/>
            <a:r>
              <a:rPr lang="de-DE" sz="1100" b="1">
                <a:solidFill>
                  <a:schemeClr val="bg1">
                    <a:lumMod val="50000"/>
                  </a:schemeClr>
                </a:solidFill>
                <a:latin typeface="Haffer" pitchFamily="50" charset="0"/>
                <a:cs typeface="Haffer" pitchFamily="50" charset="0"/>
              </a:rPr>
              <a:t>Utility/</a:t>
            </a:r>
            <a:r>
              <a:rPr lang="de-DE" sz="1100" b="1" err="1">
                <a:solidFill>
                  <a:schemeClr val="bg1">
                    <a:lumMod val="50000"/>
                  </a:schemeClr>
                </a:solidFill>
                <a:latin typeface="Haffer" pitchFamily="50" charset="0"/>
                <a:cs typeface="Haffer" pitchFamily="50" charset="0"/>
              </a:rPr>
              <a:t>Aggregator</a:t>
            </a:r>
            <a:endParaRPr lang="de-DE" sz="1100" b="1">
              <a:solidFill>
                <a:schemeClr val="bg1">
                  <a:lumMod val="50000"/>
                </a:schemeClr>
              </a:solidFill>
              <a:latin typeface="Haffer" pitchFamily="50" charset="0"/>
              <a:cs typeface="Haffer" pitchFamily="50" charset="0"/>
            </a:endParaRPr>
          </a:p>
          <a:p>
            <a:pPr algn="ctr"/>
            <a:r>
              <a:rPr lang="de-DE" sz="1100" b="1" err="1">
                <a:solidFill>
                  <a:schemeClr val="bg1">
                    <a:lumMod val="50000"/>
                  </a:schemeClr>
                </a:solidFill>
                <a:latin typeface="Haffer" pitchFamily="50" charset="0"/>
                <a:cs typeface="Haffer" pitchFamily="50" charset="0"/>
              </a:rPr>
              <a:t>as</a:t>
            </a:r>
            <a:r>
              <a:rPr lang="de-DE" sz="1100" b="1">
                <a:solidFill>
                  <a:schemeClr val="bg1">
                    <a:lumMod val="50000"/>
                  </a:schemeClr>
                </a:solidFill>
                <a:latin typeface="Haffer" pitchFamily="50" charset="0"/>
                <a:cs typeface="Haffer" pitchFamily="50" charset="0"/>
              </a:rPr>
              <a:t> </a:t>
            </a:r>
            <a:r>
              <a:rPr lang="de-DE" sz="1100" b="1" err="1">
                <a:solidFill>
                  <a:schemeClr val="bg1">
                    <a:lumMod val="50000"/>
                  </a:schemeClr>
                </a:solidFill>
                <a:latin typeface="Haffer" pitchFamily="50" charset="0"/>
                <a:cs typeface="Haffer" pitchFamily="50" charset="0"/>
              </a:rPr>
              <a:t>service</a:t>
            </a:r>
            <a:r>
              <a:rPr lang="de-DE" sz="1100" b="1">
                <a:solidFill>
                  <a:schemeClr val="bg1">
                    <a:lumMod val="50000"/>
                  </a:schemeClr>
                </a:solidFill>
                <a:latin typeface="Haffer" pitchFamily="50" charset="0"/>
                <a:cs typeface="Haffer" pitchFamily="50" charset="0"/>
              </a:rPr>
              <a:t> </a:t>
            </a:r>
            <a:r>
              <a:rPr lang="de-DE" sz="1100" b="1" err="1">
                <a:solidFill>
                  <a:schemeClr val="bg1">
                    <a:lumMod val="50000"/>
                  </a:schemeClr>
                </a:solidFill>
                <a:latin typeface="Haffer" pitchFamily="50" charset="0"/>
                <a:cs typeface="Haffer" pitchFamily="50" charset="0"/>
              </a:rPr>
              <a:t>provider</a:t>
            </a:r>
            <a:endParaRPr lang="de-DE" sz="1100" b="1">
              <a:solidFill>
                <a:schemeClr val="bg1">
                  <a:lumMod val="50000"/>
                </a:schemeClr>
              </a:solidFill>
              <a:latin typeface="Haffer" pitchFamily="50" charset="0"/>
              <a:cs typeface="Haffer" pitchFamily="50" charset="0"/>
            </a:endParaRPr>
          </a:p>
        </p:txBody>
      </p:sp>
    </p:spTree>
    <p:extLst>
      <p:ext uri="{BB962C8B-B14F-4D97-AF65-F5344CB8AC3E}">
        <p14:creationId xmlns:p14="http://schemas.microsoft.com/office/powerpoint/2010/main" val="17818215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ZTqYkaH5agIvE_ctU_7v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Gmz8sJiBGyIgUM0s7bnv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uWa86V86NEsLMnOmABvy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9CsEXoaPEQUytKAonm85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Hbc0b3lYoGwKj9a1fFe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3hTj.2N_5_N8Vo0ZR0gu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IXJGar97qD9xYqXcH2vR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XGXenHJnrH_rsYAgz0xx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W_rZUjGiFGerfemNY3W3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s">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CD8621B0-BCCD-684E-9A59-5CABED3AD58B}"/>
    </a:ext>
  </a:extLst>
</a:theme>
</file>

<file path=ppt/theme/theme10.xml><?xml version="1.0" encoding="utf-8"?>
<a:theme xmlns:a="http://schemas.openxmlformats.org/drawingml/2006/main" name="Montel Analysi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8121E1C9-1320-E94F-8F22-387860EB2920}"/>
    </a:ext>
  </a:extLst>
</a:theme>
</file>

<file path=ppt/theme/theme11.xml><?xml version="1.0" encoding="utf-8"?>
<a:theme xmlns:a="http://schemas.openxmlformats.org/drawingml/2006/main" name="Montel Market data">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EACE5E3D-F3AB-CF41-98E5-D4CCD12EB13E}"/>
    </a:ext>
  </a:extLst>
</a:theme>
</file>

<file path=ppt/theme/theme12.xml><?xml version="1.0" encoding="utf-8"?>
<a:theme xmlns:a="http://schemas.openxmlformats.org/drawingml/2006/main" name="Montel Publication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0F256CF7-54BE-934E-9C44-C4B0590A6665}"/>
    </a:ext>
  </a:extLst>
</a:theme>
</file>

<file path=ppt/theme/theme13.xml><?xml version="1.0" encoding="utf-8"?>
<a:theme xmlns:a="http://schemas.openxmlformats.org/drawingml/2006/main" name="Montel Marketplace">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3CB5778C-F386-6D40-98D5-AB5AA7C3A1D1}"/>
    </a:ext>
  </a:extLst>
</a:theme>
</file>

<file path=ppt/theme/theme14.xml><?xml version="1.0" encoding="utf-8"?>
<a:theme xmlns:a="http://schemas.openxmlformats.org/drawingml/2006/main" name="HeidelbergMaterials PPT Template">
  <a:themeElements>
    <a:clrScheme name="Custom 29">
      <a:dk1>
        <a:srgbClr val="3B3B3B"/>
      </a:dk1>
      <a:lt1>
        <a:sysClr val="window" lastClr="FFFFFF"/>
      </a:lt1>
      <a:dk2>
        <a:srgbClr val="004E2B"/>
      </a:dk2>
      <a:lt2>
        <a:srgbClr val="E6E6DF"/>
      </a:lt2>
      <a:accent1>
        <a:srgbClr val="004E2B"/>
      </a:accent1>
      <a:accent2>
        <a:srgbClr val="80A695"/>
      </a:accent2>
      <a:accent3>
        <a:srgbClr val="00843D"/>
      </a:accent3>
      <a:accent4>
        <a:srgbClr val="80C19E"/>
      </a:accent4>
      <a:accent5>
        <a:srgbClr val="BFE0CE"/>
      </a:accent5>
      <a:accent6>
        <a:srgbClr val="D9EDE2"/>
      </a:accent6>
      <a:hlink>
        <a:srgbClr val="00843D"/>
      </a:hlink>
      <a:folHlink>
        <a:srgbClr val="53C29D"/>
      </a:folHlink>
    </a:clrScheme>
    <a:fontScheme name="Heidelberg Materials">
      <a:majorFont>
        <a:latin typeface="Lexend Exa HM Xlight"/>
        <a:ea typeface=""/>
        <a:cs typeface=""/>
      </a:majorFont>
      <a:minorFont>
        <a:latin typeface="Lexend H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extLst>
          <a:ext uri="{909E8E84-426E-40DD-AFC4-6F175D3DCCD1}">
            <a14:hiddenFill xmlns:a14="http://schemas.microsoft.com/office/drawing/2010/main">
              <a:solidFill>
                <a:srgbClr val="FFFFFF"/>
              </a:solidFill>
            </a14:hiddenFill>
          </a:ext>
        </a:extLst>
      </a:spPr>
      <a:bodyPr vert="horz" wrap="square" lIns="0" tIns="0" rIns="0" bIns="0" rtlCol="0">
        <a:noAutofit/>
      </a:bodyPr>
      <a:lstStyle>
        <a:defPPr algn="l">
          <a:defRPr dirty="0" smtClean="0"/>
        </a:defPPr>
      </a:lstStyle>
    </a:txDef>
  </a:objectDefaults>
  <a:extraClrSchemeLst/>
  <a:custClrLst>
    <a:custClr name="Dark Grey (Plan)">
      <a:srgbClr val="3B3B3B"/>
    </a:custClr>
    <a:custClr name="Deep Green (Actual)">
      <a:srgbClr val="004E2B"/>
    </a:custClr>
    <a:custClr name="Mid Green (Actual)">
      <a:srgbClr val="00843D"/>
    </a:custClr>
    <a:custClr name="Bright Green (To Date)">
      <a:srgbClr val="00DD39"/>
    </a:custClr>
    <a:custClr name="Warm Orange (Forecast)">
      <a:srgbClr val="FF644C"/>
    </a:custClr>
    <a:custClr name="Vibrant Purple">
      <a:srgbClr val="873CFF"/>
    </a:custClr>
    <a:custClr name="Punchy Red">
      <a:srgbClr val="FF0364"/>
    </a:custClr>
    <a:custClr name="Spark Yellow">
      <a:srgbClr val="FAFA64"/>
    </a:custClr>
    <a:custClr name="White">
      <a:srgbClr val="FFFFFF"/>
    </a:custClr>
    <a:custClr name="White">
      <a:srgbClr val="FFFFFF"/>
    </a:custClr>
    <a:custClr name="Dark Grey 50% (Plan)">
      <a:srgbClr val="9D9D9D"/>
    </a:custClr>
    <a:custClr name="Deep Green 50% (Actual)">
      <a:srgbClr val="80A695"/>
    </a:custClr>
    <a:custClr name="Mid Green 50% (Actual) ">
      <a:srgbClr val="80C19E"/>
    </a:custClr>
    <a:custClr name="Bright Green 50% (To Date)">
      <a:srgbClr val="80EE9C"/>
    </a:custClr>
    <a:custClr name="Warm Orange 50% (Forecast)">
      <a:srgbClr val="FFB1A6"/>
    </a:custClr>
    <a:custClr name="Vibrant Purple 50%">
      <a:srgbClr val="C39DFF"/>
    </a:custClr>
    <a:custClr name="Punchy Red 50%">
      <a:srgbClr val="F284B0"/>
    </a:custClr>
    <a:custClr name="White">
      <a:srgbClr val="FFFFFF"/>
    </a:custClr>
    <a:custClr name="White">
      <a:srgbClr val="FFFFFF"/>
    </a:custClr>
    <a:custClr name="White">
      <a:srgbClr val="FFFFFF"/>
    </a:custClr>
    <a:custClr name="Dark Grey 25% (Plan)">
      <a:srgbClr val="CECECE"/>
    </a:custClr>
    <a:custClr name="Deep Green 25% (Actual)">
      <a:srgbClr val="BFD3CA"/>
    </a:custClr>
    <a:custClr name="Mid Green 25% (Actual)">
      <a:srgbClr val="BFE0CE"/>
    </a:custClr>
    <a:custClr name="Bright Green 25% (To Date)">
      <a:srgbClr val="BFF7CD"/>
    </a:custClr>
    <a:custClr name="Warm Orange 25% (Forecast)">
      <a:srgbClr val="FFD8D3"/>
    </a:custClr>
    <a:custClr name="Vibrant Purple 25%">
      <a:srgbClr val="E1CEFF"/>
    </a:custClr>
    <a:custClr name="Punchy Red 25%">
      <a:srgbClr val="F9C2D8"/>
    </a:custClr>
    <a:custClr name="White">
      <a:srgbClr val="FFFFFF"/>
    </a:custClr>
    <a:custClr name="White">
      <a:srgbClr val="FFFFFF"/>
    </a:custClr>
    <a:custClr name="White">
      <a:srgbClr val="FFFFFF"/>
    </a:custClr>
    <a:custClr name="Dark Grey 15% (Plan)">
      <a:srgbClr val="E2E2E2"/>
    </a:custClr>
    <a:custClr name="Deep Green 15% (Actual)">
      <a:srgbClr val="D9E4DF"/>
    </a:custClr>
    <a:custClr name="Mid Green 15% (Actual)">
      <a:srgbClr val="D9EDE2"/>
    </a:custClr>
    <a:custClr name="Bright Green 15% (To Date)">
      <a:srgbClr val="D9FAE1"/>
    </a:custClr>
    <a:custClr name="Warm Orange 15% (Forecast)">
      <a:srgbClr val="FFE8E4"/>
    </a:custClr>
    <a:custClr name="Vibrant Purple 15%">
      <a:srgbClr val="EDE2FF"/>
    </a:custClr>
    <a:custClr name="Punchy Red 15%">
      <a:srgbClr val="FBDAE7"/>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30313_Master_PowerPoint_EN" id="{603C7A5D-A188-7144-A59D-C01C1D35618C}" vid="{EDB67E1D-D0D3-2748-8BBB-A2A24C3724D8}"/>
    </a:ext>
  </a:extLst>
</a:theme>
</file>

<file path=ppt/theme/theme15.xml><?xml version="1.0" encoding="utf-8"?>
<a:theme xmlns:a="http://schemas.openxmlformats.org/drawingml/2006/main" name="HeidelbergMaterials PPT Template">
  <a:themeElements>
    <a:clrScheme name="Custom 29">
      <a:dk1>
        <a:srgbClr val="3B3B3B"/>
      </a:dk1>
      <a:lt1>
        <a:sysClr val="window" lastClr="FFFFFF"/>
      </a:lt1>
      <a:dk2>
        <a:srgbClr val="004E2B"/>
      </a:dk2>
      <a:lt2>
        <a:srgbClr val="E6E6DF"/>
      </a:lt2>
      <a:accent1>
        <a:srgbClr val="004E2B"/>
      </a:accent1>
      <a:accent2>
        <a:srgbClr val="80A695"/>
      </a:accent2>
      <a:accent3>
        <a:srgbClr val="00843D"/>
      </a:accent3>
      <a:accent4>
        <a:srgbClr val="80C19E"/>
      </a:accent4>
      <a:accent5>
        <a:srgbClr val="BFE0CE"/>
      </a:accent5>
      <a:accent6>
        <a:srgbClr val="D9EDE2"/>
      </a:accent6>
      <a:hlink>
        <a:srgbClr val="00843D"/>
      </a:hlink>
      <a:folHlink>
        <a:srgbClr val="53C29D"/>
      </a:folHlink>
    </a:clrScheme>
    <a:fontScheme name="Heidelberg Materials">
      <a:majorFont>
        <a:latin typeface="Lexend Exa HM Xlight"/>
        <a:ea typeface=""/>
        <a:cs typeface=""/>
      </a:majorFont>
      <a:minorFont>
        <a:latin typeface="Lexend H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extLst>
          <a:ext uri="{909E8E84-426E-40DD-AFC4-6F175D3DCCD1}">
            <a14:hiddenFill xmlns:a14="http://schemas.microsoft.com/office/drawing/2010/main">
              <a:solidFill>
                <a:srgbClr val="FFFFFF"/>
              </a:solidFill>
            </a14:hiddenFill>
          </a:ext>
        </a:extLst>
      </a:spPr>
      <a:bodyPr vert="horz" wrap="square" lIns="0" tIns="0" rIns="0" bIns="0" rtlCol="0">
        <a:noAutofit/>
      </a:bodyPr>
      <a:lstStyle>
        <a:defPPr algn="l">
          <a:defRPr dirty="0" smtClean="0"/>
        </a:defPPr>
      </a:lstStyle>
    </a:txDef>
  </a:objectDefaults>
  <a:extraClrSchemeLst/>
  <a:custClrLst>
    <a:custClr name="Dark Grey (Plan)">
      <a:srgbClr val="3B3B3B"/>
    </a:custClr>
    <a:custClr name="Deep Green (Actual)">
      <a:srgbClr val="004E2B"/>
    </a:custClr>
    <a:custClr name="Mid Green (Actual)">
      <a:srgbClr val="00843D"/>
    </a:custClr>
    <a:custClr name="Bright Green (To Date)">
      <a:srgbClr val="00DD39"/>
    </a:custClr>
    <a:custClr name="Warm Orange (Forecast)">
      <a:srgbClr val="FF644C"/>
    </a:custClr>
    <a:custClr name="Vibrant Purple">
      <a:srgbClr val="873CFF"/>
    </a:custClr>
    <a:custClr name="Punchy Red">
      <a:srgbClr val="FF0364"/>
    </a:custClr>
    <a:custClr name="Spark Yellow">
      <a:srgbClr val="FAFA64"/>
    </a:custClr>
    <a:custClr name="White">
      <a:srgbClr val="FFFFFF"/>
    </a:custClr>
    <a:custClr name="White">
      <a:srgbClr val="FFFFFF"/>
    </a:custClr>
    <a:custClr name="Dark Grey 50% (Plan)">
      <a:srgbClr val="9D9D9D"/>
    </a:custClr>
    <a:custClr name="Deep Green 50% (Actual)">
      <a:srgbClr val="80A695"/>
    </a:custClr>
    <a:custClr name="Mid Green 50% (Actual) ">
      <a:srgbClr val="80C19E"/>
    </a:custClr>
    <a:custClr name="Bright Green 50% (To Date)">
      <a:srgbClr val="80EE9C"/>
    </a:custClr>
    <a:custClr name="Warm Orange 50% (Forecast)">
      <a:srgbClr val="FFB1A6"/>
    </a:custClr>
    <a:custClr name="Vibrant Purple 50%">
      <a:srgbClr val="C39DFF"/>
    </a:custClr>
    <a:custClr name="Punchy Red 50%">
      <a:srgbClr val="F284B0"/>
    </a:custClr>
    <a:custClr name="White">
      <a:srgbClr val="FFFFFF"/>
    </a:custClr>
    <a:custClr name="White">
      <a:srgbClr val="FFFFFF"/>
    </a:custClr>
    <a:custClr name="White">
      <a:srgbClr val="FFFFFF"/>
    </a:custClr>
    <a:custClr name="Dark Grey 25% (Plan)">
      <a:srgbClr val="CECECE"/>
    </a:custClr>
    <a:custClr name="Deep Green 25% (Actual)">
      <a:srgbClr val="BFD3CA"/>
    </a:custClr>
    <a:custClr name="Mid Green 25% (Actual)">
      <a:srgbClr val="BFE0CE"/>
    </a:custClr>
    <a:custClr name="Bright Green 25% (To Date)">
      <a:srgbClr val="BFF7CD"/>
    </a:custClr>
    <a:custClr name="Warm Orange 25% (Forecast)">
      <a:srgbClr val="FFD8D3"/>
    </a:custClr>
    <a:custClr name="Vibrant Purple 25%">
      <a:srgbClr val="E1CEFF"/>
    </a:custClr>
    <a:custClr name="Punchy Red 25%">
      <a:srgbClr val="F9C2D8"/>
    </a:custClr>
    <a:custClr name="White">
      <a:srgbClr val="FFFFFF"/>
    </a:custClr>
    <a:custClr name="White">
      <a:srgbClr val="FFFFFF"/>
    </a:custClr>
    <a:custClr name="White">
      <a:srgbClr val="FFFFFF"/>
    </a:custClr>
    <a:custClr name="Dark Grey 15% (Plan)">
      <a:srgbClr val="E2E2E2"/>
    </a:custClr>
    <a:custClr name="Deep Green 15% (Actual)">
      <a:srgbClr val="D9E4DF"/>
    </a:custClr>
    <a:custClr name="Mid Green 15% (Actual)">
      <a:srgbClr val="D9EDE2"/>
    </a:custClr>
    <a:custClr name="Bright Green 15% (To Date)">
      <a:srgbClr val="D9FAE1"/>
    </a:custClr>
    <a:custClr name="Warm Orange 15% (Forecast)">
      <a:srgbClr val="FFE8E4"/>
    </a:custClr>
    <a:custClr name="Vibrant Purple 15%">
      <a:srgbClr val="EDE2FF"/>
    </a:custClr>
    <a:custClr name="Punchy Red 15%">
      <a:srgbClr val="FBDAE7"/>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30313_Master_PowerPoint_EN" id="{603C7A5D-A188-7144-A59D-C01C1D35618C}" vid="{EDB67E1D-D0D3-2748-8BBB-A2A24C3724D8}"/>
    </a:ext>
  </a:extLst>
</a:theme>
</file>

<file path=ppt/theme/theme1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ntel Content">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8D57BAD3-6A4B-1249-BB72-EFE02C0E0584}"/>
    </a:ext>
  </a:extLst>
</a:theme>
</file>

<file path=ppt/theme/theme3.xml><?xml version="1.0" encoding="utf-8"?>
<a:theme xmlns:a="http://schemas.openxmlformats.org/drawingml/2006/main" name="Graphics">
  <a:themeElements>
    <a:clrScheme name="Montel - Green shades">
      <a:dk1>
        <a:srgbClr val="000000"/>
      </a:dk1>
      <a:lt1>
        <a:srgbClr val="FFFFFF"/>
      </a:lt1>
      <a:dk2>
        <a:srgbClr val="022E33"/>
      </a:dk2>
      <a:lt2>
        <a:srgbClr val="E6EAEB"/>
      </a:lt2>
      <a:accent1>
        <a:srgbClr val="10796F"/>
      </a:accent1>
      <a:accent2>
        <a:srgbClr val="B5EBE3"/>
      </a:accent2>
      <a:accent3>
        <a:srgbClr val="102C32"/>
      </a:accent3>
      <a:accent4>
        <a:srgbClr val="E6EAEB"/>
      </a:accent4>
      <a:accent5>
        <a:srgbClr val="10796F"/>
      </a:accent5>
      <a:accent6>
        <a:srgbClr val="B5EBE3"/>
      </a:accent6>
      <a:hlink>
        <a:srgbClr val="10796F"/>
      </a:hlink>
      <a:folHlink>
        <a:srgbClr val="E6EA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CC2C4C64-47CA-ED4D-B6F1-71843DE92A6C}"/>
    </a:ext>
  </a:extLst>
</a:theme>
</file>

<file path=ppt/theme/theme4.xml><?xml version="1.0" encoding="utf-8"?>
<a:theme xmlns:a="http://schemas.openxmlformats.org/drawingml/2006/main" name="Montel content - Dark Background">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C0348403-AB98-C74B-BC2D-D84EE40E5916}"/>
    </a:ext>
  </a:extLst>
</a:theme>
</file>

<file path=ppt/theme/theme5.xml><?xml version="1.0" encoding="utf-8"?>
<a:theme xmlns:a="http://schemas.openxmlformats.org/drawingml/2006/main" name="Montel New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9968160F-066E-DB47-92EB-0C6CA085F480}"/>
    </a:ext>
  </a:extLst>
</a:theme>
</file>

<file path=ppt/theme/theme6.xml><?xml version="1.0" encoding="utf-8"?>
<a:theme xmlns:a="http://schemas.openxmlformats.org/drawingml/2006/main" name="Montel Advisory">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A082EB62-5AC4-0445-B273-8FB0AD2F290A}"/>
    </a:ext>
  </a:extLst>
</a:theme>
</file>

<file path=ppt/theme/theme7.xml><?xml version="1.0" encoding="utf-8"?>
<a:theme xmlns:a="http://schemas.openxmlformats.org/drawingml/2006/main" name="Montel Marketing service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6FC07F17-9C3C-8E4F-AAF2-0F3A3A1B8680}"/>
    </a:ext>
  </a:extLst>
</a:theme>
</file>

<file path=ppt/theme/theme8.xml><?xml version="1.0" encoding="utf-8"?>
<a:theme xmlns:a="http://schemas.openxmlformats.org/drawingml/2006/main" name="Montel Risk management">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16513F4A-DE7E-C64C-8B2F-C369965F9439}"/>
    </a:ext>
  </a:extLst>
</a:theme>
</file>

<file path=ppt/theme/theme9.xml><?xml version="1.0" encoding="utf-8"?>
<a:theme xmlns:a="http://schemas.openxmlformats.org/drawingml/2006/main" name="Montel Event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8.11.22" id="{C8F918AB-D135-DC4D-A9FE-87DAA7DE3F81}" vid="{0313A634-4E54-2E49-BE23-81F25711FC3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789b4e6-85d6-45ae-bdc3-e9d01246750e">
      <Terms xmlns="http://schemas.microsoft.com/office/infopath/2007/PartnerControls"/>
    </lcf76f155ced4ddcb4097134ff3c332f>
    <TaxCatchAll xmlns="af6e6f5c-2a63-49d6-bf76-8f8ed4e72864" xsi:nil="true"/>
    <Owner xmlns="3789b4e6-85d6-45ae-bdc3-e9d01246750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Asiakirja" ma:contentTypeID="0x010100537DB5CAE381FE4EB3F2C744BF1CE3CA" ma:contentTypeVersion="21" ma:contentTypeDescription="Luo uusi asiakirja." ma:contentTypeScope="" ma:versionID="7aeb4cc28ff405d2715e2c4449d6b75f">
  <xsd:schema xmlns:xsd="http://www.w3.org/2001/XMLSchema" xmlns:xs="http://www.w3.org/2001/XMLSchema" xmlns:p="http://schemas.microsoft.com/office/2006/metadata/properties" xmlns:ns2="3789b4e6-85d6-45ae-bdc3-e9d01246750e" xmlns:ns3="af6e6f5c-2a63-49d6-bf76-8f8ed4e72864" targetNamespace="http://schemas.microsoft.com/office/2006/metadata/properties" ma:root="true" ma:fieldsID="b3e9ccfa916ffb18c3c7e495fc25de11" ns2:_="" ns3:_="">
    <xsd:import namespace="3789b4e6-85d6-45ae-bdc3-e9d01246750e"/>
    <xsd:import namespace="af6e6f5c-2a63-49d6-bf76-8f8ed4e7286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Owner"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89b4e6-85d6-45ae-bdc3-e9d012467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Owner" ma:index="20" nillable="true" ma:displayName="Owner" ma:description="The person who established the doc" ma:format="Dropdown" ma:internalName="Owner">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Kuvien tunnisteet" ma:readOnly="false" ma:fieldId="{5cf76f15-5ced-4ddc-b409-7134ff3c332f}" ma:taxonomyMulti="true" ma:sspId="68bc7ffa-3213-4f12-8306-c357232cb2b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f6e6f5c-2a63-49d6-bf76-8f8ed4e72864" elementFormDefault="qualified">
    <xsd:import namespace="http://schemas.microsoft.com/office/2006/documentManagement/types"/>
    <xsd:import namespace="http://schemas.microsoft.com/office/infopath/2007/PartnerControls"/>
    <xsd:element name="SharedWithUsers" ma:index="12"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Jakamisen tiedot" ma:internalName="SharedWithDetails" ma:readOnly="true">
      <xsd:simpleType>
        <xsd:restriction base="dms:Note">
          <xsd:maxLength value="255"/>
        </xsd:restriction>
      </xsd:simpleType>
    </xsd:element>
    <xsd:element name="TaxCatchAll" ma:index="24" nillable="true" ma:displayName="Taxonomy Catch All Column" ma:hidden="true" ma:list="{8b4ad60e-9041-47f1-8ae4-7e5136e2c06b}" ma:internalName="TaxCatchAll" ma:showField="CatchAllData" ma:web="af6e6f5c-2a63-49d6-bf76-8f8ed4e7286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812D64-07F9-4DE4-8109-73E9AB8A41D2}">
  <ds:schemaRefs>
    <ds:schemaRef ds:uri="3789b4e6-85d6-45ae-bdc3-e9d01246750e"/>
    <ds:schemaRef ds:uri="af6e6f5c-2a63-49d6-bf76-8f8ed4e728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1F00E69-9E06-42C8-A86C-11FCFD8FDBBC}">
  <ds:schemaRefs>
    <ds:schemaRef ds:uri="3789b4e6-85d6-45ae-bdc3-e9d01246750e"/>
    <ds:schemaRef ds:uri="af6e6f5c-2a63-49d6-bf76-8f8ed4e7286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EB6361C-8AB2-441E-B2ED-E686A37147D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ontel_PowerpointTemplate-2023</Template>
  <Application>Microsoft Office PowerPoint</Application>
  <PresentationFormat>Widescreen</PresentationFormat>
  <Slides>30</Slides>
  <Notes>14</Notes>
  <HiddenSlides>0</HiddenSlides>
  <ScaleCrop>false</ScaleCrop>
  <HeadingPairs>
    <vt:vector size="4" baseType="variant">
      <vt:variant>
        <vt:lpstr>Theme</vt:lpstr>
      </vt:variant>
      <vt:variant>
        <vt:i4>15</vt:i4>
      </vt:variant>
      <vt:variant>
        <vt:lpstr>Slide Titles</vt:lpstr>
      </vt:variant>
      <vt:variant>
        <vt:i4>30</vt:i4>
      </vt:variant>
    </vt:vector>
  </HeadingPairs>
  <TitlesOfParts>
    <vt:vector size="45" baseType="lpstr">
      <vt:lpstr>Covers</vt:lpstr>
      <vt:lpstr>Montel Content</vt:lpstr>
      <vt:lpstr>Graphics</vt:lpstr>
      <vt:lpstr>Montel content - Dark Background</vt:lpstr>
      <vt:lpstr>Montel News</vt:lpstr>
      <vt:lpstr>Montel Advisory</vt:lpstr>
      <vt:lpstr>Montel Marketing services</vt:lpstr>
      <vt:lpstr>Montel Risk management</vt:lpstr>
      <vt:lpstr>Montel Events</vt:lpstr>
      <vt:lpstr>Montel Analysis</vt:lpstr>
      <vt:lpstr>Montel Market data</vt:lpstr>
      <vt:lpstr>Montel Publications</vt:lpstr>
      <vt:lpstr>Montel Marketplace</vt:lpstr>
      <vt:lpstr>HeidelbergMaterials PPT Template</vt:lpstr>
      <vt:lpstr>HeidelbergMaterials PPT Templ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e studies of successful corporate use of GOs in the electricity-intensive industry</vt:lpstr>
      <vt:lpstr>Heidelberg Materials is one of the world’s largest building materials companies</vt:lpstr>
      <vt:lpstr> Bringing Down CO2 Emissions: The Key Challenge for the Cement Industry </vt:lpstr>
      <vt:lpstr>Electricity: Portfolio of CO2 emission reduction levers is available increasing complexity in sustainability reporting. In case electricity is not generated on-site, Gos are needed to claim green electricity.</vt:lpstr>
      <vt:lpstr>Maximizing Benefits and Navigating Challenges of GOs for Electricity Offtaker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Elisabeth Helene Coll</dc:creator>
  <cp:revision>1</cp:revision>
  <dcterms:created xsi:type="dcterms:W3CDTF">2024-09-13T13:22:13Z</dcterms:created>
  <dcterms:modified xsi:type="dcterms:W3CDTF">2024-10-31T13:2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7DB5CAE381FE4EB3F2C744BF1CE3CA</vt:lpwstr>
  </property>
  <property fmtid="{D5CDD505-2E9C-101B-9397-08002B2CF9AE}" pid="3" name="MediaServiceImageTags">
    <vt:lpwstr/>
  </property>
</Properties>
</file>